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sdx" ContentType="application/vnd.ms-visio.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3.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5.xml" ContentType="application/vnd.openxmlformats-officedocument.theme+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7.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theme/theme8.xml" ContentType="application/vnd.openxmlformats-officedocument.theme+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theme/theme9.xml" ContentType="application/vnd.openxmlformats-officedocument.theme+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theme/theme10.xml" ContentType="application/vnd.openxmlformats-officedocument.theme+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11.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3" r:id="rId1"/>
    <p:sldMasterId id="2147484354" r:id="rId2"/>
    <p:sldMasterId id="2147484441" r:id="rId3"/>
    <p:sldMasterId id="2147484575" r:id="rId4"/>
    <p:sldMasterId id="2147484790" r:id="rId5"/>
    <p:sldMasterId id="2147484943" r:id="rId6"/>
    <p:sldMasterId id="2147484994" r:id="rId7"/>
    <p:sldMasterId id="2147485012" r:id="rId8"/>
    <p:sldMasterId id="2147485119" r:id="rId9"/>
    <p:sldMasterId id="2147485219" r:id="rId10"/>
    <p:sldMasterId id="2147485276" r:id="rId11"/>
    <p:sldMasterId id="2147485284" r:id="rId12"/>
    <p:sldMasterId id="2147485311" r:id="rId13"/>
  </p:sldMasterIdLst>
  <p:notesMasterIdLst>
    <p:notesMasterId r:id="rId57"/>
  </p:notesMasterIdLst>
  <p:handoutMasterIdLst>
    <p:handoutMasterId r:id="rId58"/>
  </p:handoutMasterIdLst>
  <p:sldIdLst>
    <p:sldId id="2147377644" r:id="rId14"/>
    <p:sldId id="2147481972" r:id="rId15"/>
    <p:sldId id="2142532784" r:id="rId16"/>
    <p:sldId id="2147377608" r:id="rId17"/>
    <p:sldId id="2147480632" r:id="rId18"/>
    <p:sldId id="2147377613" r:id="rId19"/>
    <p:sldId id="2147377954" r:id="rId20"/>
    <p:sldId id="2147377607" r:id="rId21"/>
    <p:sldId id="2147481979" r:id="rId22"/>
    <p:sldId id="258" r:id="rId23"/>
    <p:sldId id="2147481980" r:id="rId24"/>
    <p:sldId id="2147377962" r:id="rId25"/>
    <p:sldId id="2147481978" r:id="rId26"/>
    <p:sldId id="2147481981" r:id="rId27"/>
    <p:sldId id="2147480630" r:id="rId28"/>
    <p:sldId id="2147480669" r:id="rId29"/>
    <p:sldId id="2147480670" r:id="rId30"/>
    <p:sldId id="2147478953" r:id="rId31"/>
    <p:sldId id="2147480660" r:id="rId32"/>
    <p:sldId id="2147481975" r:id="rId33"/>
    <p:sldId id="141169818" r:id="rId34"/>
    <p:sldId id="2147377569" r:id="rId35"/>
    <p:sldId id="2147478251" r:id="rId36"/>
    <p:sldId id="2147481971" r:id="rId37"/>
    <p:sldId id="2147478253" r:id="rId38"/>
    <p:sldId id="2147478254" r:id="rId39"/>
    <p:sldId id="2147377956" r:id="rId40"/>
    <p:sldId id="2147480636" r:id="rId41"/>
    <p:sldId id="2147480637" r:id="rId42"/>
    <p:sldId id="2147480638" r:id="rId43"/>
    <p:sldId id="2147478274" r:id="rId44"/>
    <p:sldId id="2147377961" r:id="rId45"/>
    <p:sldId id="2147478294" r:id="rId46"/>
    <p:sldId id="2147478276" r:id="rId47"/>
    <p:sldId id="259" r:id="rId48"/>
    <p:sldId id="2142533600" r:id="rId49"/>
    <p:sldId id="2142533585" r:id="rId50"/>
    <p:sldId id="2142533604" r:id="rId51"/>
    <p:sldId id="2142533946" r:id="rId52"/>
    <p:sldId id="2147377964" r:id="rId53"/>
    <p:sldId id="2147377968" r:id="rId54"/>
    <p:sldId id="2147377965" r:id="rId55"/>
    <p:sldId id="2147377969"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017C9C-A8EA-4613-B0AD-EE5FE35D2F66}">
          <p14:sldIdLst>
            <p14:sldId id="2147377644"/>
            <p14:sldId id="2147481972"/>
            <p14:sldId id="2142532784"/>
            <p14:sldId id="2147377608"/>
            <p14:sldId id="2147480632"/>
            <p14:sldId id="2147377613"/>
            <p14:sldId id="2147377954"/>
            <p14:sldId id="2147377607"/>
            <p14:sldId id="2147481979"/>
            <p14:sldId id="258"/>
            <p14:sldId id="2147481980"/>
            <p14:sldId id="2147377962"/>
            <p14:sldId id="2147481978"/>
            <p14:sldId id="2147481981"/>
            <p14:sldId id="2147480630"/>
            <p14:sldId id="2147480669"/>
          </p14:sldIdLst>
        </p14:section>
        <p14:section name="Test platforms" id="{B8E0F09A-D943-4354-968E-D801464419A8}">
          <p14:sldIdLst>
            <p14:sldId id="2147480670"/>
            <p14:sldId id="2147478953"/>
            <p14:sldId id="2147480660"/>
            <p14:sldId id="2147481975"/>
            <p14:sldId id="141169818"/>
            <p14:sldId id="2147377569"/>
            <p14:sldId id="2147478251"/>
            <p14:sldId id="2147481971"/>
            <p14:sldId id="2147478253"/>
            <p14:sldId id="2147478254"/>
            <p14:sldId id="2147377956"/>
            <p14:sldId id="2147480636"/>
            <p14:sldId id="2147480637"/>
            <p14:sldId id="2147480638"/>
            <p14:sldId id="2147478274"/>
            <p14:sldId id="2147377961"/>
            <p14:sldId id="2147478294"/>
            <p14:sldId id="2147478276"/>
            <p14:sldId id="259"/>
            <p14:sldId id="2142533600"/>
            <p14:sldId id="2142533585"/>
            <p14:sldId id="2142533604"/>
            <p14:sldId id="2142533946"/>
            <p14:sldId id="2147377964"/>
            <p14:sldId id="2147377968"/>
            <p14:sldId id="2147377965"/>
            <p14:sldId id="214737796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24" clrIdx="0">
    <p:extLst>
      <p:ext uri="{19B8F6BF-5375-455C-9EA6-DF929625EA0E}">
        <p15:presenceInfo xmlns:p15="http://schemas.microsoft.com/office/powerpoint/2012/main" userId="4d79623da105b09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3253DC"/>
    <a:srgbClr val="0B2742"/>
    <a:srgbClr val="4A5A75"/>
    <a:srgbClr val="DEE3EC"/>
    <a:srgbClr val="FFFFFF"/>
    <a:srgbClr val="ECECEC"/>
    <a:srgbClr val="06050B"/>
    <a:srgbClr val="020625"/>
    <a:srgbClr val="7BA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BA746-2B0E-4080-93D9-1B6DA09CC282}" v="507" dt="2025-09-24T10:55:26.8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5" autoAdjust="0"/>
    <p:restoredTop sz="94660"/>
  </p:normalViewPr>
  <p:slideViewPr>
    <p:cSldViewPr snapToGrid="0">
      <p:cViewPr>
        <p:scale>
          <a:sx n="96" d="100"/>
          <a:sy n="96" d="100"/>
        </p:scale>
        <p:origin x="198" y="53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notesMaster" Target="notesMasters/notesMaster1.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Stockhammer" userId="2aa20ba2-ba43-46c1-9e8b-e40494025eed" providerId="ADAL" clId="{362BA746-2B0E-4080-93D9-1B6DA09CC282}"/>
    <pc:docChg chg="undo custSel addSld delSld modSld sldOrd modSection">
      <pc:chgData name="Thomas Stockhammer" userId="2aa20ba2-ba43-46c1-9e8b-e40494025eed" providerId="ADAL" clId="{362BA746-2B0E-4080-93D9-1B6DA09CC282}" dt="2025-09-24T10:55:26.841" v="1646"/>
      <pc:docMkLst>
        <pc:docMk/>
      </pc:docMkLst>
      <pc:sldChg chg="modSp mod ord">
        <pc:chgData name="Thomas Stockhammer" userId="2aa20ba2-ba43-46c1-9e8b-e40494025eed" providerId="ADAL" clId="{362BA746-2B0E-4080-93D9-1B6DA09CC282}" dt="2025-09-24T04:50:41.431" v="1236" actId="1076"/>
        <pc:sldMkLst>
          <pc:docMk/>
          <pc:sldMk cId="136134374" sldId="258"/>
        </pc:sldMkLst>
        <pc:spChg chg="mod">
          <ac:chgData name="Thomas Stockhammer" userId="2aa20ba2-ba43-46c1-9e8b-e40494025eed" providerId="ADAL" clId="{362BA746-2B0E-4080-93D9-1B6DA09CC282}" dt="2025-09-24T04:50:29.792" v="1235" actId="20577"/>
          <ac:spMkLst>
            <pc:docMk/>
            <pc:sldMk cId="136134374" sldId="258"/>
            <ac:spMk id="19" creationId="{69CE52BA-B08B-D719-67F6-517138196C9C}"/>
          </ac:spMkLst>
        </pc:spChg>
        <pc:picChg chg="mod">
          <ac:chgData name="Thomas Stockhammer" userId="2aa20ba2-ba43-46c1-9e8b-e40494025eed" providerId="ADAL" clId="{362BA746-2B0E-4080-93D9-1B6DA09CC282}" dt="2025-09-24T04:50:41.431" v="1236" actId="1076"/>
          <ac:picMkLst>
            <pc:docMk/>
            <pc:sldMk cId="136134374" sldId="258"/>
            <ac:picMk id="4098" creationId="{826BA883-B98A-9512-D4DA-0AB903B949FB}"/>
          </ac:picMkLst>
        </pc:picChg>
      </pc:sldChg>
      <pc:sldChg chg="add">
        <pc:chgData name="Thomas Stockhammer" userId="2aa20ba2-ba43-46c1-9e8b-e40494025eed" providerId="ADAL" clId="{362BA746-2B0E-4080-93D9-1B6DA09CC282}" dt="2025-09-24T04:51:52.367" v="1240"/>
        <pc:sldMkLst>
          <pc:docMk/>
          <pc:sldMk cId="1161732060" sldId="259"/>
        </pc:sldMkLst>
      </pc:sldChg>
      <pc:sldChg chg="del">
        <pc:chgData name="Thomas Stockhammer" userId="2aa20ba2-ba43-46c1-9e8b-e40494025eed" providerId="ADAL" clId="{362BA746-2B0E-4080-93D9-1B6DA09CC282}" dt="2025-09-24T04:51:47.431" v="1239" actId="2696"/>
        <pc:sldMkLst>
          <pc:docMk/>
          <pc:sldMk cId="3924141074" sldId="259"/>
        </pc:sldMkLst>
      </pc:sldChg>
      <pc:sldChg chg="del">
        <pc:chgData name="Thomas Stockhammer" userId="2aa20ba2-ba43-46c1-9e8b-e40494025eed" providerId="ADAL" clId="{362BA746-2B0E-4080-93D9-1B6DA09CC282}" dt="2025-09-24T04:51:47.431" v="1239" actId="2696"/>
        <pc:sldMkLst>
          <pc:docMk/>
          <pc:sldMk cId="1304712451" sldId="2142533585"/>
        </pc:sldMkLst>
      </pc:sldChg>
      <pc:sldChg chg="add">
        <pc:chgData name="Thomas Stockhammer" userId="2aa20ba2-ba43-46c1-9e8b-e40494025eed" providerId="ADAL" clId="{362BA746-2B0E-4080-93D9-1B6DA09CC282}" dt="2025-09-24T04:51:52.367" v="1240"/>
        <pc:sldMkLst>
          <pc:docMk/>
          <pc:sldMk cId="1446162427" sldId="2142533585"/>
        </pc:sldMkLst>
      </pc:sldChg>
      <pc:sldChg chg="add">
        <pc:chgData name="Thomas Stockhammer" userId="2aa20ba2-ba43-46c1-9e8b-e40494025eed" providerId="ADAL" clId="{362BA746-2B0E-4080-93D9-1B6DA09CC282}" dt="2025-09-24T04:51:52.367" v="1240"/>
        <pc:sldMkLst>
          <pc:docMk/>
          <pc:sldMk cId="881656665" sldId="2142533600"/>
        </pc:sldMkLst>
      </pc:sldChg>
      <pc:sldChg chg="del">
        <pc:chgData name="Thomas Stockhammer" userId="2aa20ba2-ba43-46c1-9e8b-e40494025eed" providerId="ADAL" clId="{362BA746-2B0E-4080-93D9-1B6DA09CC282}" dt="2025-09-24T04:51:47.431" v="1239" actId="2696"/>
        <pc:sldMkLst>
          <pc:docMk/>
          <pc:sldMk cId="2392029348" sldId="2142533600"/>
        </pc:sldMkLst>
      </pc:sldChg>
      <pc:sldChg chg="del">
        <pc:chgData name="Thomas Stockhammer" userId="2aa20ba2-ba43-46c1-9e8b-e40494025eed" providerId="ADAL" clId="{362BA746-2B0E-4080-93D9-1B6DA09CC282}" dt="2025-09-24T04:51:47.431" v="1239" actId="2696"/>
        <pc:sldMkLst>
          <pc:docMk/>
          <pc:sldMk cId="1162066433" sldId="2142533604"/>
        </pc:sldMkLst>
      </pc:sldChg>
      <pc:sldChg chg="add">
        <pc:chgData name="Thomas Stockhammer" userId="2aa20ba2-ba43-46c1-9e8b-e40494025eed" providerId="ADAL" clId="{362BA746-2B0E-4080-93D9-1B6DA09CC282}" dt="2025-09-24T04:51:52.367" v="1240"/>
        <pc:sldMkLst>
          <pc:docMk/>
          <pc:sldMk cId="1247840809" sldId="2142533604"/>
        </pc:sldMkLst>
      </pc:sldChg>
      <pc:sldChg chg="add">
        <pc:chgData name="Thomas Stockhammer" userId="2aa20ba2-ba43-46c1-9e8b-e40494025eed" providerId="ADAL" clId="{362BA746-2B0E-4080-93D9-1B6DA09CC282}" dt="2025-09-24T04:51:52.367" v="1240"/>
        <pc:sldMkLst>
          <pc:docMk/>
          <pc:sldMk cId="456028185" sldId="2142533946"/>
        </pc:sldMkLst>
      </pc:sldChg>
      <pc:sldChg chg="del">
        <pc:chgData name="Thomas Stockhammer" userId="2aa20ba2-ba43-46c1-9e8b-e40494025eed" providerId="ADAL" clId="{362BA746-2B0E-4080-93D9-1B6DA09CC282}" dt="2025-09-24T04:51:47.431" v="1239" actId="2696"/>
        <pc:sldMkLst>
          <pc:docMk/>
          <pc:sldMk cId="2312260851" sldId="2142533946"/>
        </pc:sldMkLst>
      </pc:sldChg>
      <pc:sldChg chg="mod ord modShow">
        <pc:chgData name="Thomas Stockhammer" userId="2aa20ba2-ba43-46c1-9e8b-e40494025eed" providerId="ADAL" clId="{362BA746-2B0E-4080-93D9-1B6DA09CC282}" dt="2025-09-24T10:51:34.940" v="1616" actId="729"/>
        <pc:sldMkLst>
          <pc:docMk/>
          <pc:sldMk cId="1714626205" sldId="2147377569"/>
        </pc:sldMkLst>
      </pc:sldChg>
      <pc:sldChg chg="modSp mod modAnim">
        <pc:chgData name="Thomas Stockhammer" userId="2aa20ba2-ba43-46c1-9e8b-e40494025eed" providerId="ADAL" clId="{362BA746-2B0E-4080-93D9-1B6DA09CC282}" dt="2025-09-24T10:46:56.492" v="1538"/>
        <pc:sldMkLst>
          <pc:docMk/>
          <pc:sldMk cId="1103468042" sldId="2147377607"/>
        </pc:sldMkLst>
        <pc:spChg chg="mod">
          <ac:chgData name="Thomas Stockhammer" userId="2aa20ba2-ba43-46c1-9e8b-e40494025eed" providerId="ADAL" clId="{362BA746-2B0E-4080-93D9-1B6DA09CC282}" dt="2025-09-24T03:47:38.024" v="787" actId="1076"/>
          <ac:spMkLst>
            <pc:docMk/>
            <pc:sldMk cId="1103468042" sldId="2147377607"/>
            <ac:spMk id="4" creationId="{34F650EF-E974-E481-F079-5ED03F49AB74}"/>
          </ac:spMkLst>
        </pc:spChg>
        <pc:spChg chg="mod">
          <ac:chgData name="Thomas Stockhammer" userId="2aa20ba2-ba43-46c1-9e8b-e40494025eed" providerId="ADAL" clId="{362BA746-2B0E-4080-93D9-1B6DA09CC282}" dt="2025-09-24T03:47:43.727" v="788" actId="1076"/>
          <ac:spMkLst>
            <pc:docMk/>
            <pc:sldMk cId="1103468042" sldId="2147377607"/>
            <ac:spMk id="15" creationId="{72390B88-CC14-8C42-1F53-474244E890D1}"/>
          </ac:spMkLst>
        </pc:spChg>
        <pc:spChg chg="mod">
          <ac:chgData name="Thomas Stockhammer" userId="2aa20ba2-ba43-46c1-9e8b-e40494025eed" providerId="ADAL" clId="{362BA746-2B0E-4080-93D9-1B6DA09CC282}" dt="2025-09-23T10:45:49.406" v="242" actId="20577"/>
          <ac:spMkLst>
            <pc:docMk/>
            <pc:sldMk cId="1103468042" sldId="2147377607"/>
            <ac:spMk id="22" creationId="{C2641710-D5D8-EE14-5DB4-70F40AB75B7D}"/>
          </ac:spMkLst>
        </pc:spChg>
      </pc:sldChg>
      <pc:sldChg chg="modSp">
        <pc:chgData name="Thomas Stockhammer" userId="2aa20ba2-ba43-46c1-9e8b-e40494025eed" providerId="ADAL" clId="{362BA746-2B0E-4080-93D9-1B6DA09CC282}" dt="2025-09-23T06:45:47.042" v="238" actId="20577"/>
        <pc:sldMkLst>
          <pc:docMk/>
          <pc:sldMk cId="1226093567" sldId="2147377608"/>
        </pc:sldMkLst>
        <pc:graphicFrameChg chg="mod">
          <ac:chgData name="Thomas Stockhammer" userId="2aa20ba2-ba43-46c1-9e8b-e40494025eed" providerId="ADAL" clId="{362BA746-2B0E-4080-93D9-1B6DA09CC282}" dt="2025-09-23T06:45:47.042" v="238" actId="20577"/>
          <ac:graphicFrameMkLst>
            <pc:docMk/>
            <pc:sldMk cId="1226093567" sldId="2147377608"/>
            <ac:graphicFrameMk id="6" creationId="{89CB6858-B8F1-3E4D-8ADF-877D8E6F4CA7}"/>
          </ac:graphicFrameMkLst>
        </pc:graphicFrameChg>
      </pc:sldChg>
      <pc:sldChg chg="modSp mod">
        <pc:chgData name="Thomas Stockhammer" userId="2aa20ba2-ba43-46c1-9e8b-e40494025eed" providerId="ADAL" clId="{362BA746-2B0E-4080-93D9-1B6DA09CC282}" dt="2025-09-24T03:36:13.417" v="484" actId="20577"/>
        <pc:sldMkLst>
          <pc:docMk/>
          <pc:sldMk cId="3486338436" sldId="2147377613"/>
        </pc:sldMkLst>
        <pc:spChg chg="mod">
          <ac:chgData name="Thomas Stockhammer" userId="2aa20ba2-ba43-46c1-9e8b-e40494025eed" providerId="ADAL" clId="{362BA746-2B0E-4080-93D9-1B6DA09CC282}" dt="2025-09-24T03:36:13.417" v="484" actId="20577"/>
          <ac:spMkLst>
            <pc:docMk/>
            <pc:sldMk cId="3486338436" sldId="2147377613"/>
            <ac:spMk id="11" creationId="{86113336-DFC4-98A5-E9D3-B2791B3A4C1A}"/>
          </ac:spMkLst>
        </pc:spChg>
      </pc:sldChg>
      <pc:sldChg chg="modSp mod">
        <pc:chgData name="Thomas Stockhammer" userId="2aa20ba2-ba43-46c1-9e8b-e40494025eed" providerId="ADAL" clId="{362BA746-2B0E-4080-93D9-1B6DA09CC282}" dt="2025-09-23T06:43:41.791" v="157" actId="20577"/>
        <pc:sldMkLst>
          <pc:docMk/>
          <pc:sldMk cId="1612586262" sldId="2147377644"/>
        </pc:sldMkLst>
        <pc:spChg chg="mod">
          <ac:chgData name="Thomas Stockhammer" userId="2aa20ba2-ba43-46c1-9e8b-e40494025eed" providerId="ADAL" clId="{362BA746-2B0E-4080-93D9-1B6DA09CC282}" dt="2025-09-23T06:42:23.483" v="105" actId="20577"/>
          <ac:spMkLst>
            <pc:docMk/>
            <pc:sldMk cId="1612586262" sldId="2147377644"/>
            <ac:spMk id="3" creationId="{2584845F-75C2-415A-8317-9BE337A0A649}"/>
          </ac:spMkLst>
        </pc:spChg>
        <pc:spChg chg="mod">
          <ac:chgData name="Thomas Stockhammer" userId="2aa20ba2-ba43-46c1-9e8b-e40494025eed" providerId="ADAL" clId="{362BA746-2B0E-4080-93D9-1B6DA09CC282}" dt="2025-09-23T06:43:41.791" v="157" actId="20577"/>
          <ac:spMkLst>
            <pc:docMk/>
            <pc:sldMk cId="1612586262" sldId="2147377644"/>
            <ac:spMk id="11" creationId="{779D1A01-EBAB-4C36-8881-4DFDF7CC3D24}"/>
          </ac:spMkLst>
        </pc:spChg>
        <pc:spChg chg="mod">
          <ac:chgData name="Thomas Stockhammer" userId="2aa20ba2-ba43-46c1-9e8b-e40494025eed" providerId="ADAL" clId="{362BA746-2B0E-4080-93D9-1B6DA09CC282}" dt="2025-09-23T06:42:42.860" v="126" actId="20577"/>
          <ac:spMkLst>
            <pc:docMk/>
            <pc:sldMk cId="1612586262" sldId="2147377644"/>
            <ac:spMk id="12" creationId="{07F1BC89-21D6-4CEE-AEB7-D5406EF3BE2B}"/>
          </ac:spMkLst>
        </pc:spChg>
      </pc:sldChg>
      <pc:sldChg chg="del">
        <pc:chgData name="Thomas Stockhammer" userId="2aa20ba2-ba43-46c1-9e8b-e40494025eed" providerId="ADAL" clId="{362BA746-2B0E-4080-93D9-1B6DA09CC282}" dt="2025-09-24T03:35:43.310" v="479" actId="2696"/>
        <pc:sldMkLst>
          <pc:docMk/>
          <pc:sldMk cId="2756156321" sldId="2147377956"/>
        </pc:sldMkLst>
      </pc:sldChg>
      <pc:sldChg chg="add">
        <pc:chgData name="Thomas Stockhammer" userId="2aa20ba2-ba43-46c1-9e8b-e40494025eed" providerId="ADAL" clId="{362BA746-2B0E-4080-93D9-1B6DA09CC282}" dt="2025-09-24T03:35:54.441" v="480"/>
        <pc:sldMkLst>
          <pc:docMk/>
          <pc:sldMk cId="3266143733" sldId="2147377956"/>
        </pc:sldMkLst>
      </pc:sldChg>
      <pc:sldChg chg="del">
        <pc:chgData name="Thomas Stockhammer" userId="2aa20ba2-ba43-46c1-9e8b-e40494025eed" providerId="ADAL" clId="{362BA746-2B0E-4080-93D9-1B6DA09CC282}" dt="2025-09-24T03:51:33.786" v="789" actId="2696"/>
        <pc:sldMkLst>
          <pc:docMk/>
          <pc:sldMk cId="784577911" sldId="2147377961"/>
        </pc:sldMkLst>
      </pc:sldChg>
      <pc:sldChg chg="add">
        <pc:chgData name="Thomas Stockhammer" userId="2aa20ba2-ba43-46c1-9e8b-e40494025eed" providerId="ADAL" clId="{362BA746-2B0E-4080-93D9-1B6DA09CC282}" dt="2025-09-24T03:51:41.354" v="790"/>
        <pc:sldMkLst>
          <pc:docMk/>
          <pc:sldMk cId="2299748573" sldId="2147377961"/>
        </pc:sldMkLst>
      </pc:sldChg>
      <pc:sldChg chg="modSp mod">
        <pc:chgData name="Thomas Stockhammer" userId="2aa20ba2-ba43-46c1-9e8b-e40494025eed" providerId="ADAL" clId="{362BA746-2B0E-4080-93D9-1B6DA09CC282}" dt="2025-09-24T03:52:21.298" v="886" actId="20577"/>
        <pc:sldMkLst>
          <pc:docMk/>
          <pc:sldMk cId="438812850" sldId="2147377962"/>
        </pc:sldMkLst>
        <pc:spChg chg="mod">
          <ac:chgData name="Thomas Stockhammer" userId="2aa20ba2-ba43-46c1-9e8b-e40494025eed" providerId="ADAL" clId="{362BA746-2B0E-4080-93D9-1B6DA09CC282}" dt="2025-09-24T03:52:21.298" v="886" actId="20577"/>
          <ac:spMkLst>
            <pc:docMk/>
            <pc:sldMk cId="438812850" sldId="2147377962"/>
            <ac:spMk id="3" creationId="{ADE9013B-DFA0-F80F-7763-F55F22BE723F}"/>
          </ac:spMkLst>
        </pc:spChg>
      </pc:sldChg>
      <pc:sldChg chg="del">
        <pc:chgData name="Thomas Stockhammer" userId="2aa20ba2-ba43-46c1-9e8b-e40494025eed" providerId="ADAL" clId="{362BA746-2B0E-4080-93D9-1B6DA09CC282}" dt="2025-09-24T03:47:00.574" v="780" actId="47"/>
        <pc:sldMkLst>
          <pc:docMk/>
          <pc:sldMk cId="3565526396" sldId="2147377963"/>
        </pc:sldMkLst>
      </pc:sldChg>
      <pc:sldChg chg="del">
        <pc:chgData name="Thomas Stockhammer" userId="2aa20ba2-ba43-46c1-9e8b-e40494025eed" providerId="ADAL" clId="{362BA746-2B0E-4080-93D9-1B6DA09CC282}" dt="2025-09-24T04:52:54.721" v="1241" actId="2696"/>
        <pc:sldMkLst>
          <pc:docMk/>
          <pc:sldMk cId="1836771033" sldId="2147377964"/>
        </pc:sldMkLst>
      </pc:sldChg>
      <pc:sldChg chg="add">
        <pc:chgData name="Thomas Stockhammer" userId="2aa20ba2-ba43-46c1-9e8b-e40494025eed" providerId="ADAL" clId="{362BA746-2B0E-4080-93D9-1B6DA09CC282}" dt="2025-09-24T04:53:00.205" v="1242"/>
        <pc:sldMkLst>
          <pc:docMk/>
          <pc:sldMk cId="3498524622" sldId="2147377964"/>
        </pc:sldMkLst>
      </pc:sldChg>
      <pc:sldChg chg="add">
        <pc:chgData name="Thomas Stockhammer" userId="2aa20ba2-ba43-46c1-9e8b-e40494025eed" providerId="ADAL" clId="{362BA746-2B0E-4080-93D9-1B6DA09CC282}" dt="2025-09-24T04:53:00.205" v="1242"/>
        <pc:sldMkLst>
          <pc:docMk/>
          <pc:sldMk cId="605510852" sldId="2147377965"/>
        </pc:sldMkLst>
      </pc:sldChg>
      <pc:sldChg chg="addSp delSp modSp del mod">
        <pc:chgData name="Thomas Stockhammer" userId="2aa20ba2-ba43-46c1-9e8b-e40494025eed" providerId="ADAL" clId="{362BA746-2B0E-4080-93D9-1B6DA09CC282}" dt="2025-09-24T04:52:54.721" v="1241" actId="2696"/>
        <pc:sldMkLst>
          <pc:docMk/>
          <pc:sldMk cId="3487979370" sldId="2147377965"/>
        </pc:sldMkLst>
        <pc:spChg chg="add del mod">
          <ac:chgData name="Thomas Stockhammer" userId="2aa20ba2-ba43-46c1-9e8b-e40494025eed" providerId="ADAL" clId="{362BA746-2B0E-4080-93D9-1B6DA09CC282}" dt="2025-09-23T10:59:00.193" v="372" actId="478"/>
          <ac:spMkLst>
            <pc:docMk/>
            <pc:sldMk cId="3487979370" sldId="2147377965"/>
            <ac:spMk id="6" creationId="{16B896B3-E700-2C0D-C5F7-FEABC36DA980}"/>
          </ac:spMkLst>
        </pc:spChg>
        <pc:spChg chg="add del">
          <ac:chgData name="Thomas Stockhammer" userId="2aa20ba2-ba43-46c1-9e8b-e40494025eed" providerId="ADAL" clId="{362BA746-2B0E-4080-93D9-1B6DA09CC282}" dt="2025-09-23T10:59:00.193" v="372" actId="478"/>
          <ac:spMkLst>
            <pc:docMk/>
            <pc:sldMk cId="3487979370" sldId="2147377965"/>
            <ac:spMk id="12" creationId="{A13416DD-C42C-514F-06E2-C2DA34012FDB}"/>
          </ac:spMkLst>
        </pc:spChg>
        <pc:graphicFrameChg chg="add del">
          <ac:chgData name="Thomas Stockhammer" userId="2aa20ba2-ba43-46c1-9e8b-e40494025eed" providerId="ADAL" clId="{362BA746-2B0E-4080-93D9-1B6DA09CC282}" dt="2025-09-23T10:58:57.170" v="370" actId="478"/>
          <ac:graphicFrameMkLst>
            <pc:docMk/>
            <pc:sldMk cId="3487979370" sldId="2147377965"/>
            <ac:graphicFrameMk id="20" creationId="{D3180204-E078-547B-3B70-B25512E6DA8F}"/>
          </ac:graphicFrameMkLst>
        </pc:graphicFrameChg>
      </pc:sldChg>
      <pc:sldChg chg="add">
        <pc:chgData name="Thomas Stockhammer" userId="2aa20ba2-ba43-46c1-9e8b-e40494025eed" providerId="ADAL" clId="{362BA746-2B0E-4080-93D9-1B6DA09CC282}" dt="2025-09-24T04:53:00.205" v="1242"/>
        <pc:sldMkLst>
          <pc:docMk/>
          <pc:sldMk cId="713758526" sldId="2147377968"/>
        </pc:sldMkLst>
      </pc:sldChg>
      <pc:sldChg chg="del">
        <pc:chgData name="Thomas Stockhammer" userId="2aa20ba2-ba43-46c1-9e8b-e40494025eed" providerId="ADAL" clId="{362BA746-2B0E-4080-93D9-1B6DA09CC282}" dt="2025-09-24T04:52:54.721" v="1241" actId="2696"/>
        <pc:sldMkLst>
          <pc:docMk/>
          <pc:sldMk cId="2373336913" sldId="2147377968"/>
        </pc:sldMkLst>
      </pc:sldChg>
      <pc:sldChg chg="del">
        <pc:chgData name="Thomas Stockhammer" userId="2aa20ba2-ba43-46c1-9e8b-e40494025eed" providerId="ADAL" clId="{362BA746-2B0E-4080-93D9-1B6DA09CC282}" dt="2025-09-24T04:52:54.721" v="1241" actId="2696"/>
        <pc:sldMkLst>
          <pc:docMk/>
          <pc:sldMk cId="474378692" sldId="2147377969"/>
        </pc:sldMkLst>
      </pc:sldChg>
      <pc:sldChg chg="add">
        <pc:chgData name="Thomas Stockhammer" userId="2aa20ba2-ba43-46c1-9e8b-e40494025eed" providerId="ADAL" clId="{362BA746-2B0E-4080-93D9-1B6DA09CC282}" dt="2025-09-24T04:53:00.205" v="1242"/>
        <pc:sldMkLst>
          <pc:docMk/>
          <pc:sldMk cId="907134878" sldId="2147377969"/>
        </pc:sldMkLst>
      </pc:sldChg>
      <pc:sldChg chg="mod ord modShow">
        <pc:chgData name="Thomas Stockhammer" userId="2aa20ba2-ba43-46c1-9e8b-e40494025eed" providerId="ADAL" clId="{362BA746-2B0E-4080-93D9-1B6DA09CC282}" dt="2025-09-24T10:51:56.984" v="1620"/>
        <pc:sldMkLst>
          <pc:docMk/>
          <pc:sldMk cId="1507994017" sldId="2147478251"/>
        </pc:sldMkLst>
      </pc:sldChg>
      <pc:sldChg chg="mod ord modShow">
        <pc:chgData name="Thomas Stockhammer" userId="2aa20ba2-ba43-46c1-9e8b-e40494025eed" providerId="ADAL" clId="{362BA746-2B0E-4080-93D9-1B6DA09CC282}" dt="2025-09-24T10:51:56.984" v="1620"/>
        <pc:sldMkLst>
          <pc:docMk/>
          <pc:sldMk cId="1104037911" sldId="2147478253"/>
        </pc:sldMkLst>
      </pc:sldChg>
      <pc:sldChg chg="add del mod ord modShow">
        <pc:chgData name="Thomas Stockhammer" userId="2aa20ba2-ba43-46c1-9e8b-e40494025eed" providerId="ADAL" clId="{362BA746-2B0E-4080-93D9-1B6DA09CC282}" dt="2025-09-24T10:51:56.984" v="1620"/>
        <pc:sldMkLst>
          <pc:docMk/>
          <pc:sldMk cId="1704428763" sldId="2147478254"/>
        </pc:sldMkLst>
      </pc:sldChg>
      <pc:sldChg chg="del">
        <pc:chgData name="Thomas Stockhammer" userId="2aa20ba2-ba43-46c1-9e8b-e40494025eed" providerId="ADAL" clId="{362BA746-2B0E-4080-93D9-1B6DA09CC282}" dt="2025-09-24T03:35:43.310" v="479" actId="2696"/>
        <pc:sldMkLst>
          <pc:docMk/>
          <pc:sldMk cId="2675637177" sldId="2147478274"/>
        </pc:sldMkLst>
      </pc:sldChg>
      <pc:sldChg chg="add">
        <pc:chgData name="Thomas Stockhammer" userId="2aa20ba2-ba43-46c1-9e8b-e40494025eed" providerId="ADAL" clId="{362BA746-2B0E-4080-93D9-1B6DA09CC282}" dt="2025-09-24T03:35:54.441" v="480"/>
        <pc:sldMkLst>
          <pc:docMk/>
          <pc:sldMk cId="2958255006" sldId="2147478274"/>
        </pc:sldMkLst>
      </pc:sldChg>
      <pc:sldChg chg="del">
        <pc:chgData name="Thomas Stockhammer" userId="2aa20ba2-ba43-46c1-9e8b-e40494025eed" providerId="ADAL" clId="{362BA746-2B0E-4080-93D9-1B6DA09CC282}" dt="2025-09-24T04:51:47.431" v="1239" actId="2696"/>
        <pc:sldMkLst>
          <pc:docMk/>
          <pc:sldMk cId="1804680210" sldId="2147478276"/>
        </pc:sldMkLst>
      </pc:sldChg>
      <pc:sldChg chg="add">
        <pc:chgData name="Thomas Stockhammer" userId="2aa20ba2-ba43-46c1-9e8b-e40494025eed" providerId="ADAL" clId="{362BA746-2B0E-4080-93D9-1B6DA09CC282}" dt="2025-09-24T04:51:52.367" v="1240"/>
        <pc:sldMkLst>
          <pc:docMk/>
          <pc:sldMk cId="2969503158" sldId="2147478276"/>
        </pc:sldMkLst>
      </pc:sldChg>
      <pc:sldChg chg="del">
        <pc:chgData name="Thomas Stockhammer" userId="2aa20ba2-ba43-46c1-9e8b-e40494025eed" providerId="ADAL" clId="{362BA746-2B0E-4080-93D9-1B6DA09CC282}" dt="2025-09-24T03:52:38.146" v="887" actId="2696"/>
        <pc:sldMkLst>
          <pc:docMk/>
          <pc:sldMk cId="0" sldId="2147478294"/>
        </pc:sldMkLst>
      </pc:sldChg>
      <pc:sldChg chg="add ord">
        <pc:chgData name="Thomas Stockhammer" userId="2aa20ba2-ba43-46c1-9e8b-e40494025eed" providerId="ADAL" clId="{362BA746-2B0E-4080-93D9-1B6DA09CC282}" dt="2025-09-24T04:16:59.163" v="1177"/>
        <pc:sldMkLst>
          <pc:docMk/>
          <pc:sldMk cId="946621428" sldId="2147478294"/>
        </pc:sldMkLst>
      </pc:sldChg>
      <pc:sldChg chg="modSp add del mod modAnim">
        <pc:chgData name="Thomas Stockhammer" userId="2aa20ba2-ba43-46c1-9e8b-e40494025eed" providerId="ADAL" clId="{362BA746-2B0E-4080-93D9-1B6DA09CC282}" dt="2025-09-24T10:55:26.841" v="1646"/>
        <pc:sldMkLst>
          <pc:docMk/>
          <pc:sldMk cId="120340930" sldId="2147478953"/>
        </pc:sldMkLst>
        <pc:spChg chg="mod">
          <ac:chgData name="Thomas Stockhammer" userId="2aa20ba2-ba43-46c1-9e8b-e40494025eed" providerId="ADAL" clId="{362BA746-2B0E-4080-93D9-1B6DA09CC282}" dt="2025-09-24T10:52:24.179" v="1622" actId="1076"/>
          <ac:spMkLst>
            <pc:docMk/>
            <pc:sldMk cId="120340930" sldId="2147478953"/>
            <ac:spMk id="3" creationId="{BF592A5F-C8AC-974F-22F1-FCF81B704CBF}"/>
          </ac:spMkLst>
        </pc:spChg>
        <pc:spChg chg="mod">
          <ac:chgData name="Thomas Stockhammer" userId="2aa20ba2-ba43-46c1-9e8b-e40494025eed" providerId="ADAL" clId="{362BA746-2B0E-4080-93D9-1B6DA09CC282}" dt="2025-09-24T10:52:17.240" v="1621" actId="1076"/>
          <ac:spMkLst>
            <pc:docMk/>
            <pc:sldMk cId="120340930" sldId="2147478953"/>
            <ac:spMk id="4" creationId="{80C48B86-D93C-2552-5E1A-D389A8B84507}"/>
          </ac:spMkLst>
        </pc:spChg>
      </pc:sldChg>
      <pc:sldChg chg="add del">
        <pc:chgData name="Thomas Stockhammer" userId="2aa20ba2-ba43-46c1-9e8b-e40494025eed" providerId="ADAL" clId="{362BA746-2B0E-4080-93D9-1B6DA09CC282}" dt="2025-09-24T10:43:07.666" v="1521"/>
        <pc:sldMkLst>
          <pc:docMk/>
          <pc:sldMk cId="1710802024" sldId="2147480630"/>
        </pc:sldMkLst>
      </pc:sldChg>
      <pc:sldChg chg="modSp mod">
        <pc:chgData name="Thomas Stockhammer" userId="2aa20ba2-ba43-46c1-9e8b-e40494025eed" providerId="ADAL" clId="{362BA746-2B0E-4080-93D9-1B6DA09CC282}" dt="2025-09-24T10:37:07.245" v="1356" actId="20577"/>
        <pc:sldMkLst>
          <pc:docMk/>
          <pc:sldMk cId="1555127651" sldId="2147480632"/>
        </pc:sldMkLst>
        <pc:spChg chg="mod">
          <ac:chgData name="Thomas Stockhammer" userId="2aa20ba2-ba43-46c1-9e8b-e40494025eed" providerId="ADAL" clId="{362BA746-2B0E-4080-93D9-1B6DA09CC282}" dt="2025-09-24T10:36:19.771" v="1292" actId="207"/>
          <ac:spMkLst>
            <pc:docMk/>
            <pc:sldMk cId="1555127651" sldId="2147480632"/>
            <ac:spMk id="5" creationId="{6B35AB78-F88B-F104-24E6-B8046F7B5AD7}"/>
          </ac:spMkLst>
        </pc:spChg>
        <pc:graphicFrameChg chg="modGraphic">
          <ac:chgData name="Thomas Stockhammer" userId="2aa20ba2-ba43-46c1-9e8b-e40494025eed" providerId="ADAL" clId="{362BA746-2B0E-4080-93D9-1B6DA09CC282}" dt="2025-09-24T10:37:07.245" v="1356" actId="20577"/>
          <ac:graphicFrameMkLst>
            <pc:docMk/>
            <pc:sldMk cId="1555127651" sldId="2147480632"/>
            <ac:graphicFrameMk id="4" creationId="{7BE2F6B5-B1CE-90CF-4A06-46A0D99EBA97}"/>
          </ac:graphicFrameMkLst>
        </pc:graphicFrameChg>
      </pc:sldChg>
      <pc:sldChg chg="del">
        <pc:chgData name="Thomas Stockhammer" userId="2aa20ba2-ba43-46c1-9e8b-e40494025eed" providerId="ADAL" clId="{362BA746-2B0E-4080-93D9-1B6DA09CC282}" dt="2025-09-24T03:35:43.310" v="479" actId="2696"/>
        <pc:sldMkLst>
          <pc:docMk/>
          <pc:sldMk cId="881785595" sldId="2147480636"/>
        </pc:sldMkLst>
      </pc:sldChg>
      <pc:sldChg chg="add">
        <pc:chgData name="Thomas Stockhammer" userId="2aa20ba2-ba43-46c1-9e8b-e40494025eed" providerId="ADAL" clId="{362BA746-2B0E-4080-93D9-1B6DA09CC282}" dt="2025-09-24T03:35:54.441" v="480"/>
        <pc:sldMkLst>
          <pc:docMk/>
          <pc:sldMk cId="3442754364" sldId="2147480636"/>
        </pc:sldMkLst>
      </pc:sldChg>
      <pc:sldChg chg="del">
        <pc:chgData name="Thomas Stockhammer" userId="2aa20ba2-ba43-46c1-9e8b-e40494025eed" providerId="ADAL" clId="{362BA746-2B0E-4080-93D9-1B6DA09CC282}" dt="2025-09-24T03:35:43.310" v="479" actId="2696"/>
        <pc:sldMkLst>
          <pc:docMk/>
          <pc:sldMk cId="1551213703" sldId="2147480637"/>
        </pc:sldMkLst>
      </pc:sldChg>
      <pc:sldChg chg="add">
        <pc:chgData name="Thomas Stockhammer" userId="2aa20ba2-ba43-46c1-9e8b-e40494025eed" providerId="ADAL" clId="{362BA746-2B0E-4080-93D9-1B6DA09CC282}" dt="2025-09-24T03:35:54.441" v="480"/>
        <pc:sldMkLst>
          <pc:docMk/>
          <pc:sldMk cId="3722898608" sldId="2147480637"/>
        </pc:sldMkLst>
      </pc:sldChg>
      <pc:sldChg chg="del">
        <pc:chgData name="Thomas Stockhammer" userId="2aa20ba2-ba43-46c1-9e8b-e40494025eed" providerId="ADAL" clId="{362BA746-2B0E-4080-93D9-1B6DA09CC282}" dt="2025-09-24T03:35:43.310" v="479" actId="2696"/>
        <pc:sldMkLst>
          <pc:docMk/>
          <pc:sldMk cId="238754399" sldId="2147480638"/>
        </pc:sldMkLst>
      </pc:sldChg>
      <pc:sldChg chg="add">
        <pc:chgData name="Thomas Stockhammer" userId="2aa20ba2-ba43-46c1-9e8b-e40494025eed" providerId="ADAL" clId="{362BA746-2B0E-4080-93D9-1B6DA09CC282}" dt="2025-09-24T03:35:54.441" v="480"/>
        <pc:sldMkLst>
          <pc:docMk/>
          <pc:sldMk cId="811084177" sldId="2147480638"/>
        </pc:sldMkLst>
      </pc:sldChg>
      <pc:sldChg chg="ord">
        <pc:chgData name="Thomas Stockhammer" userId="2aa20ba2-ba43-46c1-9e8b-e40494025eed" providerId="ADAL" clId="{362BA746-2B0E-4080-93D9-1B6DA09CC282}" dt="2025-09-23T13:59:46.103" v="378"/>
        <pc:sldMkLst>
          <pc:docMk/>
          <pc:sldMk cId="3703299064" sldId="2147480660"/>
        </pc:sldMkLst>
      </pc:sldChg>
      <pc:sldChg chg="del">
        <pc:chgData name="Thomas Stockhammer" userId="2aa20ba2-ba43-46c1-9e8b-e40494025eed" providerId="ADAL" clId="{362BA746-2B0E-4080-93D9-1B6DA09CC282}" dt="2025-09-23T13:57:35.749" v="373" actId="47"/>
        <pc:sldMkLst>
          <pc:docMk/>
          <pc:sldMk cId="3962486851" sldId="2147480662"/>
        </pc:sldMkLst>
      </pc:sldChg>
      <pc:sldChg chg="add del ord modAnim">
        <pc:chgData name="Thomas Stockhammer" userId="2aa20ba2-ba43-46c1-9e8b-e40494025eed" providerId="ADAL" clId="{362BA746-2B0E-4080-93D9-1B6DA09CC282}" dt="2025-09-24T10:50:26.576" v="1612"/>
        <pc:sldMkLst>
          <pc:docMk/>
          <pc:sldMk cId="2390970994" sldId="2147480669"/>
        </pc:sldMkLst>
      </pc:sldChg>
      <pc:sldChg chg="add del modAnim">
        <pc:chgData name="Thomas Stockhammer" userId="2aa20ba2-ba43-46c1-9e8b-e40494025eed" providerId="ADAL" clId="{362BA746-2B0E-4080-93D9-1B6DA09CC282}" dt="2025-09-24T10:50:05.233" v="1609"/>
        <pc:sldMkLst>
          <pc:docMk/>
          <pc:sldMk cId="2840881678" sldId="2147480670"/>
        </pc:sldMkLst>
      </pc:sldChg>
      <pc:sldChg chg="mod ord modShow">
        <pc:chgData name="Thomas Stockhammer" userId="2aa20ba2-ba43-46c1-9e8b-e40494025eed" providerId="ADAL" clId="{362BA746-2B0E-4080-93D9-1B6DA09CC282}" dt="2025-09-24T10:51:56.984" v="1620"/>
        <pc:sldMkLst>
          <pc:docMk/>
          <pc:sldMk cId="2562360717" sldId="2147481971"/>
        </pc:sldMkLst>
      </pc:sldChg>
      <pc:sldChg chg="modSp mod">
        <pc:chgData name="Thomas Stockhammer" userId="2aa20ba2-ba43-46c1-9e8b-e40494025eed" providerId="ADAL" clId="{362BA746-2B0E-4080-93D9-1B6DA09CC282}" dt="2025-09-24T10:54:13.362" v="1643" actId="404"/>
        <pc:sldMkLst>
          <pc:docMk/>
          <pc:sldMk cId="3245685976" sldId="2147481972"/>
        </pc:sldMkLst>
        <pc:spChg chg="mod">
          <ac:chgData name="Thomas Stockhammer" userId="2aa20ba2-ba43-46c1-9e8b-e40494025eed" providerId="ADAL" clId="{362BA746-2B0E-4080-93D9-1B6DA09CC282}" dt="2025-09-24T10:54:13.362" v="1643" actId="404"/>
          <ac:spMkLst>
            <pc:docMk/>
            <pc:sldMk cId="3245685976" sldId="2147481972"/>
            <ac:spMk id="2" creationId="{7231C851-256E-0CB6-59C6-53E3EA359CBF}"/>
          </ac:spMkLst>
        </pc:spChg>
      </pc:sldChg>
      <pc:sldChg chg="addSp delSp modSp del mod">
        <pc:chgData name="Thomas Stockhammer" userId="2aa20ba2-ba43-46c1-9e8b-e40494025eed" providerId="ADAL" clId="{362BA746-2B0E-4080-93D9-1B6DA09CC282}" dt="2025-09-24T10:53:25.773" v="1629" actId="47"/>
        <pc:sldMkLst>
          <pc:docMk/>
          <pc:sldMk cId="473274120" sldId="2147481973"/>
        </pc:sldMkLst>
        <pc:spChg chg="add del mod">
          <ac:chgData name="Thomas Stockhammer" userId="2aa20ba2-ba43-46c1-9e8b-e40494025eed" providerId="ADAL" clId="{362BA746-2B0E-4080-93D9-1B6DA09CC282}" dt="2025-09-24T10:52:52.743" v="1626" actId="478"/>
          <ac:spMkLst>
            <pc:docMk/>
            <pc:sldMk cId="473274120" sldId="2147481973"/>
            <ac:spMk id="2" creationId="{1ED03070-F446-95FE-C882-6F658406540F}"/>
          </ac:spMkLst>
        </pc:spChg>
        <pc:spChg chg="mod">
          <ac:chgData name="Thomas Stockhammer" userId="2aa20ba2-ba43-46c1-9e8b-e40494025eed" providerId="ADAL" clId="{362BA746-2B0E-4080-93D9-1B6DA09CC282}" dt="2025-09-23T14:01:50.446" v="476" actId="20577"/>
          <ac:spMkLst>
            <pc:docMk/>
            <pc:sldMk cId="473274120" sldId="2147481973"/>
            <ac:spMk id="6" creationId="{15A8E0ED-54AC-C3F9-BD61-205ED1EF77F8}"/>
          </ac:spMkLst>
        </pc:spChg>
      </pc:sldChg>
      <pc:sldChg chg="del">
        <pc:chgData name="Thomas Stockhammer" userId="2aa20ba2-ba43-46c1-9e8b-e40494025eed" providerId="ADAL" clId="{362BA746-2B0E-4080-93D9-1B6DA09CC282}" dt="2025-09-23T13:57:35.749" v="373" actId="47"/>
        <pc:sldMkLst>
          <pc:docMk/>
          <pc:sldMk cId="3883971739" sldId="2147481976"/>
        </pc:sldMkLst>
      </pc:sldChg>
      <pc:sldChg chg="del">
        <pc:chgData name="Thomas Stockhammer" userId="2aa20ba2-ba43-46c1-9e8b-e40494025eed" providerId="ADAL" clId="{362BA746-2B0E-4080-93D9-1B6DA09CC282}" dt="2025-09-23T14:00:17.306" v="379" actId="47"/>
        <pc:sldMkLst>
          <pc:docMk/>
          <pc:sldMk cId="2852336850" sldId="2147481977"/>
        </pc:sldMkLst>
      </pc:sldChg>
      <pc:sldChg chg="addSp delSp modSp mod modClrScheme chgLayout">
        <pc:chgData name="Thomas Stockhammer" userId="2aa20ba2-ba43-46c1-9e8b-e40494025eed" providerId="ADAL" clId="{362BA746-2B0E-4080-93D9-1B6DA09CC282}" dt="2025-09-24T10:49:44.129" v="1607" actId="403"/>
        <pc:sldMkLst>
          <pc:docMk/>
          <pc:sldMk cId="2565097776" sldId="2147481978"/>
        </pc:sldMkLst>
        <pc:spChg chg="add mod ord">
          <ac:chgData name="Thomas Stockhammer" userId="2aa20ba2-ba43-46c1-9e8b-e40494025eed" providerId="ADAL" clId="{362BA746-2B0E-4080-93D9-1B6DA09CC282}" dt="2025-09-24T10:49:44.129" v="1607" actId="403"/>
          <ac:spMkLst>
            <pc:docMk/>
            <pc:sldMk cId="2565097776" sldId="2147481978"/>
            <ac:spMk id="2" creationId="{BF6293D5-E1CC-F829-8EAE-F38352A04D26}"/>
          </ac:spMkLst>
        </pc:spChg>
        <pc:spChg chg="add del mod ord">
          <ac:chgData name="Thomas Stockhammer" userId="2aa20ba2-ba43-46c1-9e8b-e40494025eed" providerId="ADAL" clId="{362BA746-2B0E-4080-93D9-1B6DA09CC282}" dt="2025-09-24T10:49:39.481" v="1605" actId="478"/>
          <ac:spMkLst>
            <pc:docMk/>
            <pc:sldMk cId="2565097776" sldId="2147481978"/>
            <ac:spMk id="3" creationId="{57EC5B8D-DA13-B390-0E6B-0515E959E485}"/>
          </ac:spMkLst>
        </pc:spChg>
        <pc:spChg chg="mod ord">
          <ac:chgData name="Thomas Stockhammer" userId="2aa20ba2-ba43-46c1-9e8b-e40494025eed" providerId="ADAL" clId="{362BA746-2B0E-4080-93D9-1B6DA09CC282}" dt="2025-09-24T10:49:19.751" v="1540" actId="700"/>
          <ac:spMkLst>
            <pc:docMk/>
            <pc:sldMk cId="2565097776" sldId="2147481978"/>
            <ac:spMk id="11" creationId="{9504D32C-A1CC-8A92-D2EE-3761F4C17DF9}"/>
          </ac:spMkLst>
        </pc:spChg>
        <pc:graphicFrameChg chg="mod">
          <ac:chgData name="Thomas Stockhammer" userId="2aa20ba2-ba43-46c1-9e8b-e40494025eed" providerId="ADAL" clId="{362BA746-2B0E-4080-93D9-1B6DA09CC282}" dt="2025-09-24T10:49:05.396" v="1539" actId="1076"/>
          <ac:graphicFrameMkLst>
            <pc:docMk/>
            <pc:sldMk cId="2565097776" sldId="2147481978"/>
            <ac:graphicFrameMk id="6" creationId="{DB136613-AF8C-8B15-E795-CAE8F6A5137C}"/>
          </ac:graphicFrameMkLst>
        </pc:graphicFrameChg>
      </pc:sldChg>
      <pc:sldChg chg="addSp modSp add mod">
        <pc:chgData name="Thomas Stockhammer" userId="2aa20ba2-ba43-46c1-9e8b-e40494025eed" providerId="ADAL" clId="{362BA746-2B0E-4080-93D9-1B6DA09CC282}" dt="2025-09-24T03:46:52.148" v="779" actId="14100"/>
        <pc:sldMkLst>
          <pc:docMk/>
          <pc:sldMk cId="3378409271" sldId="2147481979"/>
        </pc:sldMkLst>
        <pc:spChg chg="add mod">
          <ac:chgData name="Thomas Stockhammer" userId="2aa20ba2-ba43-46c1-9e8b-e40494025eed" providerId="ADAL" clId="{362BA746-2B0E-4080-93D9-1B6DA09CC282}" dt="2025-09-24T03:46:07.398" v="745" actId="208"/>
          <ac:spMkLst>
            <pc:docMk/>
            <pc:sldMk cId="3378409271" sldId="2147481979"/>
            <ac:spMk id="7" creationId="{D8117F58-B22F-3A96-35E5-570AE0FFFC80}"/>
          </ac:spMkLst>
        </pc:spChg>
        <pc:spChg chg="add mod">
          <ac:chgData name="Thomas Stockhammer" userId="2aa20ba2-ba43-46c1-9e8b-e40494025eed" providerId="ADAL" clId="{362BA746-2B0E-4080-93D9-1B6DA09CC282}" dt="2025-09-24T03:46:52.148" v="779" actId="14100"/>
          <ac:spMkLst>
            <pc:docMk/>
            <pc:sldMk cId="3378409271" sldId="2147481979"/>
            <ac:spMk id="8" creationId="{635AA1FC-A94C-2F8C-D5F8-3C6FE5C32F12}"/>
          </ac:spMkLst>
        </pc:spChg>
        <pc:spChg chg="add mod">
          <ac:chgData name="Thomas Stockhammer" userId="2aa20ba2-ba43-46c1-9e8b-e40494025eed" providerId="ADAL" clId="{362BA746-2B0E-4080-93D9-1B6DA09CC282}" dt="2025-09-24T03:44:55.669" v="730" actId="1037"/>
          <ac:spMkLst>
            <pc:docMk/>
            <pc:sldMk cId="3378409271" sldId="2147481979"/>
            <ac:spMk id="9" creationId="{E431034F-3EF4-AF71-BB91-F11E64843460}"/>
          </ac:spMkLst>
        </pc:spChg>
        <pc:spChg chg="add mod">
          <ac:chgData name="Thomas Stockhammer" userId="2aa20ba2-ba43-46c1-9e8b-e40494025eed" providerId="ADAL" clId="{362BA746-2B0E-4080-93D9-1B6DA09CC282}" dt="2025-09-24T03:44:55.669" v="730" actId="1037"/>
          <ac:spMkLst>
            <pc:docMk/>
            <pc:sldMk cId="3378409271" sldId="2147481979"/>
            <ac:spMk id="10" creationId="{1E533B3E-A38E-A3FF-6753-9B32FA2DE27D}"/>
          </ac:spMkLst>
        </pc:spChg>
        <pc:spChg chg="mod">
          <ac:chgData name="Thomas Stockhammer" userId="2aa20ba2-ba43-46c1-9e8b-e40494025eed" providerId="ADAL" clId="{362BA746-2B0E-4080-93D9-1B6DA09CC282}" dt="2025-09-24T03:44:39.736" v="718" actId="1037"/>
          <ac:spMkLst>
            <pc:docMk/>
            <pc:sldMk cId="3378409271" sldId="2147481979"/>
            <ac:spMk id="12" creationId="{D4B94110-A3DC-83CC-4950-C7B73A83FB76}"/>
          </ac:spMkLst>
        </pc:spChg>
        <pc:spChg chg="mod">
          <ac:chgData name="Thomas Stockhammer" userId="2aa20ba2-ba43-46c1-9e8b-e40494025eed" providerId="ADAL" clId="{362BA746-2B0E-4080-93D9-1B6DA09CC282}" dt="2025-09-24T03:44:39.736" v="718" actId="1037"/>
          <ac:spMkLst>
            <pc:docMk/>
            <pc:sldMk cId="3378409271" sldId="2147481979"/>
            <ac:spMk id="13" creationId="{ECFF3F03-2CA1-8BEB-D9BF-C47475C9D92E}"/>
          </ac:spMkLst>
        </pc:spChg>
        <pc:spChg chg="mod">
          <ac:chgData name="Thomas Stockhammer" userId="2aa20ba2-ba43-46c1-9e8b-e40494025eed" providerId="ADAL" clId="{362BA746-2B0E-4080-93D9-1B6DA09CC282}" dt="2025-09-24T03:44:39.736" v="718" actId="1037"/>
          <ac:spMkLst>
            <pc:docMk/>
            <pc:sldMk cId="3378409271" sldId="2147481979"/>
            <ac:spMk id="14" creationId="{2215B7AC-DAC3-1EBC-6C74-0DB1E08BFA5E}"/>
          </ac:spMkLst>
        </pc:spChg>
        <pc:spChg chg="mod">
          <ac:chgData name="Thomas Stockhammer" userId="2aa20ba2-ba43-46c1-9e8b-e40494025eed" providerId="ADAL" clId="{362BA746-2B0E-4080-93D9-1B6DA09CC282}" dt="2025-09-24T03:44:39.736" v="718" actId="1037"/>
          <ac:spMkLst>
            <pc:docMk/>
            <pc:sldMk cId="3378409271" sldId="2147481979"/>
            <ac:spMk id="15" creationId="{8708790C-58A7-4BF4-B3CF-440944A8E94D}"/>
          </ac:spMkLst>
        </pc:spChg>
        <pc:spChg chg="mod">
          <ac:chgData name="Thomas Stockhammer" userId="2aa20ba2-ba43-46c1-9e8b-e40494025eed" providerId="ADAL" clId="{362BA746-2B0E-4080-93D9-1B6DA09CC282}" dt="2025-09-24T03:41:38.111" v="526" actId="1037"/>
          <ac:spMkLst>
            <pc:docMk/>
            <pc:sldMk cId="3378409271" sldId="2147481979"/>
            <ac:spMk id="26" creationId="{8F79C7F8-5F38-AFC2-A576-DA630AFE92FC}"/>
          </ac:spMkLst>
        </pc:spChg>
        <pc:spChg chg="mod">
          <ac:chgData name="Thomas Stockhammer" userId="2aa20ba2-ba43-46c1-9e8b-e40494025eed" providerId="ADAL" clId="{362BA746-2B0E-4080-93D9-1B6DA09CC282}" dt="2025-09-24T03:46:37.891" v="778" actId="20577"/>
          <ac:spMkLst>
            <pc:docMk/>
            <pc:sldMk cId="3378409271" sldId="2147481979"/>
            <ac:spMk id="35" creationId="{139806FF-961A-77A3-CA86-3A8F1CF290BD}"/>
          </ac:spMkLst>
        </pc:spChg>
        <pc:spChg chg="mod">
          <ac:chgData name="Thomas Stockhammer" userId="2aa20ba2-ba43-46c1-9e8b-e40494025eed" providerId="ADAL" clId="{362BA746-2B0E-4080-93D9-1B6DA09CC282}" dt="2025-09-24T03:38:55.455" v="491" actId="179"/>
          <ac:spMkLst>
            <pc:docMk/>
            <pc:sldMk cId="3378409271" sldId="2147481979"/>
            <ac:spMk id="40" creationId="{99B08975-9354-B58D-7A39-418BDC97C3C8}"/>
          </ac:spMkLst>
        </pc:spChg>
        <pc:spChg chg="mod">
          <ac:chgData name="Thomas Stockhammer" userId="2aa20ba2-ba43-46c1-9e8b-e40494025eed" providerId="ADAL" clId="{362BA746-2B0E-4080-93D9-1B6DA09CC282}" dt="2025-09-24T03:39:15.252" v="494" actId="179"/>
          <ac:spMkLst>
            <pc:docMk/>
            <pc:sldMk cId="3378409271" sldId="2147481979"/>
            <ac:spMk id="43" creationId="{893EA4E0-7364-973F-7CDD-FE3AF89FDEAA}"/>
          </ac:spMkLst>
        </pc:spChg>
        <pc:spChg chg="mod">
          <ac:chgData name="Thomas Stockhammer" userId="2aa20ba2-ba43-46c1-9e8b-e40494025eed" providerId="ADAL" clId="{362BA746-2B0E-4080-93D9-1B6DA09CC282}" dt="2025-09-24T03:39:59.872" v="498" actId="1076"/>
          <ac:spMkLst>
            <pc:docMk/>
            <pc:sldMk cId="3378409271" sldId="2147481979"/>
            <ac:spMk id="44" creationId="{BA821244-7B91-C2DE-1BD7-C5E726419B44}"/>
          </ac:spMkLst>
        </pc:spChg>
        <pc:spChg chg="mod">
          <ac:chgData name="Thomas Stockhammer" userId="2aa20ba2-ba43-46c1-9e8b-e40494025eed" providerId="ADAL" clId="{362BA746-2B0E-4080-93D9-1B6DA09CC282}" dt="2025-09-24T03:41:38.111" v="526" actId="1037"/>
          <ac:spMkLst>
            <pc:docMk/>
            <pc:sldMk cId="3378409271" sldId="2147481979"/>
            <ac:spMk id="45" creationId="{FC75B88A-8417-2BE0-62D5-CC1472BD85FF}"/>
          </ac:spMkLst>
        </pc:spChg>
        <pc:spChg chg="mod">
          <ac:chgData name="Thomas Stockhammer" userId="2aa20ba2-ba43-46c1-9e8b-e40494025eed" providerId="ADAL" clId="{362BA746-2B0E-4080-93D9-1B6DA09CC282}" dt="2025-09-24T03:41:38.111" v="526" actId="1037"/>
          <ac:spMkLst>
            <pc:docMk/>
            <pc:sldMk cId="3378409271" sldId="2147481979"/>
            <ac:spMk id="46" creationId="{56061558-B82F-F397-A319-1559B9363184}"/>
          </ac:spMkLst>
        </pc:spChg>
        <pc:spChg chg="mod">
          <ac:chgData name="Thomas Stockhammer" userId="2aa20ba2-ba43-46c1-9e8b-e40494025eed" providerId="ADAL" clId="{362BA746-2B0E-4080-93D9-1B6DA09CC282}" dt="2025-09-24T03:41:38.111" v="526" actId="1037"/>
          <ac:spMkLst>
            <pc:docMk/>
            <pc:sldMk cId="3378409271" sldId="2147481979"/>
            <ac:spMk id="48" creationId="{7E797E44-400A-9E70-5224-835227CA28ED}"/>
          </ac:spMkLst>
        </pc:spChg>
        <pc:spChg chg="mod">
          <ac:chgData name="Thomas Stockhammer" userId="2aa20ba2-ba43-46c1-9e8b-e40494025eed" providerId="ADAL" clId="{362BA746-2B0E-4080-93D9-1B6DA09CC282}" dt="2025-09-24T03:41:38.111" v="526" actId="1037"/>
          <ac:spMkLst>
            <pc:docMk/>
            <pc:sldMk cId="3378409271" sldId="2147481979"/>
            <ac:spMk id="49" creationId="{6F62659B-93BC-083B-6335-E4968272D314}"/>
          </ac:spMkLst>
        </pc:spChg>
        <pc:spChg chg="mod">
          <ac:chgData name="Thomas Stockhammer" userId="2aa20ba2-ba43-46c1-9e8b-e40494025eed" providerId="ADAL" clId="{362BA746-2B0E-4080-93D9-1B6DA09CC282}" dt="2025-09-24T03:41:38.111" v="526" actId="1037"/>
          <ac:spMkLst>
            <pc:docMk/>
            <pc:sldMk cId="3378409271" sldId="2147481979"/>
            <ac:spMk id="50" creationId="{8C10AB77-D088-F01B-75DD-3BDAD681EAD9}"/>
          </ac:spMkLst>
        </pc:spChg>
        <pc:spChg chg="mod">
          <ac:chgData name="Thomas Stockhammer" userId="2aa20ba2-ba43-46c1-9e8b-e40494025eed" providerId="ADAL" clId="{362BA746-2B0E-4080-93D9-1B6DA09CC282}" dt="2025-09-24T03:41:38.111" v="526" actId="1037"/>
          <ac:spMkLst>
            <pc:docMk/>
            <pc:sldMk cId="3378409271" sldId="2147481979"/>
            <ac:spMk id="51" creationId="{70BBB1CD-099E-8C67-0E47-793B69DA3034}"/>
          </ac:spMkLst>
        </pc:spChg>
        <pc:grpChg chg="mod">
          <ac:chgData name="Thomas Stockhammer" userId="2aa20ba2-ba43-46c1-9e8b-e40494025eed" providerId="ADAL" clId="{362BA746-2B0E-4080-93D9-1B6DA09CC282}" dt="2025-09-24T03:45:12.084" v="734" actId="14100"/>
          <ac:grpSpMkLst>
            <pc:docMk/>
            <pc:sldMk cId="3378409271" sldId="2147481979"/>
            <ac:grpSpMk id="37" creationId="{DA7E3D99-537D-DDC6-2DFF-12698611E7A6}"/>
          </ac:grpSpMkLst>
        </pc:grpChg>
        <pc:picChg chg="mod">
          <ac:chgData name="Thomas Stockhammer" userId="2aa20ba2-ba43-46c1-9e8b-e40494025eed" providerId="ADAL" clId="{362BA746-2B0E-4080-93D9-1B6DA09CC282}" dt="2025-09-24T03:45:18.555" v="736" actId="1076"/>
          <ac:picMkLst>
            <pc:docMk/>
            <pc:sldMk cId="3378409271" sldId="2147481979"/>
            <ac:picMk id="31" creationId="{EB827DF0-130C-AE67-4772-A88DA261F673}"/>
          </ac:picMkLst>
        </pc:picChg>
        <pc:picChg chg="mod">
          <ac:chgData name="Thomas Stockhammer" userId="2aa20ba2-ba43-46c1-9e8b-e40494025eed" providerId="ADAL" clId="{362BA746-2B0E-4080-93D9-1B6DA09CC282}" dt="2025-09-24T03:45:25.534" v="743" actId="1036"/>
          <ac:picMkLst>
            <pc:docMk/>
            <pc:sldMk cId="3378409271" sldId="2147481979"/>
            <ac:picMk id="52" creationId="{6BE61A46-BE0D-A0F3-CBCD-D7E2B2183426}"/>
          </ac:picMkLst>
        </pc:picChg>
        <pc:cxnChg chg="mod">
          <ac:chgData name="Thomas Stockhammer" userId="2aa20ba2-ba43-46c1-9e8b-e40494025eed" providerId="ADAL" clId="{362BA746-2B0E-4080-93D9-1B6DA09CC282}" dt="2025-09-24T03:41:46.990" v="527" actId="14100"/>
          <ac:cxnSpMkLst>
            <pc:docMk/>
            <pc:sldMk cId="3378409271" sldId="2147481979"/>
            <ac:cxnSpMk id="32" creationId="{78CB860B-DD88-5FAD-58FE-638F65638B83}"/>
          </ac:cxnSpMkLst>
        </pc:cxnChg>
        <pc:cxnChg chg="mod">
          <ac:chgData name="Thomas Stockhammer" userId="2aa20ba2-ba43-46c1-9e8b-e40494025eed" providerId="ADAL" clId="{362BA746-2B0E-4080-93D9-1B6DA09CC282}" dt="2025-09-24T03:46:23.067" v="746" actId="14100"/>
          <ac:cxnSpMkLst>
            <pc:docMk/>
            <pc:sldMk cId="3378409271" sldId="2147481979"/>
            <ac:cxnSpMk id="33" creationId="{438264D8-D866-B209-8228-7CEC9757384C}"/>
          </ac:cxnSpMkLst>
        </pc:cxnChg>
      </pc:sldChg>
      <pc:sldChg chg="addSp delSp modSp add mod delAnim modAnim">
        <pc:chgData name="Thomas Stockhammer" userId="2aa20ba2-ba43-46c1-9e8b-e40494025eed" providerId="ADAL" clId="{362BA746-2B0E-4080-93D9-1B6DA09CC282}" dt="2025-09-24T04:16:44.252" v="1175" actId="113"/>
        <pc:sldMkLst>
          <pc:docMk/>
          <pc:sldMk cId="2024108827" sldId="2147481980"/>
        </pc:sldMkLst>
        <pc:spChg chg="mod ord">
          <ac:chgData name="Thomas Stockhammer" userId="2aa20ba2-ba43-46c1-9e8b-e40494025eed" providerId="ADAL" clId="{362BA746-2B0E-4080-93D9-1B6DA09CC282}" dt="2025-09-24T04:11:44.298" v="1096" actId="167"/>
          <ac:spMkLst>
            <pc:docMk/>
            <pc:sldMk cId="2024108827" sldId="2147481980"/>
            <ac:spMk id="2" creationId="{997C725F-84A3-4932-754C-7E143DD79858}"/>
          </ac:spMkLst>
        </pc:spChg>
        <pc:spChg chg="mod ord">
          <ac:chgData name="Thomas Stockhammer" userId="2aa20ba2-ba43-46c1-9e8b-e40494025eed" providerId="ADAL" clId="{362BA746-2B0E-4080-93D9-1B6DA09CC282}" dt="2025-09-24T04:12:08.516" v="1097" actId="14100"/>
          <ac:spMkLst>
            <pc:docMk/>
            <pc:sldMk cId="2024108827" sldId="2147481980"/>
            <ac:spMk id="3" creationId="{541A6FFA-CDAE-D298-1666-F1E32F30DAAC}"/>
          </ac:spMkLst>
        </pc:spChg>
        <pc:spChg chg="del mod">
          <ac:chgData name="Thomas Stockhammer" userId="2aa20ba2-ba43-46c1-9e8b-e40494025eed" providerId="ADAL" clId="{362BA746-2B0E-4080-93D9-1B6DA09CC282}" dt="2025-09-24T04:01:17.398" v="966" actId="478"/>
          <ac:spMkLst>
            <pc:docMk/>
            <pc:sldMk cId="2024108827" sldId="2147481980"/>
            <ac:spMk id="5" creationId="{1BFAF9C0-A176-F584-60C5-0846CFF8E50A}"/>
          </ac:spMkLst>
        </pc:spChg>
        <pc:spChg chg="mod">
          <ac:chgData name="Thomas Stockhammer" userId="2aa20ba2-ba43-46c1-9e8b-e40494025eed" providerId="ADAL" clId="{362BA746-2B0E-4080-93D9-1B6DA09CC282}" dt="2025-09-24T04:06:08.412" v="1048" actId="14100"/>
          <ac:spMkLst>
            <pc:docMk/>
            <pc:sldMk cId="2024108827" sldId="2147481980"/>
            <ac:spMk id="6" creationId="{6FD50D42-DE1A-5839-B05F-FB3787C1A249}"/>
          </ac:spMkLst>
        </pc:spChg>
        <pc:spChg chg="mod">
          <ac:chgData name="Thomas Stockhammer" userId="2aa20ba2-ba43-46c1-9e8b-e40494025eed" providerId="ADAL" clId="{362BA746-2B0E-4080-93D9-1B6DA09CC282}" dt="2025-09-24T04:06:14.440" v="1050" actId="14100"/>
          <ac:spMkLst>
            <pc:docMk/>
            <pc:sldMk cId="2024108827" sldId="2147481980"/>
            <ac:spMk id="7" creationId="{1033F0EF-D5F6-1690-3870-A3487521934C}"/>
          </ac:spMkLst>
        </pc:spChg>
        <pc:spChg chg="mod">
          <ac:chgData name="Thomas Stockhammer" userId="2aa20ba2-ba43-46c1-9e8b-e40494025eed" providerId="ADAL" clId="{362BA746-2B0E-4080-93D9-1B6DA09CC282}" dt="2025-09-24T04:11:25.678" v="1094" actId="167"/>
          <ac:spMkLst>
            <pc:docMk/>
            <pc:sldMk cId="2024108827" sldId="2147481980"/>
            <ac:spMk id="9" creationId="{E3285069-0945-E44D-7D5E-810B371BA857}"/>
          </ac:spMkLst>
        </pc:spChg>
        <pc:spChg chg="del">
          <ac:chgData name="Thomas Stockhammer" userId="2aa20ba2-ba43-46c1-9e8b-e40494025eed" providerId="ADAL" clId="{362BA746-2B0E-4080-93D9-1B6DA09CC282}" dt="2025-09-24T03:54:14.177" v="890" actId="478"/>
          <ac:spMkLst>
            <pc:docMk/>
            <pc:sldMk cId="2024108827" sldId="2147481980"/>
            <ac:spMk id="10" creationId="{1925082E-0AB0-5CA3-9373-5CAEB56BBA42}"/>
          </ac:spMkLst>
        </pc:spChg>
        <pc:spChg chg="mod">
          <ac:chgData name="Thomas Stockhammer" userId="2aa20ba2-ba43-46c1-9e8b-e40494025eed" providerId="ADAL" clId="{362BA746-2B0E-4080-93D9-1B6DA09CC282}" dt="2025-09-24T04:02:58.035" v="985" actId="207"/>
          <ac:spMkLst>
            <pc:docMk/>
            <pc:sldMk cId="2024108827" sldId="2147481980"/>
            <ac:spMk id="12" creationId="{8DCAEF2E-5792-DA7A-36E2-49DE22F2D27F}"/>
          </ac:spMkLst>
        </pc:spChg>
        <pc:spChg chg="mod">
          <ac:chgData name="Thomas Stockhammer" userId="2aa20ba2-ba43-46c1-9e8b-e40494025eed" providerId="ADAL" clId="{362BA746-2B0E-4080-93D9-1B6DA09CC282}" dt="2025-09-24T04:05:06.646" v="1042" actId="20577"/>
          <ac:spMkLst>
            <pc:docMk/>
            <pc:sldMk cId="2024108827" sldId="2147481980"/>
            <ac:spMk id="13" creationId="{69BD2D10-8B7F-EE4E-9BDE-272647218C65}"/>
          </ac:spMkLst>
        </pc:spChg>
        <pc:spChg chg="mod">
          <ac:chgData name="Thomas Stockhammer" userId="2aa20ba2-ba43-46c1-9e8b-e40494025eed" providerId="ADAL" clId="{362BA746-2B0E-4080-93D9-1B6DA09CC282}" dt="2025-09-24T04:04:03.006" v="1023" actId="14100"/>
          <ac:spMkLst>
            <pc:docMk/>
            <pc:sldMk cId="2024108827" sldId="2147481980"/>
            <ac:spMk id="14" creationId="{CCDFCF90-3201-A8D9-9DE5-4B6891CDC61A}"/>
          </ac:spMkLst>
        </pc:spChg>
        <pc:spChg chg="mod">
          <ac:chgData name="Thomas Stockhammer" userId="2aa20ba2-ba43-46c1-9e8b-e40494025eed" providerId="ADAL" clId="{362BA746-2B0E-4080-93D9-1B6DA09CC282}" dt="2025-09-24T04:03:03.328" v="986" actId="207"/>
          <ac:spMkLst>
            <pc:docMk/>
            <pc:sldMk cId="2024108827" sldId="2147481980"/>
            <ac:spMk id="15" creationId="{08FC8B21-5956-E8F0-08B3-C2A935EDED20}"/>
          </ac:spMkLst>
        </pc:spChg>
        <pc:spChg chg="mod">
          <ac:chgData name="Thomas Stockhammer" userId="2aa20ba2-ba43-46c1-9e8b-e40494025eed" providerId="ADAL" clId="{362BA746-2B0E-4080-93D9-1B6DA09CC282}" dt="2025-09-24T04:03:24.500" v="989" actId="207"/>
          <ac:spMkLst>
            <pc:docMk/>
            <pc:sldMk cId="2024108827" sldId="2147481980"/>
            <ac:spMk id="16" creationId="{5BEA1DAC-D46E-4CF1-FEBD-07B2D16B9E4B}"/>
          </ac:spMkLst>
        </pc:spChg>
        <pc:spChg chg="mod">
          <ac:chgData name="Thomas Stockhammer" userId="2aa20ba2-ba43-46c1-9e8b-e40494025eed" providerId="ADAL" clId="{362BA746-2B0E-4080-93D9-1B6DA09CC282}" dt="2025-09-24T03:55:33.362" v="913" actId="207"/>
          <ac:spMkLst>
            <pc:docMk/>
            <pc:sldMk cId="2024108827" sldId="2147481980"/>
            <ac:spMk id="34" creationId="{DD6474AF-07B2-B053-0C22-2F0DD47C3297}"/>
          </ac:spMkLst>
        </pc:spChg>
        <pc:spChg chg="mod">
          <ac:chgData name="Thomas Stockhammer" userId="2aa20ba2-ba43-46c1-9e8b-e40494025eed" providerId="ADAL" clId="{362BA746-2B0E-4080-93D9-1B6DA09CC282}" dt="2025-09-24T04:03:10.217" v="987" actId="207"/>
          <ac:spMkLst>
            <pc:docMk/>
            <pc:sldMk cId="2024108827" sldId="2147481980"/>
            <ac:spMk id="36" creationId="{E67CBD3A-40D2-EEB0-7906-731156FE50B8}"/>
          </ac:spMkLst>
        </pc:spChg>
        <pc:spChg chg="del">
          <ac:chgData name="Thomas Stockhammer" userId="2aa20ba2-ba43-46c1-9e8b-e40494025eed" providerId="ADAL" clId="{362BA746-2B0E-4080-93D9-1B6DA09CC282}" dt="2025-09-24T04:03:15.018" v="988" actId="478"/>
          <ac:spMkLst>
            <pc:docMk/>
            <pc:sldMk cId="2024108827" sldId="2147481980"/>
            <ac:spMk id="37" creationId="{7C0DC333-312A-8FFA-6C80-4409D30458F8}"/>
          </ac:spMkLst>
        </pc:spChg>
        <pc:spChg chg="mod">
          <ac:chgData name="Thomas Stockhammer" userId="2aa20ba2-ba43-46c1-9e8b-e40494025eed" providerId="ADAL" clId="{362BA746-2B0E-4080-93D9-1B6DA09CC282}" dt="2025-09-24T04:03:24.500" v="989" actId="207"/>
          <ac:spMkLst>
            <pc:docMk/>
            <pc:sldMk cId="2024108827" sldId="2147481980"/>
            <ac:spMk id="38" creationId="{7B187487-6363-2EC5-4FCF-41445913BDEE}"/>
          </ac:spMkLst>
        </pc:spChg>
        <pc:spChg chg="add del mod">
          <ac:chgData name="Thomas Stockhammer" userId="2aa20ba2-ba43-46c1-9e8b-e40494025eed" providerId="ADAL" clId="{362BA746-2B0E-4080-93D9-1B6DA09CC282}" dt="2025-09-24T03:54:17.774" v="891" actId="478"/>
          <ac:spMkLst>
            <pc:docMk/>
            <pc:sldMk cId="2024108827" sldId="2147481980"/>
            <ac:spMk id="39" creationId="{24F77135-164B-8BD7-E3AB-6547C62E0B67}"/>
          </ac:spMkLst>
        </pc:spChg>
        <pc:spChg chg="mod ord">
          <ac:chgData name="Thomas Stockhammer" userId="2aa20ba2-ba43-46c1-9e8b-e40494025eed" providerId="ADAL" clId="{362BA746-2B0E-4080-93D9-1B6DA09CC282}" dt="2025-09-24T04:11:06.687" v="1092" actId="167"/>
          <ac:spMkLst>
            <pc:docMk/>
            <pc:sldMk cId="2024108827" sldId="2147481980"/>
            <ac:spMk id="41" creationId="{E7630AFC-7629-BABD-8221-85DC945B2ED4}"/>
          </ac:spMkLst>
        </pc:spChg>
        <pc:spChg chg="mod">
          <ac:chgData name="Thomas Stockhammer" userId="2aa20ba2-ba43-46c1-9e8b-e40494025eed" providerId="ADAL" clId="{362BA746-2B0E-4080-93D9-1B6DA09CC282}" dt="2025-09-24T04:12:13.054" v="1106" actId="1037"/>
          <ac:spMkLst>
            <pc:docMk/>
            <pc:sldMk cId="2024108827" sldId="2147481980"/>
            <ac:spMk id="43" creationId="{A7EF1D08-9724-FCDD-F905-ED01448E0AA6}"/>
          </ac:spMkLst>
        </pc:spChg>
        <pc:spChg chg="mod">
          <ac:chgData name="Thomas Stockhammer" userId="2aa20ba2-ba43-46c1-9e8b-e40494025eed" providerId="ADAL" clId="{362BA746-2B0E-4080-93D9-1B6DA09CC282}" dt="2025-09-24T03:56:41.247" v="923" actId="20577"/>
          <ac:spMkLst>
            <pc:docMk/>
            <pc:sldMk cId="2024108827" sldId="2147481980"/>
            <ac:spMk id="44" creationId="{4671FD8D-212D-7B59-B546-58D8BA14CE60}"/>
          </ac:spMkLst>
        </pc:spChg>
        <pc:spChg chg="mod">
          <ac:chgData name="Thomas Stockhammer" userId="2aa20ba2-ba43-46c1-9e8b-e40494025eed" providerId="ADAL" clId="{362BA746-2B0E-4080-93D9-1B6DA09CC282}" dt="2025-09-24T03:55:43.216" v="914" actId="207"/>
          <ac:spMkLst>
            <pc:docMk/>
            <pc:sldMk cId="2024108827" sldId="2147481980"/>
            <ac:spMk id="45" creationId="{7C142081-A7CB-2E78-BA74-A3B7FD37D6C1}"/>
          </ac:spMkLst>
        </pc:spChg>
        <pc:spChg chg="add mod">
          <ac:chgData name="Thomas Stockhammer" userId="2aa20ba2-ba43-46c1-9e8b-e40494025eed" providerId="ADAL" clId="{362BA746-2B0E-4080-93D9-1B6DA09CC282}" dt="2025-09-24T04:12:18.056" v="1117" actId="1038"/>
          <ac:spMkLst>
            <pc:docMk/>
            <pc:sldMk cId="2024108827" sldId="2147481980"/>
            <ac:spMk id="48" creationId="{8E48EDD2-E8FC-416C-C1C0-524830513143}"/>
          </ac:spMkLst>
        </pc:spChg>
        <pc:spChg chg="mod">
          <ac:chgData name="Thomas Stockhammer" userId="2aa20ba2-ba43-46c1-9e8b-e40494025eed" providerId="ADAL" clId="{362BA746-2B0E-4080-93D9-1B6DA09CC282}" dt="2025-09-24T03:59:27.091" v="958" actId="20577"/>
          <ac:spMkLst>
            <pc:docMk/>
            <pc:sldMk cId="2024108827" sldId="2147481980"/>
            <ac:spMk id="419842" creationId="{87744CFE-D0ED-696A-5D50-35B8717CE467}"/>
          </ac:spMkLst>
        </pc:spChg>
        <pc:spChg chg="add mod">
          <ac:chgData name="Thomas Stockhammer" userId="2aa20ba2-ba43-46c1-9e8b-e40494025eed" providerId="ADAL" clId="{362BA746-2B0E-4080-93D9-1B6DA09CC282}" dt="2025-09-24T04:16:44.252" v="1175" actId="113"/>
          <ac:spMkLst>
            <pc:docMk/>
            <pc:sldMk cId="2024108827" sldId="2147481980"/>
            <ac:spMk id="419849" creationId="{EDEEBC97-8343-DE16-856C-E1A8A22E8E09}"/>
          </ac:spMkLst>
        </pc:spChg>
        <pc:spChg chg="mod">
          <ac:chgData name="Thomas Stockhammer" userId="2aa20ba2-ba43-46c1-9e8b-e40494025eed" providerId="ADAL" clId="{362BA746-2B0E-4080-93D9-1B6DA09CC282}" dt="2025-09-24T04:11:25.678" v="1094" actId="167"/>
          <ac:spMkLst>
            <pc:docMk/>
            <pc:sldMk cId="2024108827" sldId="2147481980"/>
            <ac:spMk id="419853" creationId="{F53ADBBB-06B0-5EAC-C001-EA5E83352753}"/>
          </ac:spMkLst>
        </pc:spChg>
        <pc:spChg chg="mod">
          <ac:chgData name="Thomas Stockhammer" userId="2aa20ba2-ba43-46c1-9e8b-e40494025eed" providerId="ADAL" clId="{362BA746-2B0E-4080-93D9-1B6DA09CC282}" dt="2025-09-24T04:03:24.500" v="989" actId="207"/>
          <ac:spMkLst>
            <pc:docMk/>
            <pc:sldMk cId="2024108827" sldId="2147481980"/>
            <ac:spMk id="419885" creationId="{999A35F2-6672-17D9-E5B3-D4D556C09E49}"/>
          </ac:spMkLst>
        </pc:spChg>
        <pc:cxnChg chg="mod ord">
          <ac:chgData name="Thomas Stockhammer" userId="2aa20ba2-ba43-46c1-9e8b-e40494025eed" providerId="ADAL" clId="{362BA746-2B0E-4080-93D9-1B6DA09CC282}" dt="2025-09-24T04:09:43.451" v="1068" actId="14100"/>
          <ac:cxnSpMkLst>
            <pc:docMk/>
            <pc:sldMk cId="2024108827" sldId="2147481980"/>
            <ac:cxnSpMk id="8" creationId="{81746B8E-0BC3-F9CE-0112-715F0E035EB2}"/>
          </ac:cxnSpMkLst>
        </pc:cxnChg>
        <pc:cxnChg chg="mod">
          <ac:chgData name="Thomas Stockhammer" userId="2aa20ba2-ba43-46c1-9e8b-e40494025eed" providerId="ADAL" clId="{362BA746-2B0E-4080-93D9-1B6DA09CC282}" dt="2025-09-24T04:12:13.054" v="1106" actId="1037"/>
          <ac:cxnSpMkLst>
            <pc:docMk/>
            <pc:sldMk cId="2024108827" sldId="2147481980"/>
            <ac:cxnSpMk id="25" creationId="{41161C4B-0235-2500-DBA2-E32E027826B7}"/>
          </ac:cxnSpMkLst>
        </pc:cxnChg>
        <pc:cxnChg chg="mod ord">
          <ac:chgData name="Thomas Stockhammer" userId="2aa20ba2-ba43-46c1-9e8b-e40494025eed" providerId="ADAL" clId="{362BA746-2B0E-4080-93D9-1B6DA09CC282}" dt="2025-09-24T04:09:38.353" v="1067" actId="14100"/>
          <ac:cxnSpMkLst>
            <pc:docMk/>
            <pc:sldMk cId="2024108827" sldId="2147481980"/>
            <ac:cxnSpMk id="40" creationId="{8863815E-F1FB-4A54-C808-A85B78C5D0A0}"/>
          </ac:cxnSpMkLst>
        </pc:cxnChg>
        <pc:cxnChg chg="mod ord">
          <ac:chgData name="Thomas Stockhammer" userId="2aa20ba2-ba43-46c1-9e8b-e40494025eed" providerId="ADAL" clId="{362BA746-2B0E-4080-93D9-1B6DA09CC282}" dt="2025-09-24T04:08:29.521" v="1063" actId="167"/>
          <ac:cxnSpMkLst>
            <pc:docMk/>
            <pc:sldMk cId="2024108827" sldId="2147481980"/>
            <ac:cxnSpMk id="50" creationId="{46D9FBE3-42D3-32C8-41E6-C7170932E0ED}"/>
          </ac:cxnSpMkLst>
        </pc:cxnChg>
        <pc:cxnChg chg="add mod">
          <ac:chgData name="Thomas Stockhammer" userId="2aa20ba2-ba43-46c1-9e8b-e40494025eed" providerId="ADAL" clId="{362BA746-2B0E-4080-93D9-1B6DA09CC282}" dt="2025-09-24T04:06:22.256" v="1051" actId="14100"/>
          <ac:cxnSpMkLst>
            <pc:docMk/>
            <pc:sldMk cId="2024108827" sldId="2147481980"/>
            <ac:cxnSpMk id="53" creationId="{F00B14B4-0BE6-14CF-812E-4E5F9A7C43DD}"/>
          </ac:cxnSpMkLst>
        </pc:cxnChg>
        <pc:cxnChg chg="add mod ord">
          <ac:chgData name="Thomas Stockhammer" userId="2aa20ba2-ba43-46c1-9e8b-e40494025eed" providerId="ADAL" clId="{362BA746-2B0E-4080-93D9-1B6DA09CC282}" dt="2025-09-24T04:09:53.756" v="1069" actId="14100"/>
          <ac:cxnSpMkLst>
            <pc:docMk/>
            <pc:sldMk cId="2024108827" sldId="2147481980"/>
            <ac:cxnSpMk id="61" creationId="{0DB33F91-0E15-BA21-506A-D5C355AD96B8}"/>
          </ac:cxnSpMkLst>
        </pc:cxnChg>
        <pc:cxnChg chg="add mod ord">
          <ac:chgData name="Thomas Stockhammer" userId="2aa20ba2-ba43-46c1-9e8b-e40494025eed" providerId="ADAL" clId="{362BA746-2B0E-4080-93D9-1B6DA09CC282}" dt="2025-09-24T04:11:13.495" v="1093" actId="167"/>
          <ac:cxnSpMkLst>
            <pc:docMk/>
            <pc:sldMk cId="2024108827" sldId="2147481980"/>
            <ac:cxnSpMk id="419846" creationId="{C2DFA45C-EA3E-F97B-90F7-036DF50DA6C9}"/>
          </ac:cxnSpMkLst>
        </pc:cxnChg>
      </pc:sldChg>
      <pc:sldChg chg="add del">
        <pc:chgData name="Thomas Stockhammer" userId="2aa20ba2-ba43-46c1-9e8b-e40494025eed" providerId="ADAL" clId="{362BA746-2B0E-4080-93D9-1B6DA09CC282}" dt="2025-09-24T10:51:37.962" v="1617" actId="47"/>
        <pc:sldMkLst>
          <pc:docMk/>
          <pc:sldMk cId="995499130" sldId="2147481981"/>
        </pc:sldMkLst>
      </pc:sldChg>
      <pc:sldChg chg="modSp add">
        <pc:chgData name="Thomas Stockhammer" userId="2aa20ba2-ba43-46c1-9e8b-e40494025eed" providerId="ADAL" clId="{362BA746-2B0E-4080-93D9-1B6DA09CC282}" dt="2025-09-24T10:53:23.475" v="1628"/>
        <pc:sldMkLst>
          <pc:docMk/>
          <pc:sldMk cId="1365812612" sldId="2147481981"/>
        </pc:sldMkLst>
        <pc:spChg chg="mod">
          <ac:chgData name="Thomas Stockhammer" userId="2aa20ba2-ba43-46c1-9e8b-e40494025eed" providerId="ADAL" clId="{362BA746-2B0E-4080-93D9-1B6DA09CC282}" dt="2025-09-24T10:53:23.475" v="1628"/>
          <ac:spMkLst>
            <pc:docMk/>
            <pc:sldMk cId="1365812612" sldId="2147481981"/>
            <ac:spMk id="11" creationId="{86D49D04-2670-618B-2802-3DF7B3B60E36}"/>
          </ac:spMkLst>
        </pc:spChg>
      </pc:sldChg>
      <pc:sldMasterChg chg="delSldLayout">
        <pc:chgData name="Thomas Stockhammer" userId="2aa20ba2-ba43-46c1-9e8b-e40494025eed" providerId="ADAL" clId="{362BA746-2B0E-4080-93D9-1B6DA09CC282}" dt="2025-09-24T03:35:43.310" v="479" actId="2696"/>
        <pc:sldMasterMkLst>
          <pc:docMk/>
          <pc:sldMasterMk cId="306139523" sldId="2147483833"/>
        </pc:sldMasterMkLst>
        <pc:sldLayoutChg chg="del">
          <pc:chgData name="Thomas Stockhammer" userId="2aa20ba2-ba43-46c1-9e8b-e40494025eed" providerId="ADAL" clId="{362BA746-2B0E-4080-93D9-1B6DA09CC282}" dt="2025-09-24T03:35:43.310" v="479" actId="2696"/>
          <pc:sldLayoutMkLst>
            <pc:docMk/>
            <pc:sldMasterMk cId="306139523" sldId="2147483833"/>
            <pc:sldLayoutMk cId="2070168956" sldId="2147485217"/>
          </pc:sldLayoutMkLst>
        </pc:sldLayoutChg>
        <pc:sldLayoutChg chg="del">
          <pc:chgData name="Thomas Stockhammer" userId="2aa20ba2-ba43-46c1-9e8b-e40494025eed" providerId="ADAL" clId="{362BA746-2B0E-4080-93D9-1B6DA09CC282}" dt="2025-09-24T03:35:43.310" v="479" actId="2696"/>
          <pc:sldLayoutMkLst>
            <pc:docMk/>
            <pc:sldMasterMk cId="306139523" sldId="2147483833"/>
            <pc:sldLayoutMk cId="1245720850" sldId="2147485275"/>
          </pc:sldLayoutMkLst>
        </pc:sldLayoutChg>
      </pc:sldMasterChg>
      <pc:sldMasterChg chg="delSldLayout">
        <pc:chgData name="Thomas Stockhammer" userId="2aa20ba2-ba43-46c1-9e8b-e40494025eed" providerId="ADAL" clId="{362BA746-2B0E-4080-93D9-1B6DA09CC282}" dt="2025-09-24T10:53:25.773" v="1629" actId="47"/>
        <pc:sldMasterMkLst>
          <pc:docMk/>
          <pc:sldMasterMk cId="3833346092" sldId="2147484943"/>
        </pc:sldMasterMkLst>
        <pc:sldLayoutChg chg="del">
          <pc:chgData name="Thomas Stockhammer" userId="2aa20ba2-ba43-46c1-9e8b-e40494025eed" providerId="ADAL" clId="{362BA746-2B0E-4080-93D9-1B6DA09CC282}" dt="2025-09-24T10:53:25.773" v="1629" actId="47"/>
          <pc:sldLayoutMkLst>
            <pc:docMk/>
            <pc:sldMasterMk cId="3833346092" sldId="2147484943"/>
            <pc:sldLayoutMk cId="871232787" sldId="2147484987"/>
          </pc:sldLayoutMkLst>
        </pc:sldLayoutChg>
      </pc:sldMasterChg>
      <pc:sldMasterChg chg="delSldLayout">
        <pc:chgData name="Thomas Stockhammer" userId="2aa20ba2-ba43-46c1-9e8b-e40494025eed" providerId="ADAL" clId="{362BA746-2B0E-4080-93D9-1B6DA09CC282}" dt="2025-09-24T04:51:47.431" v="1239" actId="2696"/>
        <pc:sldMasterMkLst>
          <pc:docMk/>
          <pc:sldMasterMk cId="3998268720" sldId="2147485012"/>
        </pc:sldMasterMkLst>
        <pc:sldLayoutChg chg="del">
          <pc:chgData name="Thomas Stockhammer" userId="2aa20ba2-ba43-46c1-9e8b-e40494025eed" providerId="ADAL" clId="{362BA746-2B0E-4080-93D9-1B6DA09CC282}" dt="2025-09-24T04:51:47.431" v="1239" actId="2696"/>
          <pc:sldLayoutMkLst>
            <pc:docMk/>
            <pc:sldMasterMk cId="3998268720" sldId="2147485012"/>
            <pc:sldLayoutMk cId="819739418" sldId="214748511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r>
              <a:rPr lang="de-DE">
                <a:solidFill>
                  <a:schemeClr val="bg1"/>
                </a:solidFill>
              </a:rPr>
              <a:t>5GB Pop Deployment Timelin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endParaRPr lang="de-DE"/>
        </a:p>
      </c:txPr>
    </c:title>
    <c:autoTitleDeleted val="0"/>
    <c:plotArea>
      <c:layout/>
      <c:barChart>
        <c:barDir val="col"/>
        <c:grouping val="stacked"/>
        <c:varyColors val="0"/>
        <c:ser>
          <c:idx val="0"/>
          <c:order val="0"/>
          <c:tx>
            <c:strRef>
              <c:f>Sheet1!$B$1</c:f>
              <c:strCache>
                <c:ptCount val="1"/>
                <c:pt idx="0">
                  <c:v>Germany</c:v>
                </c:pt>
              </c:strCache>
            </c:strRef>
          </c:tx>
          <c:spPr>
            <a:gradFill rotWithShape="1">
              <a:gsLst>
                <a:gs pos="0">
                  <a:schemeClr val="accent1">
                    <a:tint val="65000"/>
                    <a:lumMod val="110000"/>
                  </a:schemeClr>
                </a:gs>
                <a:gs pos="88000">
                  <a:schemeClr val="accent1">
                    <a:tint val="90000"/>
                  </a:schemeClr>
                </a:gs>
              </a:gsLst>
              <a:lin ang="5400000" scaled="0"/>
            </a:gradFill>
            <a:ln w="9525" cap="flat" cmpd="sng" algn="ctr">
              <a:solidFill>
                <a:schemeClr val="accent1">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B$2:$B$14</c:f>
              <c:numCache>
                <c:formatCode>0.00</c:formatCode>
                <c:ptCount val="13"/>
                <c:pt idx="0">
                  <c:v>0.75</c:v>
                </c:pt>
                <c:pt idx="1">
                  <c:v>15.11</c:v>
                </c:pt>
                <c:pt idx="2">
                  <c:v>24.97</c:v>
                </c:pt>
                <c:pt idx="3">
                  <c:v>33.520000000000003</c:v>
                </c:pt>
                <c:pt idx="4">
                  <c:v>47.5</c:v>
                </c:pt>
                <c:pt idx="5">
                  <c:v>47.5</c:v>
                </c:pt>
                <c:pt idx="6">
                  <c:v>47.5</c:v>
                </c:pt>
                <c:pt idx="7">
                  <c:v>47.5</c:v>
                </c:pt>
                <c:pt idx="8">
                  <c:v>47.5</c:v>
                </c:pt>
                <c:pt idx="9">
                  <c:v>47.5</c:v>
                </c:pt>
                <c:pt idx="10">
                  <c:v>47.5</c:v>
                </c:pt>
                <c:pt idx="11">
                  <c:v>47.5</c:v>
                </c:pt>
                <c:pt idx="12">
                  <c:v>47.5</c:v>
                </c:pt>
              </c:numCache>
            </c:numRef>
          </c:val>
          <c:extLst>
            <c:ext xmlns:c16="http://schemas.microsoft.com/office/drawing/2014/chart" uri="{C3380CC4-5D6E-409C-BE32-E72D297353CC}">
              <c16:uniqueId val="{00000000-60D8-4C4A-9483-FFEC349337AE}"/>
            </c:ext>
          </c:extLst>
        </c:ser>
        <c:ser>
          <c:idx val="1"/>
          <c:order val="1"/>
          <c:tx>
            <c:strRef>
              <c:f>Sheet1!$C$1</c:f>
              <c:strCache>
                <c:ptCount val="1"/>
                <c:pt idx="0">
                  <c:v>France</c:v>
                </c:pt>
              </c:strCache>
            </c:strRef>
          </c:tx>
          <c:spPr>
            <a:gradFill rotWithShape="1">
              <a:gsLst>
                <a:gs pos="0">
                  <a:schemeClr val="accent2">
                    <a:tint val="65000"/>
                    <a:lumMod val="110000"/>
                  </a:schemeClr>
                </a:gs>
                <a:gs pos="88000">
                  <a:schemeClr val="accent2">
                    <a:tint val="90000"/>
                  </a:schemeClr>
                </a:gs>
              </a:gsLst>
              <a:lin ang="5400000" scaled="0"/>
            </a:gradFill>
            <a:ln w="9525" cap="flat" cmpd="sng" algn="ctr">
              <a:solidFill>
                <a:schemeClr val="accent2">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C$2:$C$14</c:f>
              <c:numCache>
                <c:formatCode>0.00</c:formatCode>
                <c:ptCount val="13"/>
                <c:pt idx="0">
                  <c:v>0.25</c:v>
                </c:pt>
                <c:pt idx="1">
                  <c:v>0.25</c:v>
                </c:pt>
                <c:pt idx="2">
                  <c:v>0.25</c:v>
                </c:pt>
                <c:pt idx="3">
                  <c:v>0.25</c:v>
                </c:pt>
                <c:pt idx="4">
                  <c:v>0.25</c:v>
                </c:pt>
                <c:pt idx="5">
                  <c:v>19.23</c:v>
                </c:pt>
                <c:pt idx="6">
                  <c:v>30.28</c:v>
                </c:pt>
                <c:pt idx="7">
                  <c:v>38.270000000000003</c:v>
                </c:pt>
                <c:pt idx="8">
                  <c:v>42.96</c:v>
                </c:pt>
                <c:pt idx="9">
                  <c:v>42.96</c:v>
                </c:pt>
                <c:pt idx="10">
                  <c:v>42.96</c:v>
                </c:pt>
                <c:pt idx="11">
                  <c:v>42.96</c:v>
                </c:pt>
                <c:pt idx="12">
                  <c:v>42.96</c:v>
                </c:pt>
              </c:numCache>
            </c:numRef>
          </c:val>
          <c:extLst>
            <c:ext xmlns:c16="http://schemas.microsoft.com/office/drawing/2014/chart" uri="{C3380CC4-5D6E-409C-BE32-E72D297353CC}">
              <c16:uniqueId val="{00000001-60D8-4C4A-9483-FFEC349337AE}"/>
            </c:ext>
          </c:extLst>
        </c:ser>
        <c:ser>
          <c:idx val="2"/>
          <c:order val="2"/>
          <c:tx>
            <c:strRef>
              <c:f>Sheet1!$D$1</c:f>
              <c:strCache>
                <c:ptCount val="1"/>
                <c:pt idx="0">
                  <c:v>Czechia</c:v>
                </c:pt>
              </c:strCache>
            </c:strRef>
          </c:tx>
          <c:spPr>
            <a:gradFill rotWithShape="1">
              <a:gsLst>
                <a:gs pos="0">
                  <a:schemeClr val="accent3">
                    <a:tint val="65000"/>
                    <a:lumMod val="110000"/>
                  </a:schemeClr>
                </a:gs>
                <a:gs pos="88000">
                  <a:schemeClr val="accent3">
                    <a:tint val="90000"/>
                  </a:schemeClr>
                </a:gs>
              </a:gsLst>
              <a:lin ang="5400000" scaled="0"/>
            </a:gradFill>
            <a:ln w="9525" cap="flat" cmpd="sng" algn="ctr">
              <a:solidFill>
                <a:schemeClr val="accent3">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D$2:$D$14</c:f>
              <c:numCache>
                <c:formatCode>0.00</c:formatCode>
                <c:ptCount val="13"/>
                <c:pt idx="0">
                  <c:v>0.15</c:v>
                </c:pt>
                <c:pt idx="1">
                  <c:v>0.15</c:v>
                </c:pt>
                <c:pt idx="2">
                  <c:v>0.15</c:v>
                </c:pt>
                <c:pt idx="3">
                  <c:v>2.21</c:v>
                </c:pt>
                <c:pt idx="4">
                  <c:v>4.1900000000000004</c:v>
                </c:pt>
                <c:pt idx="5">
                  <c:v>4.1900000000000004</c:v>
                </c:pt>
                <c:pt idx="6">
                  <c:v>4.1900000000000004</c:v>
                </c:pt>
                <c:pt idx="7">
                  <c:v>4.1900000000000004</c:v>
                </c:pt>
                <c:pt idx="8">
                  <c:v>4.1900000000000004</c:v>
                </c:pt>
                <c:pt idx="9">
                  <c:v>4.1900000000000004</c:v>
                </c:pt>
                <c:pt idx="10">
                  <c:v>4.1900000000000004</c:v>
                </c:pt>
                <c:pt idx="11">
                  <c:v>4.1900000000000004</c:v>
                </c:pt>
                <c:pt idx="12">
                  <c:v>4.1900000000000004</c:v>
                </c:pt>
              </c:numCache>
            </c:numRef>
          </c:val>
          <c:extLst>
            <c:ext xmlns:c16="http://schemas.microsoft.com/office/drawing/2014/chart" uri="{C3380CC4-5D6E-409C-BE32-E72D297353CC}">
              <c16:uniqueId val="{00000002-60D8-4C4A-9483-FFEC349337AE}"/>
            </c:ext>
          </c:extLst>
        </c:ser>
        <c:ser>
          <c:idx val="3"/>
          <c:order val="3"/>
          <c:tx>
            <c:strRef>
              <c:f>Sheet1!$E$1</c:f>
              <c:strCache>
                <c:ptCount val="1"/>
                <c:pt idx="0">
                  <c:v>Poland </c:v>
                </c:pt>
              </c:strCache>
            </c:strRef>
          </c:tx>
          <c:spPr>
            <a:gradFill rotWithShape="1">
              <a:gsLst>
                <a:gs pos="0">
                  <a:schemeClr val="accent4">
                    <a:tint val="65000"/>
                    <a:lumMod val="110000"/>
                  </a:schemeClr>
                </a:gs>
                <a:gs pos="88000">
                  <a:schemeClr val="accent4">
                    <a:tint val="90000"/>
                  </a:schemeClr>
                </a:gs>
              </a:gsLst>
              <a:lin ang="5400000" scaled="0"/>
            </a:gradFill>
            <a:ln w="9525" cap="flat" cmpd="sng" algn="ctr">
              <a:solidFill>
                <a:schemeClr val="accent4">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E$2:$E$14</c:f>
              <c:numCache>
                <c:formatCode>0.00</c:formatCode>
                <c:ptCount val="13"/>
                <c:pt idx="0">
                  <c:v>0.4</c:v>
                </c:pt>
                <c:pt idx="1">
                  <c:v>0.4</c:v>
                </c:pt>
                <c:pt idx="2">
                  <c:v>0.4</c:v>
                </c:pt>
                <c:pt idx="3">
                  <c:v>0.4</c:v>
                </c:pt>
                <c:pt idx="4">
                  <c:v>2.5</c:v>
                </c:pt>
                <c:pt idx="5">
                  <c:v>2.5</c:v>
                </c:pt>
                <c:pt idx="6">
                  <c:v>2.5</c:v>
                </c:pt>
                <c:pt idx="7">
                  <c:v>2.5</c:v>
                </c:pt>
                <c:pt idx="8">
                  <c:v>8.93</c:v>
                </c:pt>
                <c:pt idx="9">
                  <c:v>8.93</c:v>
                </c:pt>
                <c:pt idx="10">
                  <c:v>8.93</c:v>
                </c:pt>
                <c:pt idx="11">
                  <c:v>8.93</c:v>
                </c:pt>
                <c:pt idx="12">
                  <c:v>11.43</c:v>
                </c:pt>
              </c:numCache>
            </c:numRef>
          </c:val>
          <c:extLst>
            <c:ext xmlns:c16="http://schemas.microsoft.com/office/drawing/2014/chart" uri="{C3380CC4-5D6E-409C-BE32-E72D297353CC}">
              <c16:uniqueId val="{00000003-60D8-4C4A-9483-FFEC349337AE}"/>
            </c:ext>
          </c:extLst>
        </c:ser>
        <c:ser>
          <c:idx val="4"/>
          <c:order val="4"/>
          <c:tx>
            <c:strRef>
              <c:f>Sheet1!$F$1</c:f>
              <c:strCache>
                <c:ptCount val="1"/>
                <c:pt idx="0">
                  <c:v>Belgium</c:v>
                </c:pt>
              </c:strCache>
            </c:strRef>
          </c:tx>
          <c:spPr>
            <a:gradFill rotWithShape="1">
              <a:gsLst>
                <a:gs pos="0">
                  <a:schemeClr val="accent5">
                    <a:tint val="65000"/>
                    <a:lumMod val="110000"/>
                  </a:schemeClr>
                </a:gs>
                <a:gs pos="88000">
                  <a:schemeClr val="accent5">
                    <a:tint val="90000"/>
                  </a:schemeClr>
                </a:gs>
              </a:gsLst>
              <a:lin ang="5400000" scaled="0"/>
            </a:gradFill>
            <a:ln w="9525" cap="flat" cmpd="sng" algn="ctr">
              <a:solidFill>
                <a:schemeClr val="accent5">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F$2:$F$14</c:f>
              <c:numCache>
                <c:formatCode>0.00</c:formatCode>
                <c:ptCount val="13"/>
                <c:pt idx="0">
                  <c:v>0</c:v>
                </c:pt>
                <c:pt idx="1">
                  <c:v>0</c:v>
                </c:pt>
                <c:pt idx="2">
                  <c:v>0</c:v>
                </c:pt>
                <c:pt idx="3">
                  <c:v>1</c:v>
                </c:pt>
                <c:pt idx="4">
                  <c:v>2</c:v>
                </c:pt>
                <c:pt idx="5">
                  <c:v>3</c:v>
                </c:pt>
                <c:pt idx="6">
                  <c:v>4</c:v>
                </c:pt>
                <c:pt idx="7">
                  <c:v>4.5</c:v>
                </c:pt>
                <c:pt idx="8">
                  <c:v>5</c:v>
                </c:pt>
                <c:pt idx="9">
                  <c:v>5</c:v>
                </c:pt>
                <c:pt idx="10">
                  <c:v>5</c:v>
                </c:pt>
                <c:pt idx="11">
                  <c:v>5</c:v>
                </c:pt>
                <c:pt idx="12">
                  <c:v>5</c:v>
                </c:pt>
              </c:numCache>
            </c:numRef>
          </c:val>
          <c:extLst>
            <c:ext xmlns:c16="http://schemas.microsoft.com/office/drawing/2014/chart" uri="{C3380CC4-5D6E-409C-BE32-E72D297353CC}">
              <c16:uniqueId val="{00000004-60D8-4C4A-9483-FFEC349337AE}"/>
            </c:ext>
          </c:extLst>
        </c:ser>
        <c:ser>
          <c:idx val="5"/>
          <c:order val="5"/>
          <c:tx>
            <c:strRef>
              <c:f>Sheet1!$G$1</c:f>
              <c:strCache>
                <c:ptCount val="1"/>
                <c:pt idx="0">
                  <c:v>Italy</c:v>
                </c:pt>
              </c:strCache>
            </c:strRef>
          </c:tx>
          <c:spPr>
            <a:gradFill rotWithShape="1">
              <a:gsLst>
                <a:gs pos="0">
                  <a:schemeClr val="accent6">
                    <a:tint val="65000"/>
                    <a:lumMod val="110000"/>
                  </a:schemeClr>
                </a:gs>
                <a:gs pos="88000">
                  <a:schemeClr val="accent6">
                    <a:tint val="90000"/>
                  </a:schemeClr>
                </a:gs>
              </a:gsLst>
              <a:lin ang="5400000" scaled="0"/>
            </a:gradFill>
            <a:ln w="9525" cap="flat" cmpd="sng" algn="ctr">
              <a:solidFill>
                <a:schemeClr val="accent6">
                  <a:shade val="95000"/>
                </a:schemeClr>
              </a:solidFill>
              <a:round/>
            </a:ln>
            <a:effectLst/>
          </c:spPr>
          <c:invertIfNegative val="0"/>
          <c:cat>
            <c:strRef>
              <c:f>Sheet1!$A$2:$A$14</c:f>
              <c:strCache>
                <c:ptCount val="13"/>
                <c:pt idx="0">
                  <c:v>Q4 2026</c:v>
                </c:pt>
                <c:pt idx="1">
                  <c:v>Q1 2027</c:v>
                </c:pt>
                <c:pt idx="2">
                  <c:v>Q2 2027</c:v>
                </c:pt>
                <c:pt idx="3">
                  <c:v>Q3 2027</c:v>
                </c:pt>
                <c:pt idx="4">
                  <c:v>Q4 2027</c:v>
                </c:pt>
                <c:pt idx="5">
                  <c:v>Q1 2028</c:v>
                </c:pt>
                <c:pt idx="6">
                  <c:v>Q2 2028</c:v>
                </c:pt>
                <c:pt idx="7">
                  <c:v>Q3 2028</c:v>
                </c:pt>
                <c:pt idx="8">
                  <c:v>Q4 2028</c:v>
                </c:pt>
                <c:pt idx="9">
                  <c:v>Q1 2029</c:v>
                </c:pt>
                <c:pt idx="10">
                  <c:v>Q2 2029</c:v>
                </c:pt>
                <c:pt idx="11">
                  <c:v>Q3 2029</c:v>
                </c:pt>
                <c:pt idx="12">
                  <c:v>Q4 2029</c:v>
                </c:pt>
              </c:strCache>
            </c:strRef>
          </c:cat>
          <c:val>
            <c:numRef>
              <c:f>Sheet1!$G$2:$G$14</c:f>
              <c:numCache>
                <c:formatCode>0.00</c:formatCode>
                <c:ptCount val="13"/>
                <c:pt idx="0">
                  <c:v>0</c:v>
                </c:pt>
                <c:pt idx="1">
                  <c:v>0</c:v>
                </c:pt>
                <c:pt idx="2">
                  <c:v>0</c:v>
                </c:pt>
                <c:pt idx="3">
                  <c:v>0</c:v>
                </c:pt>
                <c:pt idx="4">
                  <c:v>0</c:v>
                </c:pt>
                <c:pt idx="5">
                  <c:v>3</c:v>
                </c:pt>
                <c:pt idx="6">
                  <c:v>7</c:v>
                </c:pt>
                <c:pt idx="7">
                  <c:v>10</c:v>
                </c:pt>
                <c:pt idx="8">
                  <c:v>13</c:v>
                </c:pt>
                <c:pt idx="9">
                  <c:v>16</c:v>
                </c:pt>
                <c:pt idx="10">
                  <c:v>16</c:v>
                </c:pt>
                <c:pt idx="11">
                  <c:v>16</c:v>
                </c:pt>
                <c:pt idx="12">
                  <c:v>16</c:v>
                </c:pt>
              </c:numCache>
            </c:numRef>
          </c:val>
          <c:extLst>
            <c:ext xmlns:c16="http://schemas.microsoft.com/office/drawing/2014/chart" uri="{C3380CC4-5D6E-409C-BE32-E72D297353CC}">
              <c16:uniqueId val="{00000005-60D8-4C4A-9483-FFEC349337AE}"/>
            </c:ext>
          </c:extLst>
        </c:ser>
        <c:dLbls>
          <c:showLegendKey val="0"/>
          <c:showVal val="0"/>
          <c:showCatName val="0"/>
          <c:showSerName val="0"/>
          <c:showPercent val="0"/>
          <c:showBubbleSize val="0"/>
        </c:dLbls>
        <c:gapWidth val="150"/>
        <c:overlap val="100"/>
        <c:axId val="1023405872"/>
        <c:axId val="1023415472"/>
      </c:barChart>
      <c:catAx>
        <c:axId val="102340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crossAx val="1023415472"/>
        <c:crosses val="autoZero"/>
        <c:auto val="1"/>
        <c:lblAlgn val="ctr"/>
        <c:lblOffset val="100"/>
        <c:noMultiLvlLbl val="0"/>
      </c:catAx>
      <c:valAx>
        <c:axId val="1023415472"/>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crossAx val="1023405872"/>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_rels/data2.xml.rels><?xml version="1.0" encoding="UTF-8" standalone="yes"?>
<Relationships xmlns="http://schemas.openxmlformats.org/package/2006/relationships"><Relationship Id="rId1" Type="http://schemas.openxmlformats.org/officeDocument/2006/relationships/hyperlink" Target="https://www.etsi.org/deliver/etsi_ts/103700_103799/103720/01.01.01_60/ts_103720v010101p.pdf"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www.etsi.org/deliver/etsi_ts/103700_103799/103720/01.01.01_60/ts_103720v010101p.pdf"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4187D4-231D-4AB8-A9F7-C620DF87BC5D}"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309A8B2A-FAFF-4973-8C29-4CA788746955}">
      <dgm:prSet phldrT="[Text]"/>
      <dgm:spPr/>
      <dgm:t>
        <a:bodyPr/>
        <a:lstStyle/>
        <a:p>
          <a:pPr>
            <a:buSzPct val="80000"/>
          </a:pPr>
          <a:r>
            <a:rPr lang="en-US" altLang="en-US" dirty="0">
              <a:latin typeface="Arial"/>
            </a:rPr>
            <a:t>SIM-less reception, Receive-Only Mode (ROM) &amp; </a:t>
          </a:r>
          <a:r>
            <a:rPr lang="en-US" altLang="en-US" dirty="0">
              <a:ln/>
              <a:latin typeface="Arial"/>
            </a:rPr>
            <a:t>Free-to-Air (FTA)</a:t>
          </a:r>
          <a:endParaRPr lang="en-US" dirty="0"/>
        </a:p>
      </dgm:t>
    </dgm:pt>
    <dgm:pt modelId="{AAA4B967-9ED2-4348-8F39-2CD98D3BD57F}" type="parTrans" cxnId="{C9D192F1-B9ED-4D1E-AD84-A0F41A0709C2}">
      <dgm:prSet/>
      <dgm:spPr/>
      <dgm:t>
        <a:bodyPr/>
        <a:lstStyle/>
        <a:p>
          <a:endParaRPr lang="en-US"/>
        </a:p>
      </dgm:t>
    </dgm:pt>
    <dgm:pt modelId="{ECB580FF-7F3B-4116-B14B-BB7A5F9FBC46}" type="sibTrans" cxnId="{C9D192F1-B9ED-4D1E-AD84-A0F41A0709C2}">
      <dgm:prSet/>
      <dgm:spPr/>
      <dgm:t>
        <a:bodyPr/>
        <a:lstStyle/>
        <a:p>
          <a:endParaRPr lang="en-US"/>
        </a:p>
      </dgm:t>
    </dgm:pt>
    <dgm:pt modelId="{89FC40A9-4F8D-4EC4-9C58-E39733326065}">
      <dgm:prSet phldrT="[Text]"/>
      <dgm:spPr/>
      <dgm:t>
        <a:bodyPr/>
        <a:lstStyle/>
        <a:p>
          <a:pPr>
            <a:buSzPct val="80000"/>
          </a:pPr>
          <a:r>
            <a:rPr lang="en-US" altLang="en-US" dirty="0">
              <a:latin typeface="Arial"/>
            </a:rPr>
            <a:t>Different spectrum options (e.g. UHF, SDL), as well as SFN/MFN</a:t>
          </a:r>
          <a:endParaRPr lang="en-US" dirty="0"/>
        </a:p>
      </dgm:t>
    </dgm:pt>
    <dgm:pt modelId="{CBED7DE1-FC70-475C-A0F0-2258D5C7F369}" type="parTrans" cxnId="{0BC8A39A-38C0-48C8-AB33-65311104CAFF}">
      <dgm:prSet/>
      <dgm:spPr/>
      <dgm:t>
        <a:bodyPr/>
        <a:lstStyle/>
        <a:p>
          <a:endParaRPr lang="en-US"/>
        </a:p>
      </dgm:t>
    </dgm:pt>
    <dgm:pt modelId="{9679B232-9AA5-4E32-93BC-0100194F3B79}" type="sibTrans" cxnId="{0BC8A39A-38C0-48C8-AB33-65311104CAFF}">
      <dgm:prSet/>
      <dgm:spPr/>
      <dgm:t>
        <a:bodyPr/>
        <a:lstStyle/>
        <a:p>
          <a:endParaRPr lang="en-US"/>
        </a:p>
      </dgm:t>
    </dgm:pt>
    <dgm:pt modelId="{245309D3-0A0E-46F6-B227-3B91D39B7C51}">
      <dgm:prSet phldrT="[Text]"/>
      <dgm:spPr/>
      <dgm:t>
        <a:bodyPr/>
        <a:lstStyle/>
        <a:p>
          <a:pPr>
            <a:buSzPct val="80000"/>
          </a:pPr>
          <a:r>
            <a:rPr lang="en-US" altLang="en-US">
              <a:latin typeface="Arial"/>
            </a:rPr>
            <a:t>Various deployment possibilities (e.g. MNOs, BNOs)</a:t>
          </a:r>
          <a:endParaRPr lang="en-US"/>
        </a:p>
      </dgm:t>
    </dgm:pt>
    <dgm:pt modelId="{59DD11BC-99D9-4430-A239-3F80F5F0A0EE}" type="parTrans" cxnId="{7C110F15-45C3-42DB-A739-14B526FEEC1A}">
      <dgm:prSet/>
      <dgm:spPr/>
      <dgm:t>
        <a:bodyPr/>
        <a:lstStyle/>
        <a:p>
          <a:endParaRPr lang="en-US"/>
        </a:p>
      </dgm:t>
    </dgm:pt>
    <dgm:pt modelId="{36BB9272-A217-41DC-ACB9-212281497E26}" type="sibTrans" cxnId="{7C110F15-45C3-42DB-A739-14B526FEEC1A}">
      <dgm:prSet/>
      <dgm:spPr/>
      <dgm:t>
        <a:bodyPr/>
        <a:lstStyle/>
        <a:p>
          <a:endParaRPr lang="en-US"/>
        </a:p>
      </dgm:t>
    </dgm:pt>
    <dgm:pt modelId="{CFB829C9-6A1A-4B31-8062-943E484D5E03}">
      <dgm:prSet phldrT="[Text]"/>
      <dgm:spPr/>
      <dgm:t>
        <a:bodyPr/>
        <a:lstStyle/>
        <a:p>
          <a:pPr>
            <a:buSzPct val="80000"/>
          </a:pPr>
          <a:r>
            <a:rPr lang="en-US" altLang="en-US">
              <a:latin typeface="Arial"/>
            </a:rPr>
            <a:t>Using existing infrastructure (HPHT, MPMT and LPLT)</a:t>
          </a:r>
          <a:endParaRPr lang="en-US"/>
        </a:p>
      </dgm:t>
    </dgm:pt>
    <dgm:pt modelId="{B9C03EBB-9BF8-4EAB-B520-221FC8A9C4BC}" type="parTrans" cxnId="{ED913F38-E59B-444B-ADE9-C4386DC1964F}">
      <dgm:prSet/>
      <dgm:spPr/>
      <dgm:t>
        <a:bodyPr/>
        <a:lstStyle/>
        <a:p>
          <a:endParaRPr lang="en-US"/>
        </a:p>
      </dgm:t>
    </dgm:pt>
    <dgm:pt modelId="{695A17DA-0705-4089-8FCA-9B5B01020AB6}" type="sibTrans" cxnId="{ED913F38-E59B-444B-ADE9-C4386DC1964F}">
      <dgm:prSet/>
      <dgm:spPr/>
      <dgm:t>
        <a:bodyPr/>
        <a:lstStyle/>
        <a:p>
          <a:endParaRPr lang="en-US"/>
        </a:p>
      </dgm:t>
    </dgm:pt>
    <dgm:pt modelId="{81A55424-841E-4DB5-AD99-55539E995520}">
      <dgm:prSet phldrT="[Text]"/>
      <dgm:spPr/>
      <dgm:t>
        <a:bodyPr/>
        <a:lstStyle/>
        <a:p>
          <a:pPr>
            <a:buSzPct val="80000"/>
          </a:pPr>
          <a:r>
            <a:rPr lang="en-US" altLang="en-US" dirty="0">
              <a:latin typeface="Arial"/>
            </a:rPr>
            <a:t>Highly flexible velocities (up to 250 KM/h Vs up to 300 µS)</a:t>
          </a:r>
        </a:p>
      </dgm:t>
    </dgm:pt>
    <dgm:pt modelId="{8A57DEF7-4380-433F-B9F9-90C75A931E4D}" type="parTrans" cxnId="{22246F82-E690-4E93-9E02-0CAF29978097}">
      <dgm:prSet/>
      <dgm:spPr/>
      <dgm:t>
        <a:bodyPr/>
        <a:lstStyle/>
        <a:p>
          <a:endParaRPr lang="en-US"/>
        </a:p>
      </dgm:t>
    </dgm:pt>
    <dgm:pt modelId="{E03DBEC5-450E-4219-BB8B-CB627D485C42}" type="sibTrans" cxnId="{22246F82-E690-4E93-9E02-0CAF29978097}">
      <dgm:prSet/>
      <dgm:spPr/>
      <dgm:t>
        <a:bodyPr/>
        <a:lstStyle/>
        <a:p>
          <a:endParaRPr lang="en-US"/>
        </a:p>
      </dgm:t>
    </dgm:pt>
    <dgm:pt modelId="{B0B60FF3-F68A-4C62-8403-60B81EA22335}">
      <dgm:prSet phldrT="[Text]"/>
      <dgm:spPr/>
      <dgm:t>
        <a:bodyPr/>
        <a:lstStyle/>
        <a:p>
          <a:pPr>
            <a:buSzPct val="80000"/>
          </a:pPr>
          <a:r>
            <a:rPr lang="de-DE" altLang="en-US" dirty="0">
              <a:latin typeface="Arial"/>
            </a:rPr>
            <a:t>Can </a:t>
          </a:r>
          <a:r>
            <a:rPr lang="de-DE" altLang="en-US" dirty="0" err="1">
              <a:latin typeface="Arial"/>
            </a:rPr>
            <a:t>be</a:t>
          </a:r>
          <a:r>
            <a:rPr lang="de-DE" altLang="en-US" dirty="0">
              <a:latin typeface="Arial"/>
            </a:rPr>
            <a:t> </a:t>
          </a:r>
          <a:r>
            <a:rPr lang="de-DE" altLang="en-US" dirty="0" err="1">
              <a:latin typeface="Arial"/>
            </a:rPr>
            <a:t>combined</a:t>
          </a:r>
          <a:r>
            <a:rPr lang="de-DE" altLang="en-US" dirty="0">
              <a:latin typeface="Arial"/>
            </a:rPr>
            <a:t> </a:t>
          </a:r>
          <a:r>
            <a:rPr lang="de-DE" altLang="en-US" dirty="0" err="1">
              <a:latin typeface="Arial"/>
            </a:rPr>
            <a:t>with</a:t>
          </a:r>
          <a:r>
            <a:rPr lang="de-DE" altLang="en-US" dirty="0">
              <a:latin typeface="Arial"/>
            </a:rPr>
            <a:t> </a:t>
          </a:r>
          <a:r>
            <a:rPr lang="de-DE" altLang="en-US" dirty="0" err="1">
              <a:latin typeface="Arial"/>
            </a:rPr>
            <a:t>existing</a:t>
          </a:r>
          <a:r>
            <a:rPr lang="de-DE" altLang="en-US" dirty="0">
              <a:latin typeface="Arial"/>
            </a:rPr>
            <a:t> 4G and 5G </a:t>
          </a:r>
          <a:r>
            <a:rPr lang="de-DE" altLang="en-US" dirty="0" err="1">
              <a:latin typeface="Arial"/>
            </a:rPr>
            <a:t>features</a:t>
          </a:r>
          <a:r>
            <a:rPr lang="de-DE" altLang="en-US" dirty="0">
              <a:latin typeface="Arial"/>
            </a:rPr>
            <a:t> (</a:t>
          </a:r>
          <a:r>
            <a:rPr lang="de-DE" altLang="en-US" dirty="0" err="1">
              <a:latin typeface="Arial"/>
            </a:rPr>
            <a:t>unicast</a:t>
          </a:r>
          <a:r>
            <a:rPr lang="de-DE" altLang="en-US" dirty="0">
              <a:latin typeface="Arial"/>
            </a:rPr>
            <a:t>, PWS)</a:t>
          </a:r>
          <a:endParaRPr lang="en-US" altLang="en-US" dirty="0">
            <a:latin typeface="Arial"/>
          </a:endParaRPr>
        </a:p>
      </dgm:t>
    </dgm:pt>
    <dgm:pt modelId="{74B85DEB-0766-4C03-9EB1-A512EE608CBB}" type="parTrans" cxnId="{9C2DE960-F2D8-4057-9E28-E123258C0716}">
      <dgm:prSet/>
      <dgm:spPr/>
      <dgm:t>
        <a:bodyPr/>
        <a:lstStyle/>
        <a:p>
          <a:endParaRPr lang="en-US"/>
        </a:p>
      </dgm:t>
    </dgm:pt>
    <dgm:pt modelId="{F8B7E8A5-8D9B-47AC-AFDF-D2CE3B552286}" type="sibTrans" cxnId="{9C2DE960-F2D8-4057-9E28-E123258C0716}">
      <dgm:prSet/>
      <dgm:spPr/>
      <dgm:t>
        <a:bodyPr/>
        <a:lstStyle/>
        <a:p>
          <a:endParaRPr lang="en-US"/>
        </a:p>
      </dgm:t>
    </dgm:pt>
    <dgm:pt modelId="{F648A2E4-6390-427C-A819-9366A34FCBD1}">
      <dgm:prSet phldrT="[Text]"/>
      <dgm:spPr/>
      <dgm:t>
        <a:bodyPr/>
        <a:lstStyle/>
        <a:p>
          <a:pPr>
            <a:buSzPct val="80000"/>
          </a:pPr>
          <a:r>
            <a:rPr lang="en-US" altLang="en-US" dirty="0">
              <a:latin typeface="Arial"/>
            </a:rPr>
            <a:t>Performance </a:t>
          </a:r>
          <a:r>
            <a:rPr lang="en-US" altLang="en-US" dirty="0" err="1">
              <a:latin typeface="Arial"/>
            </a:rPr>
            <a:t>en</a:t>
          </a:r>
          <a:r>
            <a:rPr lang="en-US" altLang="en-US" dirty="0">
              <a:latin typeface="Arial"/>
            </a:rPr>
            <a:t> par and Co-existence with legacy broadcast</a:t>
          </a:r>
        </a:p>
      </dgm:t>
    </dgm:pt>
    <dgm:pt modelId="{1F5EA9CC-279D-4E76-8B2B-C3ECB2AF84E8}" type="parTrans" cxnId="{DD2904DA-9E26-4008-AF7D-510022F27006}">
      <dgm:prSet/>
      <dgm:spPr/>
      <dgm:t>
        <a:bodyPr/>
        <a:lstStyle/>
        <a:p>
          <a:endParaRPr lang="en-US"/>
        </a:p>
      </dgm:t>
    </dgm:pt>
    <dgm:pt modelId="{870A2BB5-F6FA-44CB-8BCC-5D88223DF935}" type="sibTrans" cxnId="{DD2904DA-9E26-4008-AF7D-510022F27006}">
      <dgm:prSet/>
      <dgm:spPr/>
      <dgm:t>
        <a:bodyPr/>
        <a:lstStyle/>
        <a:p>
          <a:endParaRPr lang="en-US"/>
        </a:p>
      </dgm:t>
    </dgm:pt>
    <dgm:pt modelId="{DDEFF4FA-A416-4410-9451-0ED57DD11543}" type="pres">
      <dgm:prSet presAssocID="{B74187D4-231D-4AB8-A9F7-C620DF87BC5D}" presName="Name0" presStyleCnt="0">
        <dgm:presLayoutVars>
          <dgm:chMax val="7"/>
          <dgm:chPref val="7"/>
          <dgm:dir/>
        </dgm:presLayoutVars>
      </dgm:prSet>
      <dgm:spPr/>
    </dgm:pt>
    <dgm:pt modelId="{A89215BD-01F7-4E92-A22E-A3D9A7D79E23}" type="pres">
      <dgm:prSet presAssocID="{B74187D4-231D-4AB8-A9F7-C620DF87BC5D}" presName="Name1" presStyleCnt="0"/>
      <dgm:spPr/>
    </dgm:pt>
    <dgm:pt modelId="{4E3D5DAF-6745-40F3-A73D-F6C5139A806B}" type="pres">
      <dgm:prSet presAssocID="{B74187D4-231D-4AB8-A9F7-C620DF87BC5D}" presName="cycle" presStyleCnt="0"/>
      <dgm:spPr/>
    </dgm:pt>
    <dgm:pt modelId="{01ED8C74-77E5-434E-95D7-E64EECCF75A1}" type="pres">
      <dgm:prSet presAssocID="{B74187D4-231D-4AB8-A9F7-C620DF87BC5D}" presName="srcNode" presStyleLbl="node1" presStyleIdx="0" presStyleCnt="7"/>
      <dgm:spPr/>
    </dgm:pt>
    <dgm:pt modelId="{61700248-8E7F-47D0-ADE0-875A5B19503E}" type="pres">
      <dgm:prSet presAssocID="{B74187D4-231D-4AB8-A9F7-C620DF87BC5D}" presName="conn" presStyleLbl="parChTrans1D2" presStyleIdx="0" presStyleCnt="1"/>
      <dgm:spPr/>
    </dgm:pt>
    <dgm:pt modelId="{9FD7B543-6B3C-4787-AC35-C85A4E8A2C7B}" type="pres">
      <dgm:prSet presAssocID="{B74187D4-231D-4AB8-A9F7-C620DF87BC5D}" presName="extraNode" presStyleLbl="node1" presStyleIdx="0" presStyleCnt="7"/>
      <dgm:spPr/>
    </dgm:pt>
    <dgm:pt modelId="{96876C39-C39B-4FD3-B0EE-CE805D1AB990}" type="pres">
      <dgm:prSet presAssocID="{B74187D4-231D-4AB8-A9F7-C620DF87BC5D}" presName="dstNode" presStyleLbl="node1" presStyleIdx="0" presStyleCnt="7"/>
      <dgm:spPr/>
    </dgm:pt>
    <dgm:pt modelId="{9DEF26BC-7B40-49A7-9B8F-734580048F50}" type="pres">
      <dgm:prSet presAssocID="{309A8B2A-FAFF-4973-8C29-4CA788746955}" presName="text_1" presStyleLbl="node1" presStyleIdx="0" presStyleCnt="7">
        <dgm:presLayoutVars>
          <dgm:bulletEnabled val="1"/>
        </dgm:presLayoutVars>
      </dgm:prSet>
      <dgm:spPr/>
    </dgm:pt>
    <dgm:pt modelId="{DB3505B5-C0C0-456A-A4F5-419254753A97}" type="pres">
      <dgm:prSet presAssocID="{309A8B2A-FAFF-4973-8C29-4CA788746955}" presName="accent_1" presStyleCnt="0"/>
      <dgm:spPr/>
    </dgm:pt>
    <dgm:pt modelId="{26836185-39F8-499A-ABAD-DE1951A4BC76}" type="pres">
      <dgm:prSet presAssocID="{309A8B2A-FAFF-4973-8C29-4CA788746955}" presName="accentRepeatNode" presStyleLbl="solidFgAcc1" presStyleIdx="0" presStyleCnt="7"/>
      <dgm:spPr/>
    </dgm:pt>
    <dgm:pt modelId="{994582BC-96D5-405D-BB2D-2F731C9598A7}" type="pres">
      <dgm:prSet presAssocID="{89FC40A9-4F8D-4EC4-9C58-E39733326065}" presName="text_2" presStyleLbl="node1" presStyleIdx="1" presStyleCnt="7">
        <dgm:presLayoutVars>
          <dgm:bulletEnabled val="1"/>
        </dgm:presLayoutVars>
      </dgm:prSet>
      <dgm:spPr/>
    </dgm:pt>
    <dgm:pt modelId="{AE6EA13F-B8F3-417F-B1D4-E49E6ED17C06}" type="pres">
      <dgm:prSet presAssocID="{89FC40A9-4F8D-4EC4-9C58-E39733326065}" presName="accent_2" presStyleCnt="0"/>
      <dgm:spPr/>
    </dgm:pt>
    <dgm:pt modelId="{E2774E36-190F-4960-BA91-50A7DC3D1E62}" type="pres">
      <dgm:prSet presAssocID="{89FC40A9-4F8D-4EC4-9C58-E39733326065}" presName="accentRepeatNode" presStyleLbl="solidFgAcc1" presStyleIdx="1" presStyleCnt="7"/>
      <dgm:spPr/>
    </dgm:pt>
    <dgm:pt modelId="{90D6B9D7-E546-47FC-892E-7D2642ABF29D}" type="pres">
      <dgm:prSet presAssocID="{245309D3-0A0E-46F6-B227-3B91D39B7C51}" presName="text_3" presStyleLbl="node1" presStyleIdx="2" presStyleCnt="7">
        <dgm:presLayoutVars>
          <dgm:bulletEnabled val="1"/>
        </dgm:presLayoutVars>
      </dgm:prSet>
      <dgm:spPr/>
    </dgm:pt>
    <dgm:pt modelId="{C92D39F0-38E3-4F5E-A798-ED0411E4883A}" type="pres">
      <dgm:prSet presAssocID="{245309D3-0A0E-46F6-B227-3B91D39B7C51}" presName="accent_3" presStyleCnt="0"/>
      <dgm:spPr/>
    </dgm:pt>
    <dgm:pt modelId="{D46A05FF-F4BC-4410-8DA0-08ECE07647AC}" type="pres">
      <dgm:prSet presAssocID="{245309D3-0A0E-46F6-B227-3B91D39B7C51}" presName="accentRepeatNode" presStyleLbl="solidFgAcc1" presStyleIdx="2" presStyleCnt="7"/>
      <dgm:spPr/>
    </dgm:pt>
    <dgm:pt modelId="{CC5A23BF-7CFC-4EEA-9EB1-EEE84A16A2C6}" type="pres">
      <dgm:prSet presAssocID="{CFB829C9-6A1A-4B31-8062-943E484D5E03}" presName="text_4" presStyleLbl="node1" presStyleIdx="3" presStyleCnt="7">
        <dgm:presLayoutVars>
          <dgm:bulletEnabled val="1"/>
        </dgm:presLayoutVars>
      </dgm:prSet>
      <dgm:spPr/>
    </dgm:pt>
    <dgm:pt modelId="{7C783663-3D08-47FE-B248-3CA63205F6C1}" type="pres">
      <dgm:prSet presAssocID="{CFB829C9-6A1A-4B31-8062-943E484D5E03}" presName="accent_4" presStyleCnt="0"/>
      <dgm:spPr/>
    </dgm:pt>
    <dgm:pt modelId="{4C098424-7B56-4E09-B3B6-F0175404274B}" type="pres">
      <dgm:prSet presAssocID="{CFB829C9-6A1A-4B31-8062-943E484D5E03}" presName="accentRepeatNode" presStyleLbl="solidFgAcc1" presStyleIdx="3" presStyleCnt="7"/>
      <dgm:spPr/>
    </dgm:pt>
    <dgm:pt modelId="{32624044-D470-4613-B973-53F6E446B61F}" type="pres">
      <dgm:prSet presAssocID="{81A55424-841E-4DB5-AD99-55539E995520}" presName="text_5" presStyleLbl="node1" presStyleIdx="4" presStyleCnt="7">
        <dgm:presLayoutVars>
          <dgm:bulletEnabled val="1"/>
        </dgm:presLayoutVars>
      </dgm:prSet>
      <dgm:spPr/>
    </dgm:pt>
    <dgm:pt modelId="{74EF5BF9-5143-4280-A026-BEC24565A53E}" type="pres">
      <dgm:prSet presAssocID="{81A55424-841E-4DB5-AD99-55539E995520}" presName="accent_5" presStyleCnt="0"/>
      <dgm:spPr/>
    </dgm:pt>
    <dgm:pt modelId="{7836CEB8-3E80-469A-9E94-D0062B7AAE95}" type="pres">
      <dgm:prSet presAssocID="{81A55424-841E-4DB5-AD99-55539E995520}" presName="accentRepeatNode" presStyleLbl="solidFgAcc1" presStyleIdx="4" presStyleCnt="7"/>
      <dgm:spPr/>
    </dgm:pt>
    <dgm:pt modelId="{9AE2A55B-57F8-41A3-8F51-CC654B32A66B}" type="pres">
      <dgm:prSet presAssocID="{F648A2E4-6390-427C-A819-9366A34FCBD1}" presName="text_6" presStyleLbl="node1" presStyleIdx="5" presStyleCnt="7">
        <dgm:presLayoutVars>
          <dgm:bulletEnabled val="1"/>
        </dgm:presLayoutVars>
      </dgm:prSet>
      <dgm:spPr/>
    </dgm:pt>
    <dgm:pt modelId="{82C81CE8-7FB4-456F-BC1B-A91963E85F91}" type="pres">
      <dgm:prSet presAssocID="{F648A2E4-6390-427C-A819-9366A34FCBD1}" presName="accent_6" presStyleCnt="0"/>
      <dgm:spPr/>
    </dgm:pt>
    <dgm:pt modelId="{6342F069-6D0A-49A8-8FA3-3163E3A804B7}" type="pres">
      <dgm:prSet presAssocID="{F648A2E4-6390-427C-A819-9366A34FCBD1}" presName="accentRepeatNode" presStyleLbl="solidFgAcc1" presStyleIdx="5" presStyleCnt="7"/>
      <dgm:spPr/>
    </dgm:pt>
    <dgm:pt modelId="{69EFEE20-1E70-44FF-8BAD-FE35AF25D050}" type="pres">
      <dgm:prSet presAssocID="{B0B60FF3-F68A-4C62-8403-60B81EA22335}" presName="text_7" presStyleLbl="node1" presStyleIdx="6" presStyleCnt="7">
        <dgm:presLayoutVars>
          <dgm:bulletEnabled val="1"/>
        </dgm:presLayoutVars>
      </dgm:prSet>
      <dgm:spPr/>
    </dgm:pt>
    <dgm:pt modelId="{BDE4CE74-AF21-435D-9EF3-D10AE015826F}" type="pres">
      <dgm:prSet presAssocID="{B0B60FF3-F68A-4C62-8403-60B81EA22335}" presName="accent_7" presStyleCnt="0"/>
      <dgm:spPr/>
    </dgm:pt>
    <dgm:pt modelId="{145488B2-B5C2-4150-96B3-13CBD449EC31}" type="pres">
      <dgm:prSet presAssocID="{B0B60FF3-F68A-4C62-8403-60B81EA22335}" presName="accentRepeatNode" presStyleLbl="solidFgAcc1" presStyleIdx="6" presStyleCnt="7"/>
      <dgm:spPr/>
    </dgm:pt>
  </dgm:ptLst>
  <dgm:cxnLst>
    <dgm:cxn modelId="{7C110F15-45C3-42DB-A739-14B526FEEC1A}" srcId="{B74187D4-231D-4AB8-A9F7-C620DF87BC5D}" destId="{245309D3-0A0E-46F6-B227-3B91D39B7C51}" srcOrd="2" destOrd="0" parTransId="{59DD11BC-99D9-4430-A239-3F80F5F0A0EE}" sibTransId="{36BB9272-A217-41DC-ACB9-212281497E26}"/>
    <dgm:cxn modelId="{B71EE41A-7941-42F4-8D8A-B72B34F845B4}" type="presOf" srcId="{B74187D4-231D-4AB8-A9F7-C620DF87BC5D}" destId="{DDEFF4FA-A416-4410-9451-0ED57DD11543}" srcOrd="0" destOrd="0" presId="urn:microsoft.com/office/officeart/2008/layout/VerticalCurvedList"/>
    <dgm:cxn modelId="{ED913F38-E59B-444B-ADE9-C4386DC1964F}" srcId="{B74187D4-231D-4AB8-A9F7-C620DF87BC5D}" destId="{CFB829C9-6A1A-4B31-8062-943E484D5E03}" srcOrd="3" destOrd="0" parTransId="{B9C03EBB-9BF8-4EAB-B520-221FC8A9C4BC}" sibTransId="{695A17DA-0705-4089-8FCA-9B5B01020AB6}"/>
    <dgm:cxn modelId="{9C2DE960-F2D8-4057-9E28-E123258C0716}" srcId="{B74187D4-231D-4AB8-A9F7-C620DF87BC5D}" destId="{B0B60FF3-F68A-4C62-8403-60B81EA22335}" srcOrd="6" destOrd="0" parTransId="{74B85DEB-0766-4C03-9EB1-A512EE608CBB}" sibTransId="{F8B7E8A5-8D9B-47AC-AFDF-D2CE3B552286}"/>
    <dgm:cxn modelId="{A7902B4F-0BBB-4A93-8BA7-3AA1734453C7}" type="presOf" srcId="{81A55424-841E-4DB5-AD99-55539E995520}" destId="{32624044-D470-4613-B973-53F6E446B61F}" srcOrd="0" destOrd="0" presId="urn:microsoft.com/office/officeart/2008/layout/VerticalCurvedList"/>
    <dgm:cxn modelId="{A1B60156-9E80-4918-A148-9CFA63C60892}" type="presOf" srcId="{ECB580FF-7F3B-4116-B14B-BB7A5F9FBC46}" destId="{61700248-8E7F-47D0-ADE0-875A5B19503E}" srcOrd="0" destOrd="0" presId="urn:microsoft.com/office/officeart/2008/layout/VerticalCurvedList"/>
    <dgm:cxn modelId="{22246F82-E690-4E93-9E02-0CAF29978097}" srcId="{B74187D4-231D-4AB8-A9F7-C620DF87BC5D}" destId="{81A55424-841E-4DB5-AD99-55539E995520}" srcOrd="4" destOrd="0" parTransId="{8A57DEF7-4380-433F-B9F9-90C75A931E4D}" sibTransId="{E03DBEC5-450E-4219-BB8B-CB627D485C42}"/>
    <dgm:cxn modelId="{0BC8A39A-38C0-48C8-AB33-65311104CAFF}" srcId="{B74187D4-231D-4AB8-A9F7-C620DF87BC5D}" destId="{89FC40A9-4F8D-4EC4-9C58-E39733326065}" srcOrd="1" destOrd="0" parTransId="{CBED7DE1-FC70-475C-A0F0-2258D5C7F369}" sibTransId="{9679B232-9AA5-4E32-93BC-0100194F3B79}"/>
    <dgm:cxn modelId="{905B1CA5-E46C-4BAF-8CE4-8EB66CA9426F}" type="presOf" srcId="{309A8B2A-FAFF-4973-8C29-4CA788746955}" destId="{9DEF26BC-7B40-49A7-9B8F-734580048F50}" srcOrd="0" destOrd="0" presId="urn:microsoft.com/office/officeart/2008/layout/VerticalCurvedList"/>
    <dgm:cxn modelId="{6A19E0B4-111F-4838-97DD-DCBDF5021C23}" type="presOf" srcId="{F648A2E4-6390-427C-A819-9366A34FCBD1}" destId="{9AE2A55B-57F8-41A3-8F51-CC654B32A66B}" srcOrd="0" destOrd="0" presId="urn:microsoft.com/office/officeart/2008/layout/VerticalCurvedList"/>
    <dgm:cxn modelId="{F28596BD-FE14-4F74-9B02-C0E0E8F3FF11}" type="presOf" srcId="{CFB829C9-6A1A-4B31-8062-943E484D5E03}" destId="{CC5A23BF-7CFC-4EEA-9EB1-EEE84A16A2C6}" srcOrd="0" destOrd="0" presId="urn:microsoft.com/office/officeart/2008/layout/VerticalCurvedList"/>
    <dgm:cxn modelId="{840B54C6-D46E-4DF5-A82A-F0A007D1CB0C}" type="presOf" srcId="{245309D3-0A0E-46F6-B227-3B91D39B7C51}" destId="{90D6B9D7-E546-47FC-892E-7D2642ABF29D}" srcOrd="0" destOrd="0" presId="urn:microsoft.com/office/officeart/2008/layout/VerticalCurvedList"/>
    <dgm:cxn modelId="{6095FAC8-896E-4628-8761-5542A2B0CFAF}" type="presOf" srcId="{89FC40A9-4F8D-4EC4-9C58-E39733326065}" destId="{994582BC-96D5-405D-BB2D-2F731C9598A7}" srcOrd="0" destOrd="0" presId="urn:microsoft.com/office/officeart/2008/layout/VerticalCurvedList"/>
    <dgm:cxn modelId="{DD2904DA-9E26-4008-AF7D-510022F27006}" srcId="{B74187D4-231D-4AB8-A9F7-C620DF87BC5D}" destId="{F648A2E4-6390-427C-A819-9366A34FCBD1}" srcOrd="5" destOrd="0" parTransId="{1F5EA9CC-279D-4E76-8B2B-C3ECB2AF84E8}" sibTransId="{870A2BB5-F6FA-44CB-8BCC-5D88223DF935}"/>
    <dgm:cxn modelId="{62D19BE0-B91C-4264-B2CB-107DEE59679E}" type="presOf" srcId="{B0B60FF3-F68A-4C62-8403-60B81EA22335}" destId="{69EFEE20-1E70-44FF-8BAD-FE35AF25D050}" srcOrd="0" destOrd="0" presId="urn:microsoft.com/office/officeart/2008/layout/VerticalCurvedList"/>
    <dgm:cxn modelId="{C9D192F1-B9ED-4D1E-AD84-A0F41A0709C2}" srcId="{B74187D4-231D-4AB8-A9F7-C620DF87BC5D}" destId="{309A8B2A-FAFF-4973-8C29-4CA788746955}" srcOrd="0" destOrd="0" parTransId="{AAA4B967-9ED2-4348-8F39-2CD98D3BD57F}" sibTransId="{ECB580FF-7F3B-4116-B14B-BB7A5F9FBC46}"/>
    <dgm:cxn modelId="{0BDB9F7A-2163-4AAF-8C01-2706DE60BF50}" type="presParOf" srcId="{DDEFF4FA-A416-4410-9451-0ED57DD11543}" destId="{A89215BD-01F7-4E92-A22E-A3D9A7D79E23}" srcOrd="0" destOrd="0" presId="urn:microsoft.com/office/officeart/2008/layout/VerticalCurvedList"/>
    <dgm:cxn modelId="{168EB6FA-1B1B-466C-96D0-ECDB170EA6A0}" type="presParOf" srcId="{A89215BD-01F7-4E92-A22E-A3D9A7D79E23}" destId="{4E3D5DAF-6745-40F3-A73D-F6C5139A806B}" srcOrd="0" destOrd="0" presId="urn:microsoft.com/office/officeart/2008/layout/VerticalCurvedList"/>
    <dgm:cxn modelId="{296359E2-2D38-4555-808B-86646E67964F}" type="presParOf" srcId="{4E3D5DAF-6745-40F3-A73D-F6C5139A806B}" destId="{01ED8C74-77E5-434E-95D7-E64EECCF75A1}" srcOrd="0" destOrd="0" presId="urn:microsoft.com/office/officeart/2008/layout/VerticalCurvedList"/>
    <dgm:cxn modelId="{116F8CA1-F6F3-444C-B33D-0FE46C1DACF6}" type="presParOf" srcId="{4E3D5DAF-6745-40F3-A73D-F6C5139A806B}" destId="{61700248-8E7F-47D0-ADE0-875A5B19503E}" srcOrd="1" destOrd="0" presId="urn:microsoft.com/office/officeart/2008/layout/VerticalCurvedList"/>
    <dgm:cxn modelId="{D02BC1BF-6FEB-4F2A-A913-E426A7613769}" type="presParOf" srcId="{4E3D5DAF-6745-40F3-A73D-F6C5139A806B}" destId="{9FD7B543-6B3C-4787-AC35-C85A4E8A2C7B}" srcOrd="2" destOrd="0" presId="urn:microsoft.com/office/officeart/2008/layout/VerticalCurvedList"/>
    <dgm:cxn modelId="{79344270-4F34-4284-ADD0-C2E1D4AFC9DD}" type="presParOf" srcId="{4E3D5DAF-6745-40F3-A73D-F6C5139A806B}" destId="{96876C39-C39B-4FD3-B0EE-CE805D1AB990}" srcOrd="3" destOrd="0" presId="urn:microsoft.com/office/officeart/2008/layout/VerticalCurvedList"/>
    <dgm:cxn modelId="{B84D6EF3-653C-42BB-9436-2205DEC7F8B7}" type="presParOf" srcId="{A89215BD-01F7-4E92-A22E-A3D9A7D79E23}" destId="{9DEF26BC-7B40-49A7-9B8F-734580048F50}" srcOrd="1" destOrd="0" presId="urn:microsoft.com/office/officeart/2008/layout/VerticalCurvedList"/>
    <dgm:cxn modelId="{1A7FAAD0-5FCF-41A2-BD02-D3AEF9120172}" type="presParOf" srcId="{A89215BD-01F7-4E92-A22E-A3D9A7D79E23}" destId="{DB3505B5-C0C0-456A-A4F5-419254753A97}" srcOrd="2" destOrd="0" presId="urn:microsoft.com/office/officeart/2008/layout/VerticalCurvedList"/>
    <dgm:cxn modelId="{56F23C23-9CCD-41C4-A76D-AF7D4B4619FF}" type="presParOf" srcId="{DB3505B5-C0C0-456A-A4F5-419254753A97}" destId="{26836185-39F8-499A-ABAD-DE1951A4BC76}" srcOrd="0" destOrd="0" presId="urn:microsoft.com/office/officeart/2008/layout/VerticalCurvedList"/>
    <dgm:cxn modelId="{C2219F16-252E-46DF-BACE-2794EB3E5D94}" type="presParOf" srcId="{A89215BD-01F7-4E92-A22E-A3D9A7D79E23}" destId="{994582BC-96D5-405D-BB2D-2F731C9598A7}" srcOrd="3" destOrd="0" presId="urn:microsoft.com/office/officeart/2008/layout/VerticalCurvedList"/>
    <dgm:cxn modelId="{8A6D6145-4A3A-48F5-954D-8B52D7114643}" type="presParOf" srcId="{A89215BD-01F7-4E92-A22E-A3D9A7D79E23}" destId="{AE6EA13F-B8F3-417F-B1D4-E49E6ED17C06}" srcOrd="4" destOrd="0" presId="urn:microsoft.com/office/officeart/2008/layout/VerticalCurvedList"/>
    <dgm:cxn modelId="{0F0606E3-DDB6-4316-9CEF-9B3AD8317683}" type="presParOf" srcId="{AE6EA13F-B8F3-417F-B1D4-E49E6ED17C06}" destId="{E2774E36-190F-4960-BA91-50A7DC3D1E62}" srcOrd="0" destOrd="0" presId="urn:microsoft.com/office/officeart/2008/layout/VerticalCurvedList"/>
    <dgm:cxn modelId="{A71E9D01-533F-4EAC-873C-7408FD325117}" type="presParOf" srcId="{A89215BD-01F7-4E92-A22E-A3D9A7D79E23}" destId="{90D6B9D7-E546-47FC-892E-7D2642ABF29D}" srcOrd="5" destOrd="0" presId="urn:microsoft.com/office/officeart/2008/layout/VerticalCurvedList"/>
    <dgm:cxn modelId="{8F34CBEC-00EF-4852-BC32-21E058220E20}" type="presParOf" srcId="{A89215BD-01F7-4E92-A22E-A3D9A7D79E23}" destId="{C92D39F0-38E3-4F5E-A798-ED0411E4883A}" srcOrd="6" destOrd="0" presId="urn:microsoft.com/office/officeart/2008/layout/VerticalCurvedList"/>
    <dgm:cxn modelId="{515D9BC3-8AF7-41C0-BBD3-1BD77E265CCE}" type="presParOf" srcId="{C92D39F0-38E3-4F5E-A798-ED0411E4883A}" destId="{D46A05FF-F4BC-4410-8DA0-08ECE07647AC}" srcOrd="0" destOrd="0" presId="urn:microsoft.com/office/officeart/2008/layout/VerticalCurvedList"/>
    <dgm:cxn modelId="{177C7FAD-6901-4BA3-B3EF-3A4146CC8135}" type="presParOf" srcId="{A89215BD-01F7-4E92-A22E-A3D9A7D79E23}" destId="{CC5A23BF-7CFC-4EEA-9EB1-EEE84A16A2C6}" srcOrd="7" destOrd="0" presId="urn:microsoft.com/office/officeart/2008/layout/VerticalCurvedList"/>
    <dgm:cxn modelId="{7BDAFD2C-86EB-460B-9CE6-F0BF3C285C57}" type="presParOf" srcId="{A89215BD-01F7-4E92-A22E-A3D9A7D79E23}" destId="{7C783663-3D08-47FE-B248-3CA63205F6C1}" srcOrd="8" destOrd="0" presId="urn:microsoft.com/office/officeart/2008/layout/VerticalCurvedList"/>
    <dgm:cxn modelId="{FC6F080E-35F6-4135-A2DB-291F24A3BA20}" type="presParOf" srcId="{7C783663-3D08-47FE-B248-3CA63205F6C1}" destId="{4C098424-7B56-4E09-B3B6-F0175404274B}" srcOrd="0" destOrd="0" presId="urn:microsoft.com/office/officeart/2008/layout/VerticalCurvedList"/>
    <dgm:cxn modelId="{B58D7BD7-AE38-4EE5-9CF8-011BAF38F862}" type="presParOf" srcId="{A89215BD-01F7-4E92-A22E-A3D9A7D79E23}" destId="{32624044-D470-4613-B973-53F6E446B61F}" srcOrd="9" destOrd="0" presId="urn:microsoft.com/office/officeart/2008/layout/VerticalCurvedList"/>
    <dgm:cxn modelId="{6E85A283-4B8C-4C5F-AF9E-10E3C12062C9}" type="presParOf" srcId="{A89215BD-01F7-4E92-A22E-A3D9A7D79E23}" destId="{74EF5BF9-5143-4280-A026-BEC24565A53E}" srcOrd="10" destOrd="0" presId="urn:microsoft.com/office/officeart/2008/layout/VerticalCurvedList"/>
    <dgm:cxn modelId="{4465951F-4F80-4645-8806-052D94A76B08}" type="presParOf" srcId="{74EF5BF9-5143-4280-A026-BEC24565A53E}" destId="{7836CEB8-3E80-469A-9E94-D0062B7AAE95}" srcOrd="0" destOrd="0" presId="urn:microsoft.com/office/officeart/2008/layout/VerticalCurvedList"/>
    <dgm:cxn modelId="{099D9C34-24F3-4224-8292-7217B0F0DC39}" type="presParOf" srcId="{A89215BD-01F7-4E92-A22E-A3D9A7D79E23}" destId="{9AE2A55B-57F8-41A3-8F51-CC654B32A66B}" srcOrd="11" destOrd="0" presId="urn:microsoft.com/office/officeart/2008/layout/VerticalCurvedList"/>
    <dgm:cxn modelId="{BD70F25B-C000-4435-8EDF-BD8306E3B74C}" type="presParOf" srcId="{A89215BD-01F7-4E92-A22E-A3D9A7D79E23}" destId="{82C81CE8-7FB4-456F-BC1B-A91963E85F91}" srcOrd="12" destOrd="0" presId="urn:microsoft.com/office/officeart/2008/layout/VerticalCurvedList"/>
    <dgm:cxn modelId="{133134E8-2CE7-4A48-9970-786B6C981224}" type="presParOf" srcId="{82C81CE8-7FB4-456F-BC1B-A91963E85F91}" destId="{6342F069-6D0A-49A8-8FA3-3163E3A804B7}" srcOrd="0" destOrd="0" presId="urn:microsoft.com/office/officeart/2008/layout/VerticalCurvedList"/>
    <dgm:cxn modelId="{27717962-1D58-43BB-9047-7EBAA42CBBE7}" type="presParOf" srcId="{A89215BD-01F7-4E92-A22E-A3D9A7D79E23}" destId="{69EFEE20-1E70-44FF-8BAD-FE35AF25D050}" srcOrd="13" destOrd="0" presId="urn:microsoft.com/office/officeart/2008/layout/VerticalCurvedList"/>
    <dgm:cxn modelId="{FAB9060B-AB3F-4FAF-B7F7-A59AA11AE04A}" type="presParOf" srcId="{A89215BD-01F7-4E92-A22E-A3D9A7D79E23}" destId="{BDE4CE74-AF21-435D-9EF3-D10AE015826F}" srcOrd="14" destOrd="0" presId="urn:microsoft.com/office/officeart/2008/layout/VerticalCurvedList"/>
    <dgm:cxn modelId="{E97C5DD9-7DA0-455E-B336-830780182B90}" type="presParOf" srcId="{BDE4CE74-AF21-435D-9EF3-D10AE015826F}" destId="{145488B2-B5C2-4150-96B3-13CBD449EC31}"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A5BD33-0D70-4A15-8FA5-7CF18AF11C69}"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2D96EB79-872C-4F6F-94FF-0BDF74344384}">
      <dgm:prSet phldrT="[Text]"/>
      <dgm:spPr/>
      <dgm:t>
        <a:bodyPr/>
        <a:lstStyle/>
        <a:p>
          <a:pPr>
            <a:buClrTx/>
            <a:buSzTx/>
            <a:buFontTx/>
            <a:buNone/>
          </a:pPr>
          <a:r>
            <a:rPr kumimoji="0" lang="en-US" b="0" i="0" u="none" strike="noStrike" cap="none" spc="0" normalizeH="0" baseline="0" noProof="0">
              <a:ln>
                <a:noFill/>
              </a:ln>
              <a:solidFill>
                <a:srgbClr val="0083A2"/>
              </a:solidFill>
              <a:effectLst/>
              <a:uLnTx/>
              <a:uFillTx/>
              <a:latin typeface="Arial"/>
            </a:rPr>
            <a:t>Rel-14</a:t>
          </a:r>
        </a:p>
        <a:p>
          <a:pPr>
            <a:buClrTx/>
            <a:buSzTx/>
            <a:buFontTx/>
            <a:buNone/>
          </a:pPr>
          <a:r>
            <a:rPr kumimoji="0" lang="en-US" b="0" i="0" u="none" strike="noStrike" cap="none" spc="0" normalizeH="0" baseline="0" noProof="0">
              <a:ln>
                <a:noFill/>
              </a:ln>
              <a:solidFill>
                <a:srgbClr val="0083A2"/>
              </a:solidFill>
              <a:effectLst/>
              <a:uLnTx/>
              <a:uFillTx/>
              <a:latin typeface="Arial"/>
            </a:rPr>
            <a:t>SCS1.25KHz/ CP=200µs  Mobility up to 120 km/h</a:t>
          </a:r>
          <a:endParaRPr lang="en-US"/>
        </a:p>
      </dgm:t>
    </dgm:pt>
    <dgm:pt modelId="{906F69A1-9BBE-4991-A99A-AD3AFC238CE9}" type="parTrans" cxnId="{E027A6B0-C8D1-49E7-8ADB-BD49B12F640D}">
      <dgm:prSet/>
      <dgm:spPr/>
      <dgm:t>
        <a:bodyPr/>
        <a:lstStyle/>
        <a:p>
          <a:endParaRPr lang="en-US"/>
        </a:p>
      </dgm:t>
    </dgm:pt>
    <dgm:pt modelId="{C817A8E2-FC56-4A43-8778-77019B229307}" type="sibTrans" cxnId="{E027A6B0-C8D1-49E7-8ADB-BD49B12F640D}">
      <dgm:prSet/>
      <dgm:spPr/>
      <dgm:t>
        <a:bodyPr/>
        <a:lstStyle/>
        <a:p>
          <a:endParaRPr lang="en-US"/>
        </a:p>
      </dgm:t>
    </dgm:pt>
    <dgm:pt modelId="{12333A0C-669D-41CB-A52A-6085329C4A48}">
      <dgm:prSet phldrT="[Text]"/>
      <dgm:spPr/>
      <dgm:t>
        <a:bodyPr/>
        <a:lstStyle/>
        <a:p>
          <a:pPr>
            <a:buClrTx/>
            <a:buSzTx/>
            <a:buFontTx/>
            <a:buNone/>
          </a:pPr>
          <a:r>
            <a:rPr kumimoji="0" lang="de-DE" b="0" i="0" u="none" strike="noStrike" cap="none" spc="0" normalizeH="0" baseline="0" noProof="0">
              <a:ln>
                <a:noFill/>
              </a:ln>
              <a:solidFill>
                <a:srgbClr val="0083A2"/>
              </a:solidFill>
              <a:effectLst/>
              <a:uLnTx/>
              <a:uFillTx/>
              <a:latin typeface="Arial"/>
            </a:rPr>
            <a:t>5G BC  worldwide standard </a:t>
          </a:r>
        </a:p>
        <a:p>
          <a:pPr>
            <a:buClrTx/>
            <a:buSzTx/>
            <a:buFontTx/>
            <a:buNone/>
          </a:pPr>
          <a:r>
            <a:rPr kumimoji="0" lang="de-DE" b="0" i="0" u="none" strike="noStrike" cap="none" spc="0" normalizeH="0" baseline="0" noProof="0">
              <a:ln>
                <a:noFill/>
              </a:ln>
              <a:solidFill>
                <a:srgbClr val="0083A2"/>
              </a:solidFill>
              <a:effectLst/>
              <a:uLnTx/>
              <a:uFillTx/>
              <a:latin typeface="Arial"/>
            </a:rPr>
            <a:t>TG6/1 and WP6A</a:t>
          </a:r>
          <a:endParaRPr lang="en-US"/>
        </a:p>
      </dgm:t>
    </dgm:pt>
    <dgm:pt modelId="{18134235-43D5-49B0-8980-F571044E5788}" type="parTrans" cxnId="{FA50BEB2-D08C-4C3D-B661-DA5D6EC474AF}">
      <dgm:prSet/>
      <dgm:spPr/>
      <dgm:t>
        <a:bodyPr/>
        <a:lstStyle/>
        <a:p>
          <a:endParaRPr lang="en-US"/>
        </a:p>
      </dgm:t>
    </dgm:pt>
    <dgm:pt modelId="{7F65693E-BAA3-4E60-A0EA-9C4F00B67561}" type="sibTrans" cxnId="{FA50BEB2-D08C-4C3D-B661-DA5D6EC474AF}">
      <dgm:prSet/>
      <dgm:spPr/>
      <dgm:t>
        <a:bodyPr/>
        <a:lstStyle/>
        <a:p>
          <a:endParaRPr lang="en-US"/>
        </a:p>
      </dgm:t>
    </dgm:pt>
    <dgm:pt modelId="{770D4FD5-1DE3-4391-896F-675F59C000AA}">
      <dgm:prSet phldrT="[Text]"/>
      <dgm:spPr/>
      <dgm:t>
        <a:bodyPr/>
        <a:lstStyle/>
        <a:p>
          <a:pPr>
            <a:buClrTx/>
            <a:buSzTx/>
            <a:buFontTx/>
            <a:buNone/>
          </a:pPr>
          <a:r>
            <a:rPr kumimoji="0" lang="en-US" b="0" i="0" u="none" strike="noStrike" cap="none" spc="0" normalizeH="0" baseline="0" noProof="0">
              <a:ln>
                <a:noFill/>
              </a:ln>
              <a:solidFill>
                <a:srgbClr val="0083A2"/>
              </a:solidFill>
              <a:effectLst/>
              <a:uLnTx/>
              <a:uFillTx/>
              <a:latin typeface="Arial"/>
            </a:rPr>
            <a:t>Rel-16</a:t>
          </a:r>
        </a:p>
        <a:p>
          <a:pPr>
            <a:buClrTx/>
            <a:buSzTx/>
            <a:buFontTx/>
            <a:buNone/>
          </a:pPr>
          <a:r>
            <a:rPr kumimoji="0" lang="en-US" b="0" i="0" u="none" strike="noStrike" cap="none" spc="0" normalizeH="0" baseline="0" noProof="0">
              <a:ln>
                <a:noFill/>
              </a:ln>
              <a:solidFill>
                <a:srgbClr val="0083A2"/>
              </a:solidFill>
              <a:effectLst/>
              <a:uLnTx/>
              <a:uFillTx/>
              <a:latin typeface="Arial"/>
              <a:sym typeface="Wingdings" panose="05000000000000000000" pitchFamily="2" charset="2"/>
            </a:rPr>
            <a:t>Rooftop</a:t>
          </a:r>
          <a:r>
            <a:rPr kumimoji="0" lang="en-US" b="0" i="0" u="none" strike="noStrike" cap="none" spc="0" normalizeH="0" baseline="0" noProof="0">
              <a:ln>
                <a:noFill/>
              </a:ln>
              <a:solidFill>
                <a:srgbClr val="0083A2"/>
              </a:solidFill>
              <a:effectLst/>
              <a:uLnTx/>
              <a:uFillTx/>
              <a:latin typeface="Arial"/>
            </a:rPr>
            <a:t>  Mobility up to 250 km/h</a:t>
          </a:r>
          <a:endParaRPr lang="en-US"/>
        </a:p>
      </dgm:t>
    </dgm:pt>
    <dgm:pt modelId="{13204540-2619-4563-831C-D7EA7A35BF4E}" type="parTrans" cxnId="{64EC19C5-7E6D-4BE1-B987-EC2211909147}">
      <dgm:prSet/>
      <dgm:spPr/>
      <dgm:t>
        <a:bodyPr/>
        <a:lstStyle/>
        <a:p>
          <a:endParaRPr lang="en-US"/>
        </a:p>
      </dgm:t>
    </dgm:pt>
    <dgm:pt modelId="{790DECA3-6B1C-4302-BB37-8C8FEFC71957}" type="sibTrans" cxnId="{64EC19C5-7E6D-4BE1-B987-EC2211909147}">
      <dgm:prSet/>
      <dgm:spPr/>
      <dgm:t>
        <a:bodyPr/>
        <a:lstStyle/>
        <a:p>
          <a:endParaRPr lang="en-US"/>
        </a:p>
      </dgm:t>
    </dgm:pt>
    <dgm:pt modelId="{6602B524-125B-4B94-88BA-6D015ABA5725}">
      <dgm:prSet phldrT="[Text]"/>
      <dgm:spPr/>
      <dgm:t>
        <a:bodyPr/>
        <a:lstStyle/>
        <a:p>
          <a:pPr>
            <a:buClrTx/>
            <a:buSzTx/>
            <a:buFontTx/>
            <a:buNone/>
          </a:pPr>
          <a:r>
            <a:rPr kumimoji="0" lang="de-DE" b="0" i="0" u="none" strike="noStrike" cap="none" spc="0" normalizeH="0" baseline="0" noProof="0">
              <a:ln>
                <a:noFill/>
              </a:ln>
              <a:solidFill>
                <a:srgbClr val="0083A2"/>
              </a:solidFill>
              <a:effectLst/>
              <a:uLnTx/>
              <a:uFillTx/>
              <a:latin typeface="Arial"/>
            </a:rPr>
            <a:t>5G BC is an EU standard (ETSI </a:t>
          </a:r>
          <a:r>
            <a:rPr kumimoji="0" lang="en-US" b="0" i="0" u="none" strike="noStrike" cap="none" spc="0" normalizeH="0" baseline="0" noProof="0">
              <a:ln>
                <a:noFill/>
              </a:ln>
              <a:solidFill>
                <a:srgbClr val="0083A2"/>
              </a:solidFill>
              <a:effectLst/>
              <a:uLnTx/>
              <a:uFillTx/>
              <a:latin typeface="Arial"/>
              <a:hlinkClick xmlns:r="http://schemas.openxmlformats.org/officeDocument/2006/relationships" r:id="rId1">
                <a:extLst>
                  <a:ext uri="{A12FA001-AC4F-418D-AE19-62706E023703}">
                    <ahyp:hlinkClr xmlns:ahyp="http://schemas.microsoft.com/office/drawing/2018/hyperlinkcolor" val="tx"/>
                  </a:ext>
                </a:extLst>
              </a:hlinkClick>
            </a:rPr>
            <a:t>TS 103 720</a:t>
          </a:r>
          <a:r>
            <a:rPr kumimoji="0" lang="en-US" b="0" i="0" u="none" strike="noStrike" cap="none" spc="0" normalizeH="0" baseline="0" noProof="0">
              <a:ln>
                <a:noFill/>
              </a:ln>
              <a:solidFill>
                <a:srgbClr val="0083A2"/>
              </a:solidFill>
              <a:effectLst/>
              <a:uLnTx/>
              <a:uFillTx/>
              <a:latin typeface="Arial"/>
            </a:rPr>
            <a:t>)</a:t>
          </a:r>
          <a:endParaRPr lang="en-US"/>
        </a:p>
      </dgm:t>
    </dgm:pt>
    <dgm:pt modelId="{FA2DFF9F-4841-4E63-B343-D6A1A6211BB8}" type="parTrans" cxnId="{A7F3E696-4D30-43C2-8067-2C700C21F6D9}">
      <dgm:prSet/>
      <dgm:spPr/>
      <dgm:t>
        <a:bodyPr/>
        <a:lstStyle/>
        <a:p>
          <a:endParaRPr lang="en-US"/>
        </a:p>
      </dgm:t>
    </dgm:pt>
    <dgm:pt modelId="{56018235-535A-429E-8520-4140EEC5C80D}" type="sibTrans" cxnId="{A7F3E696-4D30-43C2-8067-2C700C21F6D9}">
      <dgm:prSet/>
      <dgm:spPr/>
      <dgm:t>
        <a:bodyPr/>
        <a:lstStyle/>
        <a:p>
          <a:endParaRPr lang="en-US"/>
        </a:p>
      </dgm:t>
    </dgm:pt>
    <dgm:pt modelId="{4D6A7648-7E18-48FF-9A59-77421F150C72}">
      <dgm:prSet phldrT="[Text]"/>
      <dgm:spPr/>
      <dgm:t>
        <a:bodyPr/>
        <a:lstStyle/>
        <a:p>
          <a:pPr>
            <a:buClrTx/>
            <a:buSzTx/>
            <a:buFontTx/>
            <a:buNone/>
          </a:pPr>
          <a:r>
            <a:rPr kumimoji="0" lang="de-DE" b="0" i="0" u="none" strike="noStrike" cap="none" spc="0" normalizeH="0" baseline="0" noProof="0">
              <a:ln>
                <a:noFill/>
              </a:ln>
              <a:solidFill>
                <a:srgbClr val="0083A2"/>
              </a:solidFill>
              <a:effectLst/>
              <a:uLnTx/>
              <a:uFillTx/>
              <a:latin typeface="Arial"/>
            </a:rPr>
            <a:t>Rel-17</a:t>
          </a:r>
          <a:br>
            <a:rPr kumimoji="0" lang="de-DE" b="0" i="0" u="none" strike="noStrike" cap="none" spc="0" normalizeH="0" baseline="0" noProof="0">
              <a:ln>
                <a:noFill/>
              </a:ln>
              <a:solidFill>
                <a:srgbClr val="0083A2"/>
              </a:solidFill>
              <a:effectLst/>
              <a:uLnTx/>
              <a:uFillTx/>
              <a:latin typeface="Arial"/>
            </a:rPr>
          </a:br>
          <a:r>
            <a:rPr kumimoji="0" lang="de-DE" b="0" i="0" u="none" strike="noStrike" cap="none" spc="0" normalizeH="0" baseline="0" noProof="0">
              <a:ln>
                <a:noFill/>
              </a:ln>
              <a:solidFill>
                <a:srgbClr val="0083A2"/>
              </a:solidFill>
              <a:effectLst/>
              <a:uLnTx/>
              <a:uFillTx/>
              <a:latin typeface="Arial"/>
            </a:rPr>
            <a:t>Enhanced BW= 6/7/8 MHz for UHF</a:t>
          </a:r>
          <a:endParaRPr lang="en-US"/>
        </a:p>
      </dgm:t>
    </dgm:pt>
    <dgm:pt modelId="{07BB1A74-F98F-4094-9793-90DF56D4AD45}" type="parTrans" cxnId="{30B93C41-C734-467D-BED0-C0ADE98DAC97}">
      <dgm:prSet/>
      <dgm:spPr/>
      <dgm:t>
        <a:bodyPr/>
        <a:lstStyle/>
        <a:p>
          <a:endParaRPr lang="en-US"/>
        </a:p>
      </dgm:t>
    </dgm:pt>
    <dgm:pt modelId="{1ACAB758-449B-442D-BD0D-837DB8F08818}" type="sibTrans" cxnId="{30B93C41-C734-467D-BED0-C0ADE98DAC97}">
      <dgm:prSet/>
      <dgm:spPr/>
      <dgm:t>
        <a:bodyPr/>
        <a:lstStyle/>
        <a:p>
          <a:endParaRPr lang="en-US"/>
        </a:p>
      </dgm:t>
    </dgm:pt>
    <dgm:pt modelId="{57FE0073-0D87-49CC-9C18-F851E9A3B098}">
      <dgm:prSet phldrT="[Text]"/>
      <dgm:spPr/>
      <dgm:t>
        <a:bodyPr/>
        <a:lstStyle/>
        <a:p>
          <a:pPr>
            <a:buClrTx/>
            <a:buSzTx/>
            <a:buFontTx/>
            <a:buNone/>
          </a:pPr>
          <a:r>
            <a:rPr kumimoji="0" lang="en-US" b="0" i="0" u="none" strike="noStrike" cap="none" spc="0" normalizeH="0" baseline="0" noProof="0">
              <a:ln>
                <a:noFill/>
              </a:ln>
              <a:solidFill>
                <a:srgbClr val="0083A2"/>
              </a:solidFill>
              <a:effectLst/>
              <a:uLnTx/>
              <a:uFillTx/>
              <a:latin typeface="Arial"/>
            </a:rPr>
            <a:t>Enhanced Version of ETSI TS 103 720v.1.2.1</a:t>
          </a:r>
          <a:endParaRPr lang="en-US"/>
        </a:p>
      </dgm:t>
    </dgm:pt>
    <dgm:pt modelId="{AE651091-5BFF-4A12-98CD-96DB5A2C8016}" type="parTrans" cxnId="{7643C8F2-2718-4484-B30D-FDA9E12277E3}">
      <dgm:prSet/>
      <dgm:spPr/>
      <dgm:t>
        <a:bodyPr/>
        <a:lstStyle/>
        <a:p>
          <a:endParaRPr lang="en-US"/>
        </a:p>
      </dgm:t>
    </dgm:pt>
    <dgm:pt modelId="{5549FA5F-9E61-4817-BF2D-C582ABDBBEFF}" type="sibTrans" cxnId="{7643C8F2-2718-4484-B30D-FDA9E12277E3}">
      <dgm:prSet/>
      <dgm:spPr/>
      <dgm:t>
        <a:bodyPr/>
        <a:lstStyle/>
        <a:p>
          <a:endParaRPr lang="en-US"/>
        </a:p>
      </dgm:t>
    </dgm:pt>
    <dgm:pt modelId="{02FF2C65-7B80-42EA-B321-5200C8F667BE}">
      <dgm:prSet phldrT="[Text]"/>
      <dgm:spPr/>
      <dgm:t>
        <a:bodyPr/>
        <a:lstStyle/>
        <a:p>
          <a:pPr>
            <a:buClrTx/>
            <a:buSzTx/>
            <a:buFontTx/>
            <a:buNone/>
          </a:pPr>
          <a:r>
            <a:rPr kumimoji="0" lang="en-US" b="0" i="0" u="none" strike="noStrike" cap="none" spc="0" normalizeH="0" baseline="0" noProof="0" dirty="0">
              <a:ln>
                <a:noFill/>
              </a:ln>
              <a:solidFill>
                <a:schemeClr val="bg2"/>
              </a:solidFill>
              <a:effectLst/>
              <a:uLnTx/>
              <a:uFillTx/>
              <a:latin typeface="Arial"/>
            </a:rPr>
            <a:t>Enhanced Version of ETSI TS 103 720v.1.3.1</a:t>
          </a:r>
          <a:endParaRPr lang="en-US" dirty="0">
            <a:solidFill>
              <a:schemeClr val="bg2"/>
            </a:solidFill>
          </a:endParaRPr>
        </a:p>
      </dgm:t>
    </dgm:pt>
    <dgm:pt modelId="{F08F2C9E-7EC1-43D4-A685-918D845EA624}" type="parTrans" cxnId="{4046373F-AA4D-43D2-83DF-63376775ED6B}">
      <dgm:prSet/>
      <dgm:spPr/>
      <dgm:t>
        <a:bodyPr/>
        <a:lstStyle/>
        <a:p>
          <a:endParaRPr lang="en-US"/>
        </a:p>
      </dgm:t>
    </dgm:pt>
    <dgm:pt modelId="{D9CF0FE4-C9BB-4AE1-B43B-B1862E0F2F9C}" type="sibTrans" cxnId="{4046373F-AA4D-43D2-83DF-63376775ED6B}">
      <dgm:prSet/>
      <dgm:spPr/>
      <dgm:t>
        <a:bodyPr/>
        <a:lstStyle/>
        <a:p>
          <a:endParaRPr lang="en-US"/>
        </a:p>
      </dgm:t>
    </dgm:pt>
    <dgm:pt modelId="{8F6E1654-6836-49FC-9188-D61CA29769F2}">
      <dgm:prSet phldrT="[Text]"/>
      <dgm:spPr/>
      <dgm:t>
        <a:bodyPr/>
        <a:lstStyle/>
        <a:p>
          <a:pPr>
            <a:buClrTx/>
            <a:buSzTx/>
            <a:buFontTx/>
            <a:buNone/>
          </a:pPr>
          <a:r>
            <a:rPr lang="de-DE">
              <a:solidFill>
                <a:schemeClr val="accent3">
                  <a:lumMod val="75000"/>
                </a:schemeClr>
              </a:solidFill>
            </a:rPr>
            <a:t>Rel-18</a:t>
          </a:r>
          <a:br>
            <a:rPr lang="de-DE">
              <a:solidFill>
                <a:schemeClr val="accent3">
                  <a:lumMod val="75000"/>
                </a:schemeClr>
              </a:solidFill>
            </a:rPr>
          </a:br>
          <a:r>
            <a:rPr lang="en-US">
              <a:solidFill>
                <a:schemeClr val="accent3">
                  <a:lumMod val="75000"/>
                </a:schemeClr>
              </a:solidFill>
            </a:rPr>
            <a:t>Requirements for UHF band, URL Handling</a:t>
          </a:r>
        </a:p>
      </dgm:t>
    </dgm:pt>
    <dgm:pt modelId="{23B08E2E-A492-46F0-BCF5-0CC2D3D77D48}" type="parTrans" cxnId="{851907BA-46B5-482D-8DB4-47E5DC2640EE}">
      <dgm:prSet/>
      <dgm:spPr/>
      <dgm:t>
        <a:bodyPr/>
        <a:lstStyle/>
        <a:p>
          <a:endParaRPr lang="en-US"/>
        </a:p>
      </dgm:t>
    </dgm:pt>
    <dgm:pt modelId="{E8E3FC1F-A16F-4880-867B-D4037E8D77DD}" type="sibTrans" cxnId="{851907BA-46B5-482D-8DB4-47E5DC2640EE}">
      <dgm:prSet/>
      <dgm:spPr/>
      <dgm:t>
        <a:bodyPr/>
        <a:lstStyle/>
        <a:p>
          <a:endParaRPr lang="en-US"/>
        </a:p>
      </dgm:t>
    </dgm:pt>
    <dgm:pt modelId="{81CF156D-CBCA-4CBF-A524-4B001145D50D}">
      <dgm:prSet phldrT="[Text]"/>
      <dgm:spPr/>
      <dgm:t>
        <a:bodyPr/>
        <a:lstStyle/>
        <a:p>
          <a:pPr>
            <a:buClrTx/>
            <a:buSzTx/>
            <a:buFontTx/>
            <a:buNone/>
          </a:pPr>
          <a:r>
            <a:rPr lang="de-DE" dirty="0">
              <a:solidFill>
                <a:schemeClr val="accent3"/>
              </a:solidFill>
            </a:rPr>
            <a:t>Rel-19 </a:t>
          </a:r>
          <a:r>
            <a:rPr lang="de-DE" dirty="0" err="1">
              <a:solidFill>
                <a:schemeClr val="accent3"/>
              </a:solidFill>
            </a:rPr>
            <a:t>work</a:t>
          </a:r>
          <a:r>
            <a:rPr lang="de-DE" dirty="0">
              <a:solidFill>
                <a:schemeClr val="accent3"/>
              </a:solidFill>
            </a:rPr>
            <a:t> (TFI, Co-</a:t>
          </a:r>
          <a:r>
            <a:rPr lang="de-DE" dirty="0" err="1">
              <a:solidFill>
                <a:schemeClr val="accent3"/>
              </a:solidFill>
            </a:rPr>
            <a:t>existence</a:t>
          </a:r>
          <a:r>
            <a:rPr lang="de-DE" dirty="0">
              <a:solidFill>
                <a:schemeClr val="accent3"/>
              </a:solidFill>
            </a:rPr>
            <a:t>, New bands)</a:t>
          </a:r>
          <a:endParaRPr lang="en-US" dirty="0">
            <a:solidFill>
              <a:schemeClr val="accent3"/>
            </a:solidFill>
          </a:endParaRPr>
        </a:p>
      </dgm:t>
    </dgm:pt>
    <dgm:pt modelId="{2CAA375A-0B1C-4B36-963A-829CB127D427}" type="parTrans" cxnId="{8B3FE75E-02E6-4C7C-8F56-A5F61311DB09}">
      <dgm:prSet/>
      <dgm:spPr/>
      <dgm:t>
        <a:bodyPr/>
        <a:lstStyle/>
        <a:p>
          <a:endParaRPr lang="en-US"/>
        </a:p>
      </dgm:t>
    </dgm:pt>
    <dgm:pt modelId="{48A293A5-5F1A-4974-BD91-92969E57541E}" type="sibTrans" cxnId="{8B3FE75E-02E6-4C7C-8F56-A5F61311DB09}">
      <dgm:prSet/>
      <dgm:spPr/>
      <dgm:t>
        <a:bodyPr/>
        <a:lstStyle/>
        <a:p>
          <a:endParaRPr lang="en-US"/>
        </a:p>
      </dgm:t>
    </dgm:pt>
    <dgm:pt modelId="{FD246D05-EB06-4582-BA9B-CC9101E1A24B}" type="pres">
      <dgm:prSet presAssocID="{CCA5BD33-0D70-4A15-8FA5-7CF18AF11C69}" presName="Name0" presStyleCnt="0">
        <dgm:presLayoutVars>
          <dgm:chMax val="11"/>
          <dgm:chPref val="11"/>
          <dgm:dir/>
          <dgm:resizeHandles/>
        </dgm:presLayoutVars>
      </dgm:prSet>
      <dgm:spPr/>
    </dgm:pt>
    <dgm:pt modelId="{82B7D8B6-A34A-4F77-8DBF-08CD322AE204}" type="pres">
      <dgm:prSet presAssocID="{02FF2C65-7B80-42EA-B321-5200C8F667BE}" presName="Accent9" presStyleCnt="0"/>
      <dgm:spPr/>
    </dgm:pt>
    <dgm:pt modelId="{163BBA7A-21B1-4EBB-8A35-E6AAB09D1377}" type="pres">
      <dgm:prSet presAssocID="{02FF2C65-7B80-42EA-B321-5200C8F667BE}" presName="Accent" presStyleLbl="node1" presStyleIdx="0" presStyleCnt="9"/>
      <dgm:spPr/>
    </dgm:pt>
    <dgm:pt modelId="{B51A7C57-B96E-412E-9148-0FAE990C846F}" type="pres">
      <dgm:prSet presAssocID="{02FF2C65-7B80-42EA-B321-5200C8F667BE}" presName="ParentBackground9" presStyleCnt="0"/>
      <dgm:spPr/>
    </dgm:pt>
    <dgm:pt modelId="{647EC55D-4194-4166-ABBA-E42F7D113506}" type="pres">
      <dgm:prSet presAssocID="{02FF2C65-7B80-42EA-B321-5200C8F667BE}" presName="ParentBackground" presStyleLbl="fgAcc1" presStyleIdx="0" presStyleCnt="9"/>
      <dgm:spPr/>
    </dgm:pt>
    <dgm:pt modelId="{872386C9-6F06-4BF3-B7E8-E33E018FE9B0}" type="pres">
      <dgm:prSet presAssocID="{02FF2C65-7B80-42EA-B321-5200C8F667BE}" presName="Parent9" presStyleLbl="revTx" presStyleIdx="0" presStyleCnt="0">
        <dgm:presLayoutVars>
          <dgm:chMax val="1"/>
          <dgm:chPref val="1"/>
          <dgm:bulletEnabled val="1"/>
        </dgm:presLayoutVars>
      </dgm:prSet>
      <dgm:spPr/>
    </dgm:pt>
    <dgm:pt modelId="{DF4A80C4-E79E-4E97-998D-F49482A208B1}" type="pres">
      <dgm:prSet presAssocID="{81CF156D-CBCA-4CBF-A524-4B001145D50D}" presName="Accent8" presStyleCnt="0"/>
      <dgm:spPr/>
    </dgm:pt>
    <dgm:pt modelId="{EB216E84-657A-414B-85A3-22656BAF111B}" type="pres">
      <dgm:prSet presAssocID="{81CF156D-CBCA-4CBF-A524-4B001145D50D}" presName="Accent" presStyleLbl="node1" presStyleIdx="1" presStyleCnt="9"/>
      <dgm:spPr/>
    </dgm:pt>
    <dgm:pt modelId="{86648DA5-6022-48FC-A7AC-28F82DD73DC0}" type="pres">
      <dgm:prSet presAssocID="{81CF156D-CBCA-4CBF-A524-4B001145D50D}" presName="ParentBackground8" presStyleCnt="0"/>
      <dgm:spPr/>
    </dgm:pt>
    <dgm:pt modelId="{FABADCF4-C0D5-487E-BCDB-C4AD2BF06DFC}" type="pres">
      <dgm:prSet presAssocID="{81CF156D-CBCA-4CBF-A524-4B001145D50D}" presName="ParentBackground" presStyleLbl="fgAcc1" presStyleIdx="1" presStyleCnt="9"/>
      <dgm:spPr/>
    </dgm:pt>
    <dgm:pt modelId="{7B56EF1A-C792-4D39-B7BA-A535FBC9BB3B}" type="pres">
      <dgm:prSet presAssocID="{81CF156D-CBCA-4CBF-A524-4B001145D50D}" presName="Parent8" presStyleLbl="revTx" presStyleIdx="0" presStyleCnt="0">
        <dgm:presLayoutVars>
          <dgm:chMax val="1"/>
          <dgm:chPref val="1"/>
          <dgm:bulletEnabled val="1"/>
        </dgm:presLayoutVars>
      </dgm:prSet>
      <dgm:spPr/>
    </dgm:pt>
    <dgm:pt modelId="{EEF71798-B889-459A-97BB-1CB54F720074}" type="pres">
      <dgm:prSet presAssocID="{8F6E1654-6836-49FC-9188-D61CA29769F2}" presName="Accent7" presStyleCnt="0"/>
      <dgm:spPr/>
    </dgm:pt>
    <dgm:pt modelId="{5E43C491-AD1D-41BF-8412-A813F21A38EE}" type="pres">
      <dgm:prSet presAssocID="{8F6E1654-6836-49FC-9188-D61CA29769F2}" presName="Accent" presStyleLbl="node1" presStyleIdx="2" presStyleCnt="9"/>
      <dgm:spPr/>
    </dgm:pt>
    <dgm:pt modelId="{5CD03E29-04EF-4E97-8BAB-3D8ACACF4F69}" type="pres">
      <dgm:prSet presAssocID="{8F6E1654-6836-49FC-9188-D61CA29769F2}" presName="ParentBackground7" presStyleCnt="0"/>
      <dgm:spPr/>
    </dgm:pt>
    <dgm:pt modelId="{6088BDF8-98A3-43B3-A802-F6B79B3131CE}" type="pres">
      <dgm:prSet presAssocID="{8F6E1654-6836-49FC-9188-D61CA29769F2}" presName="ParentBackground" presStyleLbl="fgAcc1" presStyleIdx="2" presStyleCnt="9"/>
      <dgm:spPr/>
    </dgm:pt>
    <dgm:pt modelId="{657026A8-4987-49FA-87A5-D5D34D319EA5}" type="pres">
      <dgm:prSet presAssocID="{8F6E1654-6836-49FC-9188-D61CA29769F2}" presName="Parent7" presStyleLbl="revTx" presStyleIdx="0" presStyleCnt="0">
        <dgm:presLayoutVars>
          <dgm:chMax val="1"/>
          <dgm:chPref val="1"/>
          <dgm:bulletEnabled val="1"/>
        </dgm:presLayoutVars>
      </dgm:prSet>
      <dgm:spPr/>
    </dgm:pt>
    <dgm:pt modelId="{931F5EF5-1F74-4602-A8CD-FD44B6DE7CFE}" type="pres">
      <dgm:prSet presAssocID="{57FE0073-0D87-49CC-9C18-F851E9A3B098}" presName="Accent6" presStyleCnt="0"/>
      <dgm:spPr/>
    </dgm:pt>
    <dgm:pt modelId="{F4B278F1-6C00-4AAB-835D-03F55381840B}" type="pres">
      <dgm:prSet presAssocID="{57FE0073-0D87-49CC-9C18-F851E9A3B098}" presName="Accent" presStyleLbl="node1" presStyleIdx="3" presStyleCnt="9"/>
      <dgm:spPr/>
    </dgm:pt>
    <dgm:pt modelId="{D3FBFB01-6311-4C58-B7A5-4EA70376F90E}" type="pres">
      <dgm:prSet presAssocID="{57FE0073-0D87-49CC-9C18-F851E9A3B098}" presName="ParentBackground6" presStyleCnt="0"/>
      <dgm:spPr/>
    </dgm:pt>
    <dgm:pt modelId="{448F32BF-E251-43CE-BA58-D06214E885A4}" type="pres">
      <dgm:prSet presAssocID="{57FE0073-0D87-49CC-9C18-F851E9A3B098}" presName="ParentBackground" presStyleLbl="fgAcc1" presStyleIdx="3" presStyleCnt="9"/>
      <dgm:spPr/>
    </dgm:pt>
    <dgm:pt modelId="{F4021B97-77F3-4683-9DF0-E07A31CBF52F}" type="pres">
      <dgm:prSet presAssocID="{57FE0073-0D87-49CC-9C18-F851E9A3B098}" presName="Parent6" presStyleLbl="revTx" presStyleIdx="0" presStyleCnt="0">
        <dgm:presLayoutVars>
          <dgm:chMax val="1"/>
          <dgm:chPref val="1"/>
          <dgm:bulletEnabled val="1"/>
        </dgm:presLayoutVars>
      </dgm:prSet>
      <dgm:spPr/>
    </dgm:pt>
    <dgm:pt modelId="{5089BF6E-667B-411E-A0DC-DF3269DA773F}" type="pres">
      <dgm:prSet presAssocID="{4D6A7648-7E18-48FF-9A59-77421F150C72}" presName="Accent5" presStyleCnt="0"/>
      <dgm:spPr/>
    </dgm:pt>
    <dgm:pt modelId="{DDED353F-1552-4490-AC0D-9DEF658998E0}" type="pres">
      <dgm:prSet presAssocID="{4D6A7648-7E18-48FF-9A59-77421F150C72}" presName="Accent" presStyleLbl="node1" presStyleIdx="4" presStyleCnt="9"/>
      <dgm:spPr/>
    </dgm:pt>
    <dgm:pt modelId="{404CA857-2EB7-475E-8FB8-327D2AA66B63}" type="pres">
      <dgm:prSet presAssocID="{4D6A7648-7E18-48FF-9A59-77421F150C72}" presName="ParentBackground5" presStyleCnt="0"/>
      <dgm:spPr/>
    </dgm:pt>
    <dgm:pt modelId="{D8909048-32F9-4E75-886C-3F57DCB37ED2}" type="pres">
      <dgm:prSet presAssocID="{4D6A7648-7E18-48FF-9A59-77421F150C72}" presName="ParentBackground" presStyleLbl="fgAcc1" presStyleIdx="4" presStyleCnt="9"/>
      <dgm:spPr/>
    </dgm:pt>
    <dgm:pt modelId="{17B26BFB-E7AC-4791-AE35-D8F8073B497A}" type="pres">
      <dgm:prSet presAssocID="{4D6A7648-7E18-48FF-9A59-77421F150C72}" presName="Parent5" presStyleLbl="revTx" presStyleIdx="0" presStyleCnt="0">
        <dgm:presLayoutVars>
          <dgm:chMax val="1"/>
          <dgm:chPref val="1"/>
          <dgm:bulletEnabled val="1"/>
        </dgm:presLayoutVars>
      </dgm:prSet>
      <dgm:spPr/>
    </dgm:pt>
    <dgm:pt modelId="{4990C671-F3ED-4644-9D62-9E67050B8D53}" type="pres">
      <dgm:prSet presAssocID="{6602B524-125B-4B94-88BA-6D015ABA5725}" presName="Accent4" presStyleCnt="0"/>
      <dgm:spPr/>
    </dgm:pt>
    <dgm:pt modelId="{8D2D7A9D-E955-4BB2-B5A3-9D2886F6FA6B}" type="pres">
      <dgm:prSet presAssocID="{6602B524-125B-4B94-88BA-6D015ABA5725}" presName="Accent" presStyleLbl="node1" presStyleIdx="5" presStyleCnt="9"/>
      <dgm:spPr/>
    </dgm:pt>
    <dgm:pt modelId="{786A8580-9EB5-4E0A-9429-4D2B895612FB}" type="pres">
      <dgm:prSet presAssocID="{6602B524-125B-4B94-88BA-6D015ABA5725}" presName="ParentBackground4" presStyleCnt="0"/>
      <dgm:spPr/>
    </dgm:pt>
    <dgm:pt modelId="{7BD11445-825F-49E8-866F-A295A7411F9E}" type="pres">
      <dgm:prSet presAssocID="{6602B524-125B-4B94-88BA-6D015ABA5725}" presName="ParentBackground" presStyleLbl="fgAcc1" presStyleIdx="5" presStyleCnt="9"/>
      <dgm:spPr/>
    </dgm:pt>
    <dgm:pt modelId="{AE2B1CED-C2FB-435F-928F-AE66F1ACC55D}" type="pres">
      <dgm:prSet presAssocID="{6602B524-125B-4B94-88BA-6D015ABA5725}" presName="Parent4" presStyleLbl="revTx" presStyleIdx="0" presStyleCnt="0">
        <dgm:presLayoutVars>
          <dgm:chMax val="1"/>
          <dgm:chPref val="1"/>
          <dgm:bulletEnabled val="1"/>
        </dgm:presLayoutVars>
      </dgm:prSet>
      <dgm:spPr/>
    </dgm:pt>
    <dgm:pt modelId="{C7812AD2-6AC4-46A5-89A3-D91D3327F66A}" type="pres">
      <dgm:prSet presAssocID="{770D4FD5-1DE3-4391-896F-675F59C000AA}" presName="Accent3" presStyleCnt="0"/>
      <dgm:spPr/>
    </dgm:pt>
    <dgm:pt modelId="{A0E88B4A-82D0-420B-925D-B7CBDDE07732}" type="pres">
      <dgm:prSet presAssocID="{770D4FD5-1DE3-4391-896F-675F59C000AA}" presName="Accent" presStyleLbl="node1" presStyleIdx="6" presStyleCnt="9"/>
      <dgm:spPr/>
    </dgm:pt>
    <dgm:pt modelId="{022BFFB0-F20E-4A89-9F27-DCD8C3AADE46}" type="pres">
      <dgm:prSet presAssocID="{770D4FD5-1DE3-4391-896F-675F59C000AA}" presName="ParentBackground3" presStyleCnt="0"/>
      <dgm:spPr/>
    </dgm:pt>
    <dgm:pt modelId="{A31D6B98-94C5-4AF2-A4BB-0E5E7A5D422E}" type="pres">
      <dgm:prSet presAssocID="{770D4FD5-1DE3-4391-896F-675F59C000AA}" presName="ParentBackground" presStyleLbl="fgAcc1" presStyleIdx="6" presStyleCnt="9"/>
      <dgm:spPr/>
    </dgm:pt>
    <dgm:pt modelId="{892C52E5-60AA-4625-87D2-C8150E13465C}" type="pres">
      <dgm:prSet presAssocID="{770D4FD5-1DE3-4391-896F-675F59C000AA}" presName="Parent3" presStyleLbl="revTx" presStyleIdx="0" presStyleCnt="0">
        <dgm:presLayoutVars>
          <dgm:chMax val="1"/>
          <dgm:chPref val="1"/>
          <dgm:bulletEnabled val="1"/>
        </dgm:presLayoutVars>
      </dgm:prSet>
      <dgm:spPr/>
    </dgm:pt>
    <dgm:pt modelId="{02E254E8-E6C9-4A10-A075-27256A136298}" type="pres">
      <dgm:prSet presAssocID="{12333A0C-669D-41CB-A52A-6085329C4A48}" presName="Accent2" presStyleCnt="0"/>
      <dgm:spPr/>
    </dgm:pt>
    <dgm:pt modelId="{AADDE8E5-E4FD-4942-86DA-6E10E6C1A2F7}" type="pres">
      <dgm:prSet presAssocID="{12333A0C-669D-41CB-A52A-6085329C4A48}" presName="Accent" presStyleLbl="node1" presStyleIdx="7" presStyleCnt="9"/>
      <dgm:spPr/>
    </dgm:pt>
    <dgm:pt modelId="{9094654B-644F-4F58-908F-D50887BF43A2}" type="pres">
      <dgm:prSet presAssocID="{12333A0C-669D-41CB-A52A-6085329C4A48}" presName="ParentBackground2" presStyleCnt="0"/>
      <dgm:spPr/>
    </dgm:pt>
    <dgm:pt modelId="{1F6E9D62-BBD0-463D-B544-4429B65D93E5}" type="pres">
      <dgm:prSet presAssocID="{12333A0C-669D-41CB-A52A-6085329C4A48}" presName="ParentBackground" presStyleLbl="fgAcc1" presStyleIdx="7" presStyleCnt="9"/>
      <dgm:spPr/>
    </dgm:pt>
    <dgm:pt modelId="{13EC4AA8-65FC-4001-AF78-1B69BA2B0F53}" type="pres">
      <dgm:prSet presAssocID="{12333A0C-669D-41CB-A52A-6085329C4A48}" presName="Parent2" presStyleLbl="revTx" presStyleIdx="0" presStyleCnt="0">
        <dgm:presLayoutVars>
          <dgm:chMax val="1"/>
          <dgm:chPref val="1"/>
          <dgm:bulletEnabled val="1"/>
        </dgm:presLayoutVars>
      </dgm:prSet>
      <dgm:spPr/>
    </dgm:pt>
    <dgm:pt modelId="{E30009A9-605B-4A6D-A9C6-2930E7448172}" type="pres">
      <dgm:prSet presAssocID="{2D96EB79-872C-4F6F-94FF-0BDF74344384}" presName="Accent1" presStyleCnt="0"/>
      <dgm:spPr/>
    </dgm:pt>
    <dgm:pt modelId="{896365B5-14BE-4479-B830-0B2FA3CB031B}" type="pres">
      <dgm:prSet presAssocID="{2D96EB79-872C-4F6F-94FF-0BDF74344384}" presName="Accent" presStyleLbl="node1" presStyleIdx="8" presStyleCnt="9"/>
      <dgm:spPr/>
    </dgm:pt>
    <dgm:pt modelId="{23E44CAF-6494-466D-BACE-515F3814C320}" type="pres">
      <dgm:prSet presAssocID="{2D96EB79-872C-4F6F-94FF-0BDF74344384}" presName="ParentBackground1" presStyleCnt="0"/>
      <dgm:spPr/>
    </dgm:pt>
    <dgm:pt modelId="{5311A34D-6873-4ADD-90D8-B783C069773F}" type="pres">
      <dgm:prSet presAssocID="{2D96EB79-872C-4F6F-94FF-0BDF74344384}" presName="ParentBackground" presStyleLbl="fgAcc1" presStyleIdx="8" presStyleCnt="9"/>
      <dgm:spPr/>
    </dgm:pt>
    <dgm:pt modelId="{C38329D9-E98B-4652-B582-A217D92856A4}" type="pres">
      <dgm:prSet presAssocID="{2D96EB79-872C-4F6F-94FF-0BDF74344384}" presName="Parent1" presStyleLbl="revTx" presStyleIdx="0" presStyleCnt="0">
        <dgm:presLayoutVars>
          <dgm:chMax val="1"/>
          <dgm:chPref val="1"/>
          <dgm:bulletEnabled val="1"/>
        </dgm:presLayoutVars>
      </dgm:prSet>
      <dgm:spPr/>
    </dgm:pt>
  </dgm:ptLst>
  <dgm:cxnLst>
    <dgm:cxn modelId="{4453EA07-1968-4F22-8917-727C15C4CFC0}" type="presOf" srcId="{57FE0073-0D87-49CC-9C18-F851E9A3B098}" destId="{F4021B97-77F3-4683-9DF0-E07A31CBF52F}" srcOrd="1" destOrd="0" presId="urn:microsoft.com/office/officeart/2011/layout/CircleProcess"/>
    <dgm:cxn modelId="{3CED950D-3F1B-4153-8495-86501BD31EBB}" type="presOf" srcId="{02FF2C65-7B80-42EA-B321-5200C8F667BE}" destId="{647EC55D-4194-4166-ABBA-E42F7D113506}" srcOrd="0" destOrd="0" presId="urn:microsoft.com/office/officeart/2011/layout/CircleProcess"/>
    <dgm:cxn modelId="{04CAD613-C3FF-4933-B7B6-DDC75A83E139}" type="presOf" srcId="{12333A0C-669D-41CB-A52A-6085329C4A48}" destId="{1F6E9D62-BBD0-463D-B544-4429B65D93E5}" srcOrd="0" destOrd="0" presId="urn:microsoft.com/office/officeart/2011/layout/CircleProcess"/>
    <dgm:cxn modelId="{4046373F-AA4D-43D2-83DF-63376775ED6B}" srcId="{CCA5BD33-0D70-4A15-8FA5-7CF18AF11C69}" destId="{02FF2C65-7B80-42EA-B321-5200C8F667BE}" srcOrd="8" destOrd="0" parTransId="{F08F2C9E-7EC1-43D4-A685-918D845EA624}" sibTransId="{D9CF0FE4-C9BB-4AE1-B43B-B1862E0F2F9C}"/>
    <dgm:cxn modelId="{8B3FE75E-02E6-4C7C-8F56-A5F61311DB09}" srcId="{CCA5BD33-0D70-4A15-8FA5-7CF18AF11C69}" destId="{81CF156D-CBCA-4CBF-A524-4B001145D50D}" srcOrd="7" destOrd="0" parTransId="{2CAA375A-0B1C-4B36-963A-829CB127D427}" sibTransId="{48A293A5-5F1A-4974-BD91-92969E57541E}"/>
    <dgm:cxn modelId="{30B93C41-C734-467D-BED0-C0ADE98DAC97}" srcId="{CCA5BD33-0D70-4A15-8FA5-7CF18AF11C69}" destId="{4D6A7648-7E18-48FF-9A59-77421F150C72}" srcOrd="4" destOrd="0" parTransId="{07BB1A74-F98F-4094-9793-90DF56D4AD45}" sibTransId="{1ACAB758-449B-442D-BD0D-837DB8F08818}"/>
    <dgm:cxn modelId="{A4764363-555D-4E1C-B874-4891A722FD6D}" type="presOf" srcId="{81CF156D-CBCA-4CBF-A524-4B001145D50D}" destId="{FABADCF4-C0D5-487E-BCDB-C4AD2BF06DFC}" srcOrd="0" destOrd="0" presId="urn:microsoft.com/office/officeart/2011/layout/CircleProcess"/>
    <dgm:cxn modelId="{91E00E45-CC1F-4376-8BF9-555B14270244}" type="presOf" srcId="{4D6A7648-7E18-48FF-9A59-77421F150C72}" destId="{D8909048-32F9-4E75-886C-3F57DCB37ED2}" srcOrd="0" destOrd="0" presId="urn:microsoft.com/office/officeart/2011/layout/CircleProcess"/>
    <dgm:cxn modelId="{F687EC66-2D7A-4581-911F-FEC08149A9D6}" type="presOf" srcId="{2D96EB79-872C-4F6F-94FF-0BDF74344384}" destId="{5311A34D-6873-4ADD-90D8-B783C069773F}" srcOrd="0" destOrd="0" presId="urn:microsoft.com/office/officeart/2011/layout/CircleProcess"/>
    <dgm:cxn modelId="{B9238F6A-1F31-4E9B-8C42-A3C4E9C4E666}" type="presOf" srcId="{CCA5BD33-0D70-4A15-8FA5-7CF18AF11C69}" destId="{FD246D05-EB06-4582-BA9B-CC9101E1A24B}" srcOrd="0" destOrd="0" presId="urn:microsoft.com/office/officeart/2011/layout/CircleProcess"/>
    <dgm:cxn modelId="{0B28054B-1D30-4D20-8CE0-9CBDB74231F6}" type="presOf" srcId="{770D4FD5-1DE3-4391-896F-675F59C000AA}" destId="{A31D6B98-94C5-4AF2-A4BB-0E5E7A5D422E}" srcOrd="0" destOrd="0" presId="urn:microsoft.com/office/officeart/2011/layout/CircleProcess"/>
    <dgm:cxn modelId="{C5E8A94C-1F0B-4D21-A83A-BC2191639DEA}" type="presOf" srcId="{8F6E1654-6836-49FC-9188-D61CA29769F2}" destId="{657026A8-4987-49FA-87A5-D5D34D319EA5}" srcOrd="1" destOrd="0" presId="urn:microsoft.com/office/officeart/2011/layout/CircleProcess"/>
    <dgm:cxn modelId="{47E1FA4F-9D9D-49C6-B735-EC9A60407490}" type="presOf" srcId="{81CF156D-CBCA-4CBF-A524-4B001145D50D}" destId="{7B56EF1A-C792-4D39-B7BA-A535FBC9BB3B}" srcOrd="1" destOrd="0" presId="urn:microsoft.com/office/officeart/2011/layout/CircleProcess"/>
    <dgm:cxn modelId="{046AD052-D1C2-4937-A252-B38117E14C70}" type="presOf" srcId="{12333A0C-669D-41CB-A52A-6085329C4A48}" destId="{13EC4AA8-65FC-4001-AF78-1B69BA2B0F53}" srcOrd="1" destOrd="0" presId="urn:microsoft.com/office/officeart/2011/layout/CircleProcess"/>
    <dgm:cxn modelId="{9EE39A74-C358-4197-897A-DE447355BD79}" type="presOf" srcId="{6602B524-125B-4B94-88BA-6D015ABA5725}" destId="{7BD11445-825F-49E8-866F-A295A7411F9E}" srcOrd="0" destOrd="0" presId="urn:microsoft.com/office/officeart/2011/layout/CircleProcess"/>
    <dgm:cxn modelId="{31DF7859-09D9-4655-A4F9-8BC0E8AF69C3}" type="presOf" srcId="{4D6A7648-7E18-48FF-9A59-77421F150C72}" destId="{17B26BFB-E7AC-4791-AE35-D8F8073B497A}" srcOrd="1" destOrd="0" presId="urn:microsoft.com/office/officeart/2011/layout/CircleProcess"/>
    <dgm:cxn modelId="{8CBF6091-763E-49DD-9D8B-AFEFFD9D94D8}" type="presOf" srcId="{02FF2C65-7B80-42EA-B321-5200C8F667BE}" destId="{872386C9-6F06-4BF3-B7E8-E33E018FE9B0}" srcOrd="1" destOrd="0" presId="urn:microsoft.com/office/officeart/2011/layout/CircleProcess"/>
    <dgm:cxn modelId="{4ED4B991-EE65-4CC8-8ABE-4BB5849FA63D}" type="presOf" srcId="{8F6E1654-6836-49FC-9188-D61CA29769F2}" destId="{6088BDF8-98A3-43B3-A802-F6B79B3131CE}" srcOrd="0" destOrd="0" presId="urn:microsoft.com/office/officeart/2011/layout/CircleProcess"/>
    <dgm:cxn modelId="{A7F3E696-4D30-43C2-8067-2C700C21F6D9}" srcId="{CCA5BD33-0D70-4A15-8FA5-7CF18AF11C69}" destId="{6602B524-125B-4B94-88BA-6D015ABA5725}" srcOrd="3" destOrd="0" parTransId="{FA2DFF9F-4841-4E63-B343-D6A1A6211BB8}" sibTransId="{56018235-535A-429E-8520-4140EEC5C80D}"/>
    <dgm:cxn modelId="{F614CF9E-B129-42B8-8E39-6B61281FC7E7}" type="presOf" srcId="{2D96EB79-872C-4F6F-94FF-0BDF74344384}" destId="{C38329D9-E98B-4652-B582-A217D92856A4}" srcOrd="1" destOrd="0" presId="urn:microsoft.com/office/officeart/2011/layout/CircleProcess"/>
    <dgm:cxn modelId="{E027A6B0-C8D1-49E7-8ADB-BD49B12F640D}" srcId="{CCA5BD33-0D70-4A15-8FA5-7CF18AF11C69}" destId="{2D96EB79-872C-4F6F-94FF-0BDF74344384}" srcOrd="0" destOrd="0" parTransId="{906F69A1-9BBE-4991-A99A-AD3AFC238CE9}" sibTransId="{C817A8E2-FC56-4A43-8778-77019B229307}"/>
    <dgm:cxn modelId="{FA50BEB2-D08C-4C3D-B661-DA5D6EC474AF}" srcId="{CCA5BD33-0D70-4A15-8FA5-7CF18AF11C69}" destId="{12333A0C-669D-41CB-A52A-6085329C4A48}" srcOrd="1" destOrd="0" parTransId="{18134235-43D5-49B0-8980-F571044E5788}" sibTransId="{7F65693E-BAA3-4E60-A0EA-9C4F00B67561}"/>
    <dgm:cxn modelId="{851907BA-46B5-482D-8DB4-47E5DC2640EE}" srcId="{CCA5BD33-0D70-4A15-8FA5-7CF18AF11C69}" destId="{8F6E1654-6836-49FC-9188-D61CA29769F2}" srcOrd="6" destOrd="0" parTransId="{23B08E2E-A492-46F0-BCF5-0CC2D3D77D48}" sibTransId="{E8E3FC1F-A16F-4880-867B-D4037E8D77DD}"/>
    <dgm:cxn modelId="{64EC19C5-7E6D-4BE1-B987-EC2211909147}" srcId="{CCA5BD33-0D70-4A15-8FA5-7CF18AF11C69}" destId="{770D4FD5-1DE3-4391-896F-675F59C000AA}" srcOrd="2" destOrd="0" parTransId="{13204540-2619-4563-831C-D7EA7A35BF4E}" sibTransId="{790DECA3-6B1C-4302-BB37-8C8FEFC71957}"/>
    <dgm:cxn modelId="{6D3385DF-6642-430E-9A13-4CC47B4BDBE0}" type="presOf" srcId="{6602B524-125B-4B94-88BA-6D015ABA5725}" destId="{AE2B1CED-C2FB-435F-928F-AE66F1ACC55D}" srcOrd="1" destOrd="0" presId="urn:microsoft.com/office/officeart/2011/layout/CircleProcess"/>
    <dgm:cxn modelId="{E1C94FE3-2637-45AE-B450-A3F614F3A678}" type="presOf" srcId="{57FE0073-0D87-49CC-9C18-F851E9A3B098}" destId="{448F32BF-E251-43CE-BA58-D06214E885A4}" srcOrd="0" destOrd="0" presId="urn:microsoft.com/office/officeart/2011/layout/CircleProcess"/>
    <dgm:cxn modelId="{7643C8F2-2718-4484-B30D-FDA9E12277E3}" srcId="{CCA5BD33-0D70-4A15-8FA5-7CF18AF11C69}" destId="{57FE0073-0D87-49CC-9C18-F851E9A3B098}" srcOrd="5" destOrd="0" parTransId="{AE651091-5BFF-4A12-98CD-96DB5A2C8016}" sibTransId="{5549FA5F-9E61-4817-BF2D-C582ABDBBEFF}"/>
    <dgm:cxn modelId="{CD1425FE-1435-458A-8C43-69897B0479CA}" type="presOf" srcId="{770D4FD5-1DE3-4391-896F-675F59C000AA}" destId="{892C52E5-60AA-4625-87D2-C8150E13465C}" srcOrd="1" destOrd="0" presId="urn:microsoft.com/office/officeart/2011/layout/CircleProcess"/>
    <dgm:cxn modelId="{2E72300E-9C45-42A2-8317-D6D7393396CC}" type="presParOf" srcId="{FD246D05-EB06-4582-BA9B-CC9101E1A24B}" destId="{82B7D8B6-A34A-4F77-8DBF-08CD322AE204}" srcOrd="0" destOrd="0" presId="urn:microsoft.com/office/officeart/2011/layout/CircleProcess"/>
    <dgm:cxn modelId="{F7886951-8CF0-4C8B-9414-72C3632EACEC}" type="presParOf" srcId="{82B7D8B6-A34A-4F77-8DBF-08CD322AE204}" destId="{163BBA7A-21B1-4EBB-8A35-E6AAB09D1377}" srcOrd="0" destOrd="0" presId="urn:microsoft.com/office/officeart/2011/layout/CircleProcess"/>
    <dgm:cxn modelId="{911ADB52-F243-40BB-8FD6-300CC75AA164}" type="presParOf" srcId="{FD246D05-EB06-4582-BA9B-CC9101E1A24B}" destId="{B51A7C57-B96E-412E-9148-0FAE990C846F}" srcOrd="1" destOrd="0" presId="urn:microsoft.com/office/officeart/2011/layout/CircleProcess"/>
    <dgm:cxn modelId="{A41B48A4-C88D-49CF-9F20-4AAACEDD7C21}" type="presParOf" srcId="{B51A7C57-B96E-412E-9148-0FAE990C846F}" destId="{647EC55D-4194-4166-ABBA-E42F7D113506}" srcOrd="0" destOrd="0" presId="urn:microsoft.com/office/officeart/2011/layout/CircleProcess"/>
    <dgm:cxn modelId="{DD81BBE3-98B5-4E81-8D14-4D26B74282ED}" type="presParOf" srcId="{FD246D05-EB06-4582-BA9B-CC9101E1A24B}" destId="{872386C9-6F06-4BF3-B7E8-E33E018FE9B0}" srcOrd="2" destOrd="0" presId="urn:microsoft.com/office/officeart/2011/layout/CircleProcess"/>
    <dgm:cxn modelId="{9FDE2D33-AA86-4ACC-A919-9899596BF49B}" type="presParOf" srcId="{FD246D05-EB06-4582-BA9B-CC9101E1A24B}" destId="{DF4A80C4-E79E-4E97-998D-F49482A208B1}" srcOrd="3" destOrd="0" presId="urn:microsoft.com/office/officeart/2011/layout/CircleProcess"/>
    <dgm:cxn modelId="{EE096C29-6F0E-4942-BD27-FFD3159B6FD5}" type="presParOf" srcId="{DF4A80C4-E79E-4E97-998D-F49482A208B1}" destId="{EB216E84-657A-414B-85A3-22656BAF111B}" srcOrd="0" destOrd="0" presId="urn:microsoft.com/office/officeart/2011/layout/CircleProcess"/>
    <dgm:cxn modelId="{BC2831FE-29FF-41CF-B93C-D8CC8016BA86}" type="presParOf" srcId="{FD246D05-EB06-4582-BA9B-CC9101E1A24B}" destId="{86648DA5-6022-48FC-A7AC-28F82DD73DC0}" srcOrd="4" destOrd="0" presId="urn:microsoft.com/office/officeart/2011/layout/CircleProcess"/>
    <dgm:cxn modelId="{851747E7-B00C-4DB2-957E-9E5B356B5A71}" type="presParOf" srcId="{86648DA5-6022-48FC-A7AC-28F82DD73DC0}" destId="{FABADCF4-C0D5-487E-BCDB-C4AD2BF06DFC}" srcOrd="0" destOrd="0" presId="urn:microsoft.com/office/officeart/2011/layout/CircleProcess"/>
    <dgm:cxn modelId="{BE712538-4780-4622-9A31-1CADA70D2216}" type="presParOf" srcId="{FD246D05-EB06-4582-BA9B-CC9101E1A24B}" destId="{7B56EF1A-C792-4D39-B7BA-A535FBC9BB3B}" srcOrd="5" destOrd="0" presId="urn:microsoft.com/office/officeart/2011/layout/CircleProcess"/>
    <dgm:cxn modelId="{32AE7C55-34C3-4E12-B003-5A5C1E36F56C}" type="presParOf" srcId="{FD246D05-EB06-4582-BA9B-CC9101E1A24B}" destId="{EEF71798-B889-459A-97BB-1CB54F720074}" srcOrd="6" destOrd="0" presId="urn:microsoft.com/office/officeart/2011/layout/CircleProcess"/>
    <dgm:cxn modelId="{16684D07-A3CD-491B-B28E-291245CC8512}" type="presParOf" srcId="{EEF71798-B889-459A-97BB-1CB54F720074}" destId="{5E43C491-AD1D-41BF-8412-A813F21A38EE}" srcOrd="0" destOrd="0" presId="urn:microsoft.com/office/officeart/2011/layout/CircleProcess"/>
    <dgm:cxn modelId="{A389525A-928E-4664-96D1-C7FE9EB74A7A}" type="presParOf" srcId="{FD246D05-EB06-4582-BA9B-CC9101E1A24B}" destId="{5CD03E29-04EF-4E97-8BAB-3D8ACACF4F69}" srcOrd="7" destOrd="0" presId="urn:microsoft.com/office/officeart/2011/layout/CircleProcess"/>
    <dgm:cxn modelId="{38127BA3-7DA8-4DAA-B821-E31F7AC4934B}" type="presParOf" srcId="{5CD03E29-04EF-4E97-8BAB-3D8ACACF4F69}" destId="{6088BDF8-98A3-43B3-A802-F6B79B3131CE}" srcOrd="0" destOrd="0" presId="urn:microsoft.com/office/officeart/2011/layout/CircleProcess"/>
    <dgm:cxn modelId="{B3F4DEA1-C608-4CF3-A467-46F1D418F33C}" type="presParOf" srcId="{FD246D05-EB06-4582-BA9B-CC9101E1A24B}" destId="{657026A8-4987-49FA-87A5-D5D34D319EA5}" srcOrd="8" destOrd="0" presId="urn:microsoft.com/office/officeart/2011/layout/CircleProcess"/>
    <dgm:cxn modelId="{7DE47CD6-5F85-4EF0-B267-D055FFFF8342}" type="presParOf" srcId="{FD246D05-EB06-4582-BA9B-CC9101E1A24B}" destId="{931F5EF5-1F74-4602-A8CD-FD44B6DE7CFE}" srcOrd="9" destOrd="0" presId="urn:microsoft.com/office/officeart/2011/layout/CircleProcess"/>
    <dgm:cxn modelId="{42E39E99-27A5-4646-9482-81C50DB2AA69}" type="presParOf" srcId="{931F5EF5-1F74-4602-A8CD-FD44B6DE7CFE}" destId="{F4B278F1-6C00-4AAB-835D-03F55381840B}" srcOrd="0" destOrd="0" presId="urn:microsoft.com/office/officeart/2011/layout/CircleProcess"/>
    <dgm:cxn modelId="{60C24AB0-2937-44E6-9F1C-23CCFE770868}" type="presParOf" srcId="{FD246D05-EB06-4582-BA9B-CC9101E1A24B}" destId="{D3FBFB01-6311-4C58-B7A5-4EA70376F90E}" srcOrd="10" destOrd="0" presId="urn:microsoft.com/office/officeart/2011/layout/CircleProcess"/>
    <dgm:cxn modelId="{0BD6C971-F1CC-44C7-9127-56D68AF3270A}" type="presParOf" srcId="{D3FBFB01-6311-4C58-B7A5-4EA70376F90E}" destId="{448F32BF-E251-43CE-BA58-D06214E885A4}" srcOrd="0" destOrd="0" presId="urn:microsoft.com/office/officeart/2011/layout/CircleProcess"/>
    <dgm:cxn modelId="{55B79D9D-E5E0-4E62-8E1D-59436A41983C}" type="presParOf" srcId="{FD246D05-EB06-4582-BA9B-CC9101E1A24B}" destId="{F4021B97-77F3-4683-9DF0-E07A31CBF52F}" srcOrd="11" destOrd="0" presId="urn:microsoft.com/office/officeart/2011/layout/CircleProcess"/>
    <dgm:cxn modelId="{17B67FE1-0DAF-48A4-986B-8112C0F23025}" type="presParOf" srcId="{FD246D05-EB06-4582-BA9B-CC9101E1A24B}" destId="{5089BF6E-667B-411E-A0DC-DF3269DA773F}" srcOrd="12" destOrd="0" presId="urn:microsoft.com/office/officeart/2011/layout/CircleProcess"/>
    <dgm:cxn modelId="{32D0D300-46D6-438D-924F-81DEF29193E6}" type="presParOf" srcId="{5089BF6E-667B-411E-A0DC-DF3269DA773F}" destId="{DDED353F-1552-4490-AC0D-9DEF658998E0}" srcOrd="0" destOrd="0" presId="urn:microsoft.com/office/officeart/2011/layout/CircleProcess"/>
    <dgm:cxn modelId="{08A0C1CB-8A7F-4FA2-AEF8-B1A04A03D6A4}" type="presParOf" srcId="{FD246D05-EB06-4582-BA9B-CC9101E1A24B}" destId="{404CA857-2EB7-475E-8FB8-327D2AA66B63}" srcOrd="13" destOrd="0" presId="urn:microsoft.com/office/officeart/2011/layout/CircleProcess"/>
    <dgm:cxn modelId="{9BBECF89-7A28-422D-82F7-03179DDA8614}" type="presParOf" srcId="{404CA857-2EB7-475E-8FB8-327D2AA66B63}" destId="{D8909048-32F9-4E75-886C-3F57DCB37ED2}" srcOrd="0" destOrd="0" presId="urn:microsoft.com/office/officeart/2011/layout/CircleProcess"/>
    <dgm:cxn modelId="{3E593DDE-FA95-4E34-A2D8-444E587E0276}" type="presParOf" srcId="{FD246D05-EB06-4582-BA9B-CC9101E1A24B}" destId="{17B26BFB-E7AC-4791-AE35-D8F8073B497A}" srcOrd="14" destOrd="0" presId="urn:microsoft.com/office/officeart/2011/layout/CircleProcess"/>
    <dgm:cxn modelId="{0B207193-463A-43A1-A64A-A937961E9AC8}" type="presParOf" srcId="{FD246D05-EB06-4582-BA9B-CC9101E1A24B}" destId="{4990C671-F3ED-4644-9D62-9E67050B8D53}" srcOrd="15" destOrd="0" presId="urn:microsoft.com/office/officeart/2011/layout/CircleProcess"/>
    <dgm:cxn modelId="{07C6DF61-CC76-4498-9C10-206375A3D910}" type="presParOf" srcId="{4990C671-F3ED-4644-9D62-9E67050B8D53}" destId="{8D2D7A9D-E955-4BB2-B5A3-9D2886F6FA6B}" srcOrd="0" destOrd="0" presId="urn:microsoft.com/office/officeart/2011/layout/CircleProcess"/>
    <dgm:cxn modelId="{C1DAD701-989F-4EE6-9AAF-869011C62A65}" type="presParOf" srcId="{FD246D05-EB06-4582-BA9B-CC9101E1A24B}" destId="{786A8580-9EB5-4E0A-9429-4D2B895612FB}" srcOrd="16" destOrd="0" presId="urn:microsoft.com/office/officeart/2011/layout/CircleProcess"/>
    <dgm:cxn modelId="{BD05084C-8233-4C0F-A804-90A413DD773C}" type="presParOf" srcId="{786A8580-9EB5-4E0A-9429-4D2B895612FB}" destId="{7BD11445-825F-49E8-866F-A295A7411F9E}" srcOrd="0" destOrd="0" presId="urn:microsoft.com/office/officeart/2011/layout/CircleProcess"/>
    <dgm:cxn modelId="{983F8F03-35D5-4B7D-A672-93199FC42DB3}" type="presParOf" srcId="{FD246D05-EB06-4582-BA9B-CC9101E1A24B}" destId="{AE2B1CED-C2FB-435F-928F-AE66F1ACC55D}" srcOrd="17" destOrd="0" presId="urn:microsoft.com/office/officeart/2011/layout/CircleProcess"/>
    <dgm:cxn modelId="{2441E550-D0C6-49F3-8442-5816A93AF8F1}" type="presParOf" srcId="{FD246D05-EB06-4582-BA9B-CC9101E1A24B}" destId="{C7812AD2-6AC4-46A5-89A3-D91D3327F66A}" srcOrd="18" destOrd="0" presId="urn:microsoft.com/office/officeart/2011/layout/CircleProcess"/>
    <dgm:cxn modelId="{815C84A3-5A66-4AB9-9D86-81F14B04E1C1}" type="presParOf" srcId="{C7812AD2-6AC4-46A5-89A3-D91D3327F66A}" destId="{A0E88B4A-82D0-420B-925D-B7CBDDE07732}" srcOrd="0" destOrd="0" presId="urn:microsoft.com/office/officeart/2011/layout/CircleProcess"/>
    <dgm:cxn modelId="{90166A82-2B9F-4001-8536-4EEB9FC3FD51}" type="presParOf" srcId="{FD246D05-EB06-4582-BA9B-CC9101E1A24B}" destId="{022BFFB0-F20E-4A89-9F27-DCD8C3AADE46}" srcOrd="19" destOrd="0" presId="urn:microsoft.com/office/officeart/2011/layout/CircleProcess"/>
    <dgm:cxn modelId="{2F99E357-2A8E-44D7-9514-93B9DD824A8D}" type="presParOf" srcId="{022BFFB0-F20E-4A89-9F27-DCD8C3AADE46}" destId="{A31D6B98-94C5-4AF2-A4BB-0E5E7A5D422E}" srcOrd="0" destOrd="0" presId="urn:microsoft.com/office/officeart/2011/layout/CircleProcess"/>
    <dgm:cxn modelId="{D34C19A1-9E65-407E-8E4B-630BEC009945}" type="presParOf" srcId="{FD246D05-EB06-4582-BA9B-CC9101E1A24B}" destId="{892C52E5-60AA-4625-87D2-C8150E13465C}" srcOrd="20" destOrd="0" presId="urn:microsoft.com/office/officeart/2011/layout/CircleProcess"/>
    <dgm:cxn modelId="{5B27C445-31C1-42FF-8CB5-69A4554D6D2A}" type="presParOf" srcId="{FD246D05-EB06-4582-BA9B-CC9101E1A24B}" destId="{02E254E8-E6C9-4A10-A075-27256A136298}" srcOrd="21" destOrd="0" presId="urn:microsoft.com/office/officeart/2011/layout/CircleProcess"/>
    <dgm:cxn modelId="{4B2BB8EE-43C1-4721-ADEA-FC0062588D15}" type="presParOf" srcId="{02E254E8-E6C9-4A10-A075-27256A136298}" destId="{AADDE8E5-E4FD-4942-86DA-6E10E6C1A2F7}" srcOrd="0" destOrd="0" presId="urn:microsoft.com/office/officeart/2011/layout/CircleProcess"/>
    <dgm:cxn modelId="{034E8CD3-0765-40E7-AD9D-097EB9848201}" type="presParOf" srcId="{FD246D05-EB06-4582-BA9B-CC9101E1A24B}" destId="{9094654B-644F-4F58-908F-D50887BF43A2}" srcOrd="22" destOrd="0" presId="urn:microsoft.com/office/officeart/2011/layout/CircleProcess"/>
    <dgm:cxn modelId="{1D02E405-06B0-446D-B968-284D08C3AD7F}" type="presParOf" srcId="{9094654B-644F-4F58-908F-D50887BF43A2}" destId="{1F6E9D62-BBD0-463D-B544-4429B65D93E5}" srcOrd="0" destOrd="0" presId="urn:microsoft.com/office/officeart/2011/layout/CircleProcess"/>
    <dgm:cxn modelId="{7A1F0856-45B8-45D4-BA64-08C831C17511}" type="presParOf" srcId="{FD246D05-EB06-4582-BA9B-CC9101E1A24B}" destId="{13EC4AA8-65FC-4001-AF78-1B69BA2B0F53}" srcOrd="23" destOrd="0" presId="urn:microsoft.com/office/officeart/2011/layout/CircleProcess"/>
    <dgm:cxn modelId="{B5E4FDC0-B006-4BF1-B7BE-2A4B4FB19387}" type="presParOf" srcId="{FD246D05-EB06-4582-BA9B-CC9101E1A24B}" destId="{E30009A9-605B-4A6D-A9C6-2930E7448172}" srcOrd="24" destOrd="0" presId="urn:microsoft.com/office/officeart/2011/layout/CircleProcess"/>
    <dgm:cxn modelId="{052DAA84-6833-4891-B8C1-01F19E422975}" type="presParOf" srcId="{E30009A9-605B-4A6D-A9C6-2930E7448172}" destId="{896365B5-14BE-4479-B830-0B2FA3CB031B}" srcOrd="0" destOrd="0" presId="urn:microsoft.com/office/officeart/2011/layout/CircleProcess"/>
    <dgm:cxn modelId="{3FA7CD9C-00EF-4716-8C48-4E1B3AA690CC}" type="presParOf" srcId="{FD246D05-EB06-4582-BA9B-CC9101E1A24B}" destId="{23E44CAF-6494-466D-BACE-515F3814C320}" srcOrd="25" destOrd="0" presId="urn:microsoft.com/office/officeart/2011/layout/CircleProcess"/>
    <dgm:cxn modelId="{8FB81BB9-CA1B-41E3-A32D-7968B238D00D}" type="presParOf" srcId="{23E44CAF-6494-466D-BACE-515F3814C320}" destId="{5311A34D-6873-4ADD-90D8-B783C069773F}" srcOrd="0" destOrd="0" presId="urn:microsoft.com/office/officeart/2011/layout/CircleProcess"/>
    <dgm:cxn modelId="{2AE48841-CC1C-4175-8F5C-2CB659FEDD8A}" type="presParOf" srcId="{FD246D05-EB06-4582-BA9B-CC9101E1A24B}" destId="{C38329D9-E98B-4652-B582-A217D92856A4}" srcOrd="26"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8F6C6C-EA94-431C-B25D-70C23E847AD3}" type="doc">
      <dgm:prSet loTypeId="urn:microsoft.com/office/officeart/2005/8/layout/vList5" loCatId="list" qsTypeId="urn:microsoft.com/office/officeart/2005/8/quickstyle/simple5" qsCatId="simple" csTypeId="urn:microsoft.com/office/officeart/2005/8/colors/accent1_2" csCatId="accent1" phldr="1"/>
      <dgm:spPr/>
      <dgm:t>
        <a:bodyPr/>
        <a:lstStyle/>
        <a:p>
          <a:endParaRPr lang="en-US"/>
        </a:p>
      </dgm:t>
    </dgm:pt>
    <dgm:pt modelId="{846B5CD6-3C0F-45AB-AD55-9B76E23AC87E}">
      <dgm:prSet phldrT="[Text]"/>
      <dgm:spPr/>
      <dgm:t>
        <a:bodyPr/>
        <a:lstStyle/>
        <a:p>
          <a:r>
            <a:rPr lang="en-US" dirty="0"/>
            <a:t>Modem</a:t>
          </a:r>
        </a:p>
      </dgm:t>
    </dgm:pt>
    <dgm:pt modelId="{ADA839D4-EE68-45B4-AE60-AD035AB4870A}" type="parTrans" cxnId="{B6335AF1-CFB9-4B09-A83F-0D28F7B6BB77}">
      <dgm:prSet/>
      <dgm:spPr/>
      <dgm:t>
        <a:bodyPr/>
        <a:lstStyle/>
        <a:p>
          <a:endParaRPr lang="en-US"/>
        </a:p>
      </dgm:t>
    </dgm:pt>
    <dgm:pt modelId="{0AA62F1B-4D28-4E20-A57C-016FAD79B69D}" type="sibTrans" cxnId="{B6335AF1-CFB9-4B09-A83F-0D28F7B6BB77}">
      <dgm:prSet/>
      <dgm:spPr/>
      <dgm:t>
        <a:bodyPr/>
        <a:lstStyle/>
        <a:p>
          <a:endParaRPr lang="en-US"/>
        </a:p>
      </dgm:t>
    </dgm:pt>
    <dgm:pt modelId="{07A323EC-FA07-4334-B03E-BE52CC19DE10}">
      <dgm:prSet phldrT="[Text]"/>
      <dgm:spPr/>
      <dgm:t>
        <a:bodyPr/>
        <a:lstStyle/>
        <a:p>
          <a:r>
            <a:rPr lang="en-US" dirty="0"/>
            <a:t>Service Layer</a:t>
          </a:r>
        </a:p>
      </dgm:t>
    </dgm:pt>
    <dgm:pt modelId="{D8FAEC04-404F-4F05-B78B-AD92DB523E11}" type="parTrans" cxnId="{D59469A6-63F6-45A2-81F5-224494300929}">
      <dgm:prSet/>
      <dgm:spPr/>
      <dgm:t>
        <a:bodyPr/>
        <a:lstStyle/>
        <a:p>
          <a:endParaRPr lang="en-US"/>
        </a:p>
      </dgm:t>
    </dgm:pt>
    <dgm:pt modelId="{F3935D93-CB1A-478B-821D-2CD10C05B185}" type="sibTrans" cxnId="{D59469A6-63F6-45A2-81F5-224494300929}">
      <dgm:prSet/>
      <dgm:spPr/>
      <dgm:t>
        <a:bodyPr/>
        <a:lstStyle/>
        <a:p>
          <a:endParaRPr lang="en-US"/>
        </a:p>
      </dgm:t>
    </dgm:pt>
    <dgm:pt modelId="{7EE0BE32-591F-4D46-A300-88090AD87B4D}">
      <dgm:prSet phldrT="[Text]"/>
      <dgm:spPr/>
      <dgm:t>
        <a:bodyPr/>
        <a:lstStyle/>
        <a:p>
          <a:r>
            <a:rPr lang="en-US"/>
            <a:t>Feature </a:t>
          </a:r>
          <a:r>
            <a:rPr lang="en-US" dirty="0"/>
            <a:t>complete with Rel-19</a:t>
          </a:r>
        </a:p>
      </dgm:t>
    </dgm:pt>
    <dgm:pt modelId="{9584487E-EDFF-4295-9846-264E80F75BFA}" type="parTrans" cxnId="{C744B815-8F7D-4ADF-8C1D-B8DBB54A117F}">
      <dgm:prSet/>
      <dgm:spPr/>
      <dgm:t>
        <a:bodyPr/>
        <a:lstStyle/>
        <a:p>
          <a:endParaRPr lang="en-US"/>
        </a:p>
      </dgm:t>
    </dgm:pt>
    <dgm:pt modelId="{502D05F0-C9DD-469B-8B73-B5171E319C88}" type="sibTrans" cxnId="{C744B815-8F7D-4ADF-8C1D-B8DBB54A117F}">
      <dgm:prSet/>
      <dgm:spPr/>
      <dgm:t>
        <a:bodyPr/>
        <a:lstStyle/>
        <a:p>
          <a:endParaRPr lang="en-US"/>
        </a:p>
      </dgm:t>
    </dgm:pt>
    <dgm:pt modelId="{48E6D4EE-5EC6-449A-947D-2EF4F7053E6C}">
      <dgm:prSet phldrT="[Text]"/>
      <dgm:spPr/>
      <dgm:t>
        <a:bodyPr/>
        <a:lstStyle/>
        <a:p>
          <a:r>
            <a:rPr lang="en-US" dirty="0"/>
            <a:t>Profiling</a:t>
          </a:r>
        </a:p>
      </dgm:t>
    </dgm:pt>
    <dgm:pt modelId="{8AB39B81-1E9D-4575-83F0-71AE7376357E}" type="parTrans" cxnId="{92C29569-5882-4800-B886-D7F2968374D1}">
      <dgm:prSet/>
      <dgm:spPr/>
      <dgm:t>
        <a:bodyPr/>
        <a:lstStyle/>
        <a:p>
          <a:endParaRPr lang="en-US"/>
        </a:p>
      </dgm:t>
    </dgm:pt>
    <dgm:pt modelId="{340ADC44-BC36-4797-B181-DC74EF1F9923}" type="sibTrans" cxnId="{92C29569-5882-4800-B886-D7F2968374D1}">
      <dgm:prSet/>
      <dgm:spPr/>
      <dgm:t>
        <a:bodyPr/>
        <a:lstStyle/>
        <a:p>
          <a:endParaRPr lang="en-US"/>
        </a:p>
      </dgm:t>
    </dgm:pt>
    <dgm:pt modelId="{8F29D4A4-0214-4873-9CF8-EFD7265D96B5}">
      <dgm:prSet phldrT="[Text]"/>
      <dgm:spPr/>
      <dgm:t>
        <a:bodyPr/>
        <a:lstStyle/>
        <a:p>
          <a:r>
            <a:rPr lang="en-US" dirty="0"/>
            <a:t>Launch Profile stabilizing</a:t>
          </a:r>
        </a:p>
      </dgm:t>
    </dgm:pt>
    <dgm:pt modelId="{07C54266-ADCC-4AE9-90D0-BE451447EBDD}" type="parTrans" cxnId="{C9ED9BC2-4D2E-4046-BD01-E383E72AA6F0}">
      <dgm:prSet/>
      <dgm:spPr/>
      <dgm:t>
        <a:bodyPr/>
        <a:lstStyle/>
        <a:p>
          <a:endParaRPr lang="en-US"/>
        </a:p>
      </dgm:t>
    </dgm:pt>
    <dgm:pt modelId="{38CA6815-972B-404E-AA0C-CE8A869F1D62}" type="sibTrans" cxnId="{C9ED9BC2-4D2E-4046-BD01-E383E72AA6F0}">
      <dgm:prSet/>
      <dgm:spPr/>
      <dgm:t>
        <a:bodyPr/>
        <a:lstStyle/>
        <a:p>
          <a:endParaRPr lang="en-US"/>
        </a:p>
      </dgm:t>
    </dgm:pt>
    <dgm:pt modelId="{04189DB2-1C33-489D-A75D-F7FBE7A08F10}">
      <dgm:prSet phldrT="[Text]"/>
      <dgm:spPr/>
      <dgm:t>
        <a:bodyPr/>
        <a:lstStyle/>
        <a:p>
          <a:r>
            <a:rPr lang="en-US" dirty="0"/>
            <a:t>Middleware and APIs specified</a:t>
          </a:r>
        </a:p>
      </dgm:t>
    </dgm:pt>
    <dgm:pt modelId="{91D16994-BA96-4C47-BAC4-1BA3C87ACAB0}" type="parTrans" cxnId="{322ED39E-6AA7-4C7D-8405-5A9CDC211486}">
      <dgm:prSet/>
      <dgm:spPr/>
      <dgm:t>
        <a:bodyPr/>
        <a:lstStyle/>
        <a:p>
          <a:endParaRPr lang="en-US"/>
        </a:p>
      </dgm:t>
    </dgm:pt>
    <dgm:pt modelId="{80C43798-311D-47B8-B618-C6B7C48828D7}" type="sibTrans" cxnId="{322ED39E-6AA7-4C7D-8405-5A9CDC211486}">
      <dgm:prSet/>
      <dgm:spPr/>
      <dgm:t>
        <a:bodyPr/>
        <a:lstStyle/>
        <a:p>
          <a:endParaRPr lang="en-US"/>
        </a:p>
      </dgm:t>
    </dgm:pt>
    <dgm:pt modelId="{8FFAD1B6-2884-41D8-AA14-B355AE18FCDB}">
      <dgm:prSet phldrT="[Text]"/>
      <dgm:spPr/>
      <dgm:t>
        <a:bodyPr/>
        <a:lstStyle/>
        <a:p>
          <a:r>
            <a:rPr lang="en-US" dirty="0"/>
            <a:t>Testing and Interop</a:t>
          </a:r>
        </a:p>
      </dgm:t>
    </dgm:pt>
    <dgm:pt modelId="{0A8162F1-D73E-4300-BF4B-2527AA44F1D5}" type="parTrans" cxnId="{1C97044D-177F-4AAD-B683-C2B014BFE440}">
      <dgm:prSet/>
      <dgm:spPr/>
      <dgm:t>
        <a:bodyPr/>
        <a:lstStyle/>
        <a:p>
          <a:endParaRPr lang="en-US"/>
        </a:p>
      </dgm:t>
    </dgm:pt>
    <dgm:pt modelId="{53D7B702-6413-4298-87A6-184EFCB21AEB}" type="sibTrans" cxnId="{1C97044D-177F-4AAD-B683-C2B014BFE440}">
      <dgm:prSet/>
      <dgm:spPr/>
      <dgm:t>
        <a:bodyPr/>
        <a:lstStyle/>
        <a:p>
          <a:endParaRPr lang="en-US"/>
        </a:p>
      </dgm:t>
    </dgm:pt>
    <dgm:pt modelId="{29D01F6B-39D5-4B04-9A8E-4D30CCE28BC4}">
      <dgm:prSet phldrT="[Text]"/>
      <dgm:spPr/>
      <dgm:t>
        <a:bodyPr/>
        <a:lstStyle/>
        <a:p>
          <a:r>
            <a:rPr lang="en-US" dirty="0"/>
            <a:t>Network Interop (BNE) initiated</a:t>
          </a:r>
        </a:p>
      </dgm:t>
    </dgm:pt>
    <dgm:pt modelId="{399F4EBE-EF00-4EF9-9B53-9983BCA56C9E}" type="parTrans" cxnId="{DA0C90EE-EA9F-4900-B13E-CA9CCE328EA3}">
      <dgm:prSet/>
      <dgm:spPr/>
      <dgm:t>
        <a:bodyPr/>
        <a:lstStyle/>
        <a:p>
          <a:endParaRPr lang="en-US"/>
        </a:p>
      </dgm:t>
    </dgm:pt>
    <dgm:pt modelId="{290C4FD9-E3DA-4F6F-BFD3-D797048D7ACE}" type="sibTrans" cxnId="{DA0C90EE-EA9F-4900-B13E-CA9CCE328EA3}">
      <dgm:prSet/>
      <dgm:spPr/>
      <dgm:t>
        <a:bodyPr/>
        <a:lstStyle/>
        <a:p>
          <a:endParaRPr lang="en-US"/>
        </a:p>
      </dgm:t>
    </dgm:pt>
    <dgm:pt modelId="{28CD1D98-8B4D-4D90-A389-A2F32A507962}">
      <dgm:prSet phldrT="[Text]"/>
      <dgm:spPr/>
      <dgm:t>
        <a:bodyPr/>
        <a:lstStyle/>
        <a:p>
          <a:r>
            <a:rPr lang="en-US" dirty="0"/>
            <a:t>Device Interop (5G-MAG) in planning</a:t>
          </a:r>
        </a:p>
      </dgm:t>
    </dgm:pt>
    <dgm:pt modelId="{23AF382E-DD24-4E2C-8F6B-E210C6BF6D6A}" type="parTrans" cxnId="{9EACA0CC-D303-4D67-89BB-EF18CC68377A}">
      <dgm:prSet/>
      <dgm:spPr/>
      <dgm:t>
        <a:bodyPr/>
        <a:lstStyle/>
        <a:p>
          <a:endParaRPr lang="en-US"/>
        </a:p>
      </dgm:t>
    </dgm:pt>
    <dgm:pt modelId="{7923B6D8-D7BF-464C-B4C0-F5F661A2BACE}" type="sibTrans" cxnId="{9EACA0CC-D303-4D67-89BB-EF18CC68377A}">
      <dgm:prSet/>
      <dgm:spPr/>
      <dgm:t>
        <a:bodyPr/>
        <a:lstStyle/>
        <a:p>
          <a:endParaRPr lang="en-US"/>
        </a:p>
      </dgm:t>
    </dgm:pt>
    <dgm:pt modelId="{B54F7F9E-52F0-4C9A-B360-F5627C7DC086}">
      <dgm:prSet phldrT="[Text]"/>
      <dgm:spPr/>
      <dgm:t>
        <a:bodyPr/>
        <a:lstStyle/>
        <a:p>
          <a:r>
            <a:rPr lang="en-US" dirty="0"/>
            <a:t>Re-use of existing service layers and apps</a:t>
          </a:r>
        </a:p>
      </dgm:t>
    </dgm:pt>
    <dgm:pt modelId="{CEECAE8A-5FC2-4FEE-AD03-FF459F12C7FA}" type="sibTrans" cxnId="{3C04EC0D-839F-43D1-96B7-F1C1C915041E}">
      <dgm:prSet/>
      <dgm:spPr/>
      <dgm:t>
        <a:bodyPr/>
        <a:lstStyle/>
        <a:p>
          <a:endParaRPr lang="en-US"/>
        </a:p>
      </dgm:t>
    </dgm:pt>
    <dgm:pt modelId="{D222112E-18DF-4D4D-93CE-A4E3B14BE739}" type="parTrans" cxnId="{3C04EC0D-839F-43D1-96B7-F1C1C915041E}">
      <dgm:prSet/>
      <dgm:spPr/>
      <dgm:t>
        <a:bodyPr/>
        <a:lstStyle/>
        <a:p>
          <a:endParaRPr lang="en-US"/>
        </a:p>
      </dgm:t>
    </dgm:pt>
    <dgm:pt modelId="{BD6A8295-EDFE-4D86-A73D-77C140CF4E70}" type="pres">
      <dgm:prSet presAssocID="{DC8F6C6C-EA94-431C-B25D-70C23E847AD3}" presName="Name0" presStyleCnt="0">
        <dgm:presLayoutVars>
          <dgm:dir/>
          <dgm:animLvl val="lvl"/>
          <dgm:resizeHandles val="exact"/>
        </dgm:presLayoutVars>
      </dgm:prSet>
      <dgm:spPr/>
    </dgm:pt>
    <dgm:pt modelId="{F4A53F14-A1F7-482F-8539-3F952611CC8D}" type="pres">
      <dgm:prSet presAssocID="{846B5CD6-3C0F-45AB-AD55-9B76E23AC87E}" presName="linNode" presStyleCnt="0"/>
      <dgm:spPr/>
    </dgm:pt>
    <dgm:pt modelId="{0198165E-6B03-45F7-BF22-FE61B2138AA7}" type="pres">
      <dgm:prSet presAssocID="{846B5CD6-3C0F-45AB-AD55-9B76E23AC87E}" presName="parentText" presStyleLbl="node1" presStyleIdx="0" presStyleCnt="4">
        <dgm:presLayoutVars>
          <dgm:chMax val="1"/>
          <dgm:bulletEnabled val="1"/>
        </dgm:presLayoutVars>
      </dgm:prSet>
      <dgm:spPr/>
    </dgm:pt>
    <dgm:pt modelId="{23749EEB-B6EE-43F5-9C0A-2585C334408D}" type="pres">
      <dgm:prSet presAssocID="{846B5CD6-3C0F-45AB-AD55-9B76E23AC87E}" presName="descendantText" presStyleLbl="alignAccFollowNode1" presStyleIdx="0" presStyleCnt="4">
        <dgm:presLayoutVars>
          <dgm:bulletEnabled val="1"/>
        </dgm:presLayoutVars>
      </dgm:prSet>
      <dgm:spPr/>
    </dgm:pt>
    <dgm:pt modelId="{E0D09681-8C5C-455E-8690-24EA3F83C0D4}" type="pres">
      <dgm:prSet presAssocID="{0AA62F1B-4D28-4E20-A57C-016FAD79B69D}" presName="sp" presStyleCnt="0"/>
      <dgm:spPr/>
    </dgm:pt>
    <dgm:pt modelId="{D18FCBB8-9DD0-4519-8AA1-E642F0B4075E}" type="pres">
      <dgm:prSet presAssocID="{07A323EC-FA07-4334-B03E-BE52CC19DE10}" presName="linNode" presStyleCnt="0"/>
      <dgm:spPr/>
    </dgm:pt>
    <dgm:pt modelId="{A9808981-9E1B-49FA-AC8B-C02EB314F944}" type="pres">
      <dgm:prSet presAssocID="{07A323EC-FA07-4334-B03E-BE52CC19DE10}" presName="parentText" presStyleLbl="node1" presStyleIdx="1" presStyleCnt="4">
        <dgm:presLayoutVars>
          <dgm:chMax val="1"/>
          <dgm:bulletEnabled val="1"/>
        </dgm:presLayoutVars>
      </dgm:prSet>
      <dgm:spPr/>
    </dgm:pt>
    <dgm:pt modelId="{498FD129-B8AC-4A6A-B3AE-BF1912A546AF}" type="pres">
      <dgm:prSet presAssocID="{07A323EC-FA07-4334-B03E-BE52CC19DE10}" presName="descendantText" presStyleLbl="alignAccFollowNode1" presStyleIdx="1" presStyleCnt="4">
        <dgm:presLayoutVars>
          <dgm:bulletEnabled val="1"/>
        </dgm:presLayoutVars>
      </dgm:prSet>
      <dgm:spPr/>
    </dgm:pt>
    <dgm:pt modelId="{08B6A6D3-2625-47D6-8C75-5150295B3816}" type="pres">
      <dgm:prSet presAssocID="{F3935D93-CB1A-478B-821D-2CD10C05B185}" presName="sp" presStyleCnt="0"/>
      <dgm:spPr/>
    </dgm:pt>
    <dgm:pt modelId="{DFB43322-95A2-4917-A6E8-BF75DB93EE2D}" type="pres">
      <dgm:prSet presAssocID="{48E6D4EE-5EC6-449A-947D-2EF4F7053E6C}" presName="linNode" presStyleCnt="0"/>
      <dgm:spPr/>
    </dgm:pt>
    <dgm:pt modelId="{9FE2B523-2B72-4E4C-9A3F-2A1F6DC4354F}" type="pres">
      <dgm:prSet presAssocID="{48E6D4EE-5EC6-449A-947D-2EF4F7053E6C}" presName="parentText" presStyleLbl="node1" presStyleIdx="2" presStyleCnt="4">
        <dgm:presLayoutVars>
          <dgm:chMax val="1"/>
          <dgm:bulletEnabled val="1"/>
        </dgm:presLayoutVars>
      </dgm:prSet>
      <dgm:spPr/>
    </dgm:pt>
    <dgm:pt modelId="{88F36C44-21A7-44F5-A275-F0A9DE88AEA0}" type="pres">
      <dgm:prSet presAssocID="{48E6D4EE-5EC6-449A-947D-2EF4F7053E6C}" presName="descendantText" presStyleLbl="alignAccFollowNode1" presStyleIdx="2" presStyleCnt="4">
        <dgm:presLayoutVars>
          <dgm:bulletEnabled val="1"/>
        </dgm:presLayoutVars>
      </dgm:prSet>
      <dgm:spPr/>
    </dgm:pt>
    <dgm:pt modelId="{779B90D8-39F2-4B21-8D71-8EBD929F2A5E}" type="pres">
      <dgm:prSet presAssocID="{340ADC44-BC36-4797-B181-DC74EF1F9923}" presName="sp" presStyleCnt="0"/>
      <dgm:spPr/>
    </dgm:pt>
    <dgm:pt modelId="{FB7C1548-E54B-48F7-A626-D5A908980563}" type="pres">
      <dgm:prSet presAssocID="{8FFAD1B6-2884-41D8-AA14-B355AE18FCDB}" presName="linNode" presStyleCnt="0"/>
      <dgm:spPr/>
    </dgm:pt>
    <dgm:pt modelId="{75CA3D0B-E6B1-452E-9467-05251933C35F}" type="pres">
      <dgm:prSet presAssocID="{8FFAD1B6-2884-41D8-AA14-B355AE18FCDB}" presName="parentText" presStyleLbl="node1" presStyleIdx="3" presStyleCnt="4">
        <dgm:presLayoutVars>
          <dgm:chMax val="1"/>
          <dgm:bulletEnabled val="1"/>
        </dgm:presLayoutVars>
      </dgm:prSet>
      <dgm:spPr/>
    </dgm:pt>
    <dgm:pt modelId="{71E3DB55-46CD-4634-8F7C-6FDB1EEB8E8A}" type="pres">
      <dgm:prSet presAssocID="{8FFAD1B6-2884-41D8-AA14-B355AE18FCDB}" presName="descendantText" presStyleLbl="alignAccFollowNode1" presStyleIdx="3" presStyleCnt="4">
        <dgm:presLayoutVars>
          <dgm:bulletEnabled val="1"/>
        </dgm:presLayoutVars>
      </dgm:prSet>
      <dgm:spPr/>
    </dgm:pt>
  </dgm:ptLst>
  <dgm:cxnLst>
    <dgm:cxn modelId="{3C04EC0D-839F-43D1-96B7-F1C1C915041E}" srcId="{07A323EC-FA07-4334-B03E-BE52CC19DE10}" destId="{B54F7F9E-52F0-4C9A-B360-F5627C7DC086}" srcOrd="1" destOrd="0" parTransId="{D222112E-18DF-4D4D-93CE-A4E3B14BE739}" sibTransId="{CEECAE8A-5FC2-4FEE-AD03-FF459F12C7FA}"/>
    <dgm:cxn modelId="{14A68A15-386E-4B86-AB71-7B88300F3C39}" type="presOf" srcId="{28CD1D98-8B4D-4D90-A389-A2F32A507962}" destId="{71E3DB55-46CD-4634-8F7C-6FDB1EEB8E8A}" srcOrd="0" destOrd="1" presId="urn:microsoft.com/office/officeart/2005/8/layout/vList5"/>
    <dgm:cxn modelId="{C744B815-8F7D-4ADF-8C1D-B8DBB54A117F}" srcId="{846B5CD6-3C0F-45AB-AD55-9B76E23AC87E}" destId="{7EE0BE32-591F-4D46-A300-88090AD87B4D}" srcOrd="0" destOrd="0" parTransId="{9584487E-EDFF-4295-9846-264E80F75BFA}" sibTransId="{502D05F0-C9DD-469B-8B73-B5171E319C88}"/>
    <dgm:cxn modelId="{C83EED1F-E1CC-4A3C-AB99-A5372B9A84AF}" type="presOf" srcId="{8F29D4A4-0214-4873-9CF8-EFD7265D96B5}" destId="{88F36C44-21A7-44F5-A275-F0A9DE88AEA0}" srcOrd="0" destOrd="0" presId="urn:microsoft.com/office/officeart/2005/8/layout/vList5"/>
    <dgm:cxn modelId="{C8560C2E-60EF-4063-BE61-DED68F855DE6}" type="presOf" srcId="{48E6D4EE-5EC6-449A-947D-2EF4F7053E6C}" destId="{9FE2B523-2B72-4E4C-9A3F-2A1F6DC4354F}" srcOrd="0" destOrd="0" presId="urn:microsoft.com/office/officeart/2005/8/layout/vList5"/>
    <dgm:cxn modelId="{92C29569-5882-4800-B886-D7F2968374D1}" srcId="{DC8F6C6C-EA94-431C-B25D-70C23E847AD3}" destId="{48E6D4EE-5EC6-449A-947D-2EF4F7053E6C}" srcOrd="2" destOrd="0" parTransId="{8AB39B81-1E9D-4575-83F0-71AE7376357E}" sibTransId="{340ADC44-BC36-4797-B181-DC74EF1F9923}"/>
    <dgm:cxn modelId="{1C97044D-177F-4AAD-B683-C2B014BFE440}" srcId="{DC8F6C6C-EA94-431C-B25D-70C23E847AD3}" destId="{8FFAD1B6-2884-41D8-AA14-B355AE18FCDB}" srcOrd="3" destOrd="0" parTransId="{0A8162F1-D73E-4300-BF4B-2527AA44F1D5}" sibTransId="{53D7B702-6413-4298-87A6-184EFCB21AEB}"/>
    <dgm:cxn modelId="{D36EED85-4B56-4F64-BF02-313794660386}" type="presOf" srcId="{07A323EC-FA07-4334-B03E-BE52CC19DE10}" destId="{A9808981-9E1B-49FA-AC8B-C02EB314F944}" srcOrd="0" destOrd="0" presId="urn:microsoft.com/office/officeart/2005/8/layout/vList5"/>
    <dgm:cxn modelId="{322ED39E-6AA7-4C7D-8405-5A9CDC211486}" srcId="{07A323EC-FA07-4334-B03E-BE52CC19DE10}" destId="{04189DB2-1C33-489D-A75D-F7FBE7A08F10}" srcOrd="0" destOrd="0" parTransId="{91D16994-BA96-4C47-BAC4-1BA3C87ACAB0}" sibTransId="{80C43798-311D-47B8-B618-C6B7C48828D7}"/>
    <dgm:cxn modelId="{D59469A6-63F6-45A2-81F5-224494300929}" srcId="{DC8F6C6C-EA94-431C-B25D-70C23E847AD3}" destId="{07A323EC-FA07-4334-B03E-BE52CC19DE10}" srcOrd="1" destOrd="0" parTransId="{D8FAEC04-404F-4F05-B78B-AD92DB523E11}" sibTransId="{F3935D93-CB1A-478B-821D-2CD10C05B185}"/>
    <dgm:cxn modelId="{B76149C0-9A14-4C1F-BC5F-0262A8C041C0}" type="presOf" srcId="{846B5CD6-3C0F-45AB-AD55-9B76E23AC87E}" destId="{0198165E-6B03-45F7-BF22-FE61B2138AA7}" srcOrd="0" destOrd="0" presId="urn:microsoft.com/office/officeart/2005/8/layout/vList5"/>
    <dgm:cxn modelId="{C9ED9BC2-4D2E-4046-BD01-E383E72AA6F0}" srcId="{48E6D4EE-5EC6-449A-947D-2EF4F7053E6C}" destId="{8F29D4A4-0214-4873-9CF8-EFD7265D96B5}" srcOrd="0" destOrd="0" parTransId="{07C54266-ADCC-4AE9-90D0-BE451447EBDD}" sibTransId="{38CA6815-972B-404E-AA0C-CE8A869F1D62}"/>
    <dgm:cxn modelId="{9EACA0CC-D303-4D67-89BB-EF18CC68377A}" srcId="{8FFAD1B6-2884-41D8-AA14-B355AE18FCDB}" destId="{28CD1D98-8B4D-4D90-A389-A2F32A507962}" srcOrd="1" destOrd="0" parTransId="{23AF382E-DD24-4E2C-8F6B-E210C6BF6D6A}" sibTransId="{7923B6D8-D7BF-464C-B4C0-F5F661A2BACE}"/>
    <dgm:cxn modelId="{A417A0CD-9D12-4DDD-9F26-5BEB9792E2D8}" type="presOf" srcId="{7EE0BE32-591F-4D46-A300-88090AD87B4D}" destId="{23749EEB-B6EE-43F5-9C0A-2585C334408D}" srcOrd="0" destOrd="0" presId="urn:microsoft.com/office/officeart/2005/8/layout/vList5"/>
    <dgm:cxn modelId="{57B222CF-CA2C-4E09-97EF-4EE8FD3C33A5}" type="presOf" srcId="{DC8F6C6C-EA94-431C-B25D-70C23E847AD3}" destId="{BD6A8295-EDFE-4D86-A73D-77C140CF4E70}" srcOrd="0" destOrd="0" presId="urn:microsoft.com/office/officeart/2005/8/layout/vList5"/>
    <dgm:cxn modelId="{C50B41E8-E22A-4F56-BAC3-C479B480758C}" type="presOf" srcId="{29D01F6B-39D5-4B04-9A8E-4D30CCE28BC4}" destId="{71E3DB55-46CD-4634-8F7C-6FDB1EEB8E8A}" srcOrd="0" destOrd="0" presId="urn:microsoft.com/office/officeart/2005/8/layout/vList5"/>
    <dgm:cxn modelId="{DA0C90EE-EA9F-4900-B13E-CA9CCE328EA3}" srcId="{8FFAD1B6-2884-41D8-AA14-B355AE18FCDB}" destId="{29D01F6B-39D5-4B04-9A8E-4D30CCE28BC4}" srcOrd="0" destOrd="0" parTransId="{399F4EBE-EF00-4EF9-9B53-9983BCA56C9E}" sibTransId="{290C4FD9-E3DA-4F6F-BFD3-D797048D7ACE}"/>
    <dgm:cxn modelId="{2B74B0EE-A16C-4B8C-A4D9-84F8D8D87274}" type="presOf" srcId="{04189DB2-1C33-489D-A75D-F7FBE7A08F10}" destId="{498FD129-B8AC-4A6A-B3AE-BF1912A546AF}" srcOrd="0" destOrd="0" presId="urn:microsoft.com/office/officeart/2005/8/layout/vList5"/>
    <dgm:cxn modelId="{B6335AF1-CFB9-4B09-A83F-0D28F7B6BB77}" srcId="{DC8F6C6C-EA94-431C-B25D-70C23E847AD3}" destId="{846B5CD6-3C0F-45AB-AD55-9B76E23AC87E}" srcOrd="0" destOrd="0" parTransId="{ADA839D4-EE68-45B4-AE60-AD035AB4870A}" sibTransId="{0AA62F1B-4D28-4E20-A57C-016FAD79B69D}"/>
    <dgm:cxn modelId="{D936F4FB-374C-4D3D-AF5E-EED1F5F9F367}" type="presOf" srcId="{B54F7F9E-52F0-4C9A-B360-F5627C7DC086}" destId="{498FD129-B8AC-4A6A-B3AE-BF1912A546AF}" srcOrd="0" destOrd="1" presId="urn:microsoft.com/office/officeart/2005/8/layout/vList5"/>
    <dgm:cxn modelId="{883ED9FC-3299-401C-89EC-0DED6F76F820}" type="presOf" srcId="{8FFAD1B6-2884-41D8-AA14-B355AE18FCDB}" destId="{75CA3D0B-E6B1-452E-9467-05251933C35F}" srcOrd="0" destOrd="0" presId="urn:microsoft.com/office/officeart/2005/8/layout/vList5"/>
    <dgm:cxn modelId="{083973E5-5591-463B-909B-FBB1CCA41163}" type="presParOf" srcId="{BD6A8295-EDFE-4D86-A73D-77C140CF4E70}" destId="{F4A53F14-A1F7-482F-8539-3F952611CC8D}" srcOrd="0" destOrd="0" presId="urn:microsoft.com/office/officeart/2005/8/layout/vList5"/>
    <dgm:cxn modelId="{8F10B40B-23EC-4381-A962-6F2061E77AB0}" type="presParOf" srcId="{F4A53F14-A1F7-482F-8539-3F952611CC8D}" destId="{0198165E-6B03-45F7-BF22-FE61B2138AA7}" srcOrd="0" destOrd="0" presId="urn:microsoft.com/office/officeart/2005/8/layout/vList5"/>
    <dgm:cxn modelId="{405BF7B4-586E-4FB4-8B9B-A006000A46C9}" type="presParOf" srcId="{F4A53F14-A1F7-482F-8539-3F952611CC8D}" destId="{23749EEB-B6EE-43F5-9C0A-2585C334408D}" srcOrd="1" destOrd="0" presId="urn:microsoft.com/office/officeart/2005/8/layout/vList5"/>
    <dgm:cxn modelId="{B03F6C2B-55F9-4063-9524-2542D0D8D1E1}" type="presParOf" srcId="{BD6A8295-EDFE-4D86-A73D-77C140CF4E70}" destId="{E0D09681-8C5C-455E-8690-24EA3F83C0D4}" srcOrd="1" destOrd="0" presId="urn:microsoft.com/office/officeart/2005/8/layout/vList5"/>
    <dgm:cxn modelId="{67CF110F-BB9B-4FC3-912B-8626CBA98ABC}" type="presParOf" srcId="{BD6A8295-EDFE-4D86-A73D-77C140CF4E70}" destId="{D18FCBB8-9DD0-4519-8AA1-E642F0B4075E}" srcOrd="2" destOrd="0" presId="urn:microsoft.com/office/officeart/2005/8/layout/vList5"/>
    <dgm:cxn modelId="{3FB011DA-49D9-432A-A52D-B35B82A5DA72}" type="presParOf" srcId="{D18FCBB8-9DD0-4519-8AA1-E642F0B4075E}" destId="{A9808981-9E1B-49FA-AC8B-C02EB314F944}" srcOrd="0" destOrd="0" presId="urn:microsoft.com/office/officeart/2005/8/layout/vList5"/>
    <dgm:cxn modelId="{65F3395B-2CA4-4A08-AE93-73B728625E13}" type="presParOf" srcId="{D18FCBB8-9DD0-4519-8AA1-E642F0B4075E}" destId="{498FD129-B8AC-4A6A-B3AE-BF1912A546AF}" srcOrd="1" destOrd="0" presId="urn:microsoft.com/office/officeart/2005/8/layout/vList5"/>
    <dgm:cxn modelId="{0C7F53BF-4985-4310-BD00-86CAEB4C1C12}" type="presParOf" srcId="{BD6A8295-EDFE-4D86-A73D-77C140CF4E70}" destId="{08B6A6D3-2625-47D6-8C75-5150295B3816}" srcOrd="3" destOrd="0" presId="urn:microsoft.com/office/officeart/2005/8/layout/vList5"/>
    <dgm:cxn modelId="{404F9154-A8BB-4DBA-8D9D-CE68CB160648}" type="presParOf" srcId="{BD6A8295-EDFE-4D86-A73D-77C140CF4E70}" destId="{DFB43322-95A2-4917-A6E8-BF75DB93EE2D}" srcOrd="4" destOrd="0" presId="urn:microsoft.com/office/officeart/2005/8/layout/vList5"/>
    <dgm:cxn modelId="{8DE928D1-64C1-4BA8-88A2-7919DC52AAA6}" type="presParOf" srcId="{DFB43322-95A2-4917-A6E8-BF75DB93EE2D}" destId="{9FE2B523-2B72-4E4C-9A3F-2A1F6DC4354F}" srcOrd="0" destOrd="0" presId="urn:microsoft.com/office/officeart/2005/8/layout/vList5"/>
    <dgm:cxn modelId="{DAF139AD-2D6E-4740-8CBA-AF2DE24BEA02}" type="presParOf" srcId="{DFB43322-95A2-4917-A6E8-BF75DB93EE2D}" destId="{88F36C44-21A7-44F5-A275-F0A9DE88AEA0}" srcOrd="1" destOrd="0" presId="urn:microsoft.com/office/officeart/2005/8/layout/vList5"/>
    <dgm:cxn modelId="{A11D32EF-09A1-48F3-BF09-0F3B95DA3407}" type="presParOf" srcId="{BD6A8295-EDFE-4D86-A73D-77C140CF4E70}" destId="{779B90D8-39F2-4B21-8D71-8EBD929F2A5E}" srcOrd="5" destOrd="0" presId="urn:microsoft.com/office/officeart/2005/8/layout/vList5"/>
    <dgm:cxn modelId="{8BACE2D2-64E5-4E7A-8B6B-68BC196B0304}" type="presParOf" srcId="{BD6A8295-EDFE-4D86-A73D-77C140CF4E70}" destId="{FB7C1548-E54B-48F7-A626-D5A908980563}" srcOrd="6" destOrd="0" presId="urn:microsoft.com/office/officeart/2005/8/layout/vList5"/>
    <dgm:cxn modelId="{C46AE23F-6226-4BC7-A8AB-93C8ADE32403}" type="presParOf" srcId="{FB7C1548-E54B-48F7-A626-D5A908980563}" destId="{75CA3D0B-E6B1-452E-9467-05251933C35F}" srcOrd="0" destOrd="0" presId="urn:microsoft.com/office/officeart/2005/8/layout/vList5"/>
    <dgm:cxn modelId="{38827F9B-B0C5-4B04-B541-68EFA95FFED8}" type="presParOf" srcId="{FB7C1548-E54B-48F7-A626-D5A908980563}" destId="{71E3DB55-46CD-4634-8F7C-6FDB1EEB8E8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2D2466-8D9A-4148-91BD-64A440D94252}" type="doc">
      <dgm:prSet loTypeId="urn:microsoft.com/office/officeart/2005/8/layout/bProcess4" loCatId="process" qsTypeId="urn:microsoft.com/office/officeart/2005/8/quickstyle/simple1" qsCatId="simple" csTypeId="urn:microsoft.com/office/officeart/2005/8/colors/colorful2" csCatId="colorful" phldr="1"/>
      <dgm:spPr/>
      <dgm:t>
        <a:bodyPr/>
        <a:lstStyle/>
        <a:p>
          <a:endParaRPr lang="en-US"/>
        </a:p>
      </dgm:t>
    </dgm:pt>
    <dgm:pt modelId="{67B935A4-3942-4775-B7F5-02C86D01A8B9}">
      <dgm:prSet phldrT="[Tex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he core idea about handhelds for 5G Broadcast is the full integration of the modem with commercially large scale SOCs, such as those available in flagship devices from large OEMs. This makes </a:t>
          </a:r>
          <a:r>
            <a:rPr kumimoji="0" lang="en-US" sz="1400" b="1"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 Broadcast a modem feature</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lang="en-US" sz="1400" dirty="0"/>
        </a:p>
      </dgm:t>
    </dgm:pt>
    <dgm:pt modelId="{E31A1AD4-A1BD-41CA-B158-063EC93B7D5B}" type="parTrans" cxnId="{616FA5FB-6828-4E3A-AFFF-378DFA132E18}">
      <dgm:prSet/>
      <dgm:spPr/>
      <dgm:t>
        <a:bodyPr/>
        <a:lstStyle/>
        <a:p>
          <a:endParaRPr lang="en-US" sz="1400"/>
        </a:p>
      </dgm:t>
    </dgm:pt>
    <dgm:pt modelId="{B17EFD60-BA0C-4AB4-A6EF-5E6E04B25407}" type="sibTrans" cxnId="{616FA5FB-6828-4E3A-AFFF-378DFA132E18}">
      <dgm:prSet custT="1"/>
      <dgm:spPr/>
      <dgm:t>
        <a:bodyPr/>
        <a:lstStyle/>
        <a:p>
          <a:pPr>
            <a:lnSpc>
              <a:spcPct val="100000"/>
            </a:lnSpc>
          </a:pPr>
          <a:endParaRPr lang="en-US" sz="1400"/>
        </a:p>
      </dgm:t>
    </dgm:pt>
    <dgm:pt modelId="{89DCA45A-CE33-43F9-AD6B-D3C4319BA43D}">
      <dgm:prSe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3GPP defines many features in each Release and a modem can only support a small subset, so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features</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nd their detailed parameters)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are selected by commercial needs </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and implementation complexity, area costs, etc. </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F5967A88-2D18-4206-8573-D81B2123422E}" type="parTrans" cxnId="{0048FEF7-E92B-4A45-9D4D-B0F8C1E3E461}">
      <dgm:prSet/>
      <dgm:spPr/>
      <dgm:t>
        <a:bodyPr/>
        <a:lstStyle/>
        <a:p>
          <a:endParaRPr lang="en-US" sz="1400"/>
        </a:p>
      </dgm:t>
    </dgm:pt>
    <dgm:pt modelId="{DB26E5DB-CE52-4A06-864A-715FA84BCB25}" type="sibTrans" cxnId="{0048FEF7-E92B-4A45-9D4D-B0F8C1E3E461}">
      <dgm:prSet custT="1"/>
      <dgm:spPr/>
      <dgm:t>
        <a:bodyPr/>
        <a:lstStyle/>
        <a:p>
          <a:pPr>
            <a:lnSpc>
              <a:spcPct val="100000"/>
            </a:lnSpc>
          </a:pPr>
          <a:endParaRPr lang="en-US" sz="1400"/>
        </a:p>
      </dgm:t>
    </dgm:pt>
    <dgm:pt modelId="{AD2F0333-4CB8-4565-B582-D0FFD18D1031}">
      <dgm:prSe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 Broadcast is defined such that the latter (implementation costs) are minimized by making the technology </a:t>
          </a:r>
          <a:r>
            <a:rPr kumimoji="0" lang="en-US" sz="1400" b="1"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hardware-compatible with existing SoCs</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66AA70B3-83A9-4EEC-845B-40AF6E46DC73}" type="parTrans" cxnId="{AFFC5411-1E6E-4D81-8052-E5DC6CB450FF}">
      <dgm:prSet/>
      <dgm:spPr/>
      <dgm:t>
        <a:bodyPr/>
        <a:lstStyle/>
        <a:p>
          <a:endParaRPr lang="en-US" sz="1400"/>
        </a:p>
      </dgm:t>
    </dgm:pt>
    <dgm:pt modelId="{06AA95AE-5321-411D-91DC-F299B49586CE}" type="sibTrans" cxnId="{AFFC5411-1E6E-4D81-8052-E5DC6CB450FF}">
      <dgm:prSet custT="1"/>
      <dgm:spPr/>
      <dgm:t>
        <a:bodyPr/>
        <a:lstStyle/>
        <a:p>
          <a:pPr>
            <a:lnSpc>
              <a:spcPct val="100000"/>
            </a:lnSpc>
          </a:pPr>
          <a:endParaRPr lang="en-US" sz="1400"/>
        </a:p>
      </dgm:t>
    </dgm:pt>
    <dgm:pt modelId="{F70CB283-F359-4CC5-8BD8-D4BEBF8BD6BA}">
      <dgm:prSet custT="1"/>
      <dgm:spPr/>
      <dgm:t>
        <a:bodyPr/>
        <a:lstStyle/>
        <a:p>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Acknowledging solidified plans from BNOs to start services in 2027, </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B is a seriously considered feature (a "contender") for upcoming modems and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coping of the feature has started </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identifying exact implementation requirements and costs).</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45C2913E-3957-43EF-B249-150143B79068}" type="parTrans" cxnId="{E92790B8-E960-47E1-8589-48C3B3AB0399}">
      <dgm:prSet/>
      <dgm:spPr/>
      <dgm:t>
        <a:bodyPr/>
        <a:lstStyle/>
        <a:p>
          <a:endParaRPr lang="en-US" sz="1400"/>
        </a:p>
      </dgm:t>
    </dgm:pt>
    <dgm:pt modelId="{7F72C8A5-B796-4ED9-B9FC-5D31F9E50ADB}" type="sibTrans" cxnId="{E92790B8-E960-47E1-8589-48C3B3AB0399}">
      <dgm:prSet custT="1"/>
      <dgm:spPr/>
      <dgm:t>
        <a:bodyPr/>
        <a:lstStyle/>
        <a:p>
          <a:pPr>
            <a:lnSpc>
              <a:spcPct val="100000"/>
            </a:lnSpc>
          </a:pPr>
          <a:endParaRPr lang="en-US" sz="1400"/>
        </a:p>
      </dgm:t>
    </dgm:pt>
    <dgm:pt modelId="{6E6C4E25-3A7E-4636-AE09-01541B26EF1B}">
      <dgm:prSe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tart of scoping is a result from consolidating business opportunities around the world. Moving forward, the process will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continue by consolidating implementation requirements and business opportunities </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in particular for OEMs to support the feature on their devices. </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1D120782-53E9-4EB1-A738-25A43A2295FE}" type="parTrans" cxnId="{6CA29D47-50AC-4217-A31A-F4FD69E2BB5B}">
      <dgm:prSet/>
      <dgm:spPr/>
      <dgm:t>
        <a:bodyPr/>
        <a:lstStyle/>
        <a:p>
          <a:endParaRPr lang="en-US" sz="1400"/>
        </a:p>
      </dgm:t>
    </dgm:pt>
    <dgm:pt modelId="{72D287AD-B72D-487E-8913-3AC7E9B39321}" type="sibTrans" cxnId="{6CA29D47-50AC-4217-A31A-F4FD69E2BB5B}">
      <dgm:prSet/>
      <dgm:spPr/>
      <dgm:t>
        <a:bodyPr/>
        <a:lstStyle/>
        <a:p>
          <a:pPr>
            <a:lnSpc>
              <a:spcPct val="100000"/>
            </a:lnSpc>
          </a:pPr>
          <a:endParaRPr lang="en-US" sz="1400"/>
        </a:p>
      </dgm:t>
    </dgm:pt>
    <dgm:pt modelId="{16F350F0-E37D-455E-B62B-03D82D9BE23D}">
      <dgm:prSet/>
      <dgm:spPr/>
      <dgm:t>
        <a:bodyPr/>
        <a:lstStyle/>
        <a:p>
          <a:r>
            <a:rPr lang="en-US" sz="140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Anticipating leading Android OEMs to be in market with H1/2028 models</a:t>
          </a: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 Qualcomm plans to support OEMs to meet their commercialization goals.</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E8376271-1A78-4588-A327-7E6D1696F7E2}" type="parTrans" cxnId="{23503B26-CF10-4DD3-91E3-C0C352FBFE5C}">
      <dgm:prSet/>
      <dgm:spPr/>
      <dgm:t>
        <a:bodyPr/>
        <a:lstStyle/>
        <a:p>
          <a:endParaRPr lang="en-US" sz="1400"/>
        </a:p>
      </dgm:t>
    </dgm:pt>
    <dgm:pt modelId="{D687B449-73B2-46FF-8FF9-EB44624138DA}" type="sibTrans" cxnId="{23503B26-CF10-4DD3-91E3-C0C352FBFE5C}">
      <dgm:prSet/>
      <dgm:spPr/>
      <dgm:t>
        <a:bodyPr/>
        <a:lstStyle/>
        <a:p>
          <a:pPr>
            <a:lnSpc>
              <a:spcPct val="100000"/>
            </a:lnSpc>
          </a:pPr>
          <a:endParaRPr lang="en-US" sz="1400"/>
        </a:p>
      </dgm:t>
    </dgm:pt>
    <dgm:pt modelId="{B679AA5C-908D-46B7-8EAB-97A1A5E06B76}">
      <dgm:prSet/>
      <dgm:spPr/>
      <dgm:t>
        <a:bodyPr/>
        <a:lstStyle/>
        <a:p>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ypically, a major feature like 5GB arrives to flagship devices </a:t>
          </a:r>
          <a:r>
            <a:rPr lang="en-US" sz="140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and waterfalls to lower tiers gradually. </a:t>
          </a: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Anticipating SOCs for other form factors such as CPE, compute, automotive to follow in a waterfall fashion</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20D269BC-E442-49F8-942E-39286B5D6EEB}" type="parTrans" cxnId="{A3DEF37F-19C2-4FB5-B3C2-B5199EC07564}">
      <dgm:prSet/>
      <dgm:spPr/>
      <dgm:t>
        <a:bodyPr/>
        <a:lstStyle/>
        <a:p>
          <a:endParaRPr lang="en-US" sz="1400"/>
        </a:p>
      </dgm:t>
    </dgm:pt>
    <dgm:pt modelId="{B904AB43-53D6-4EED-A959-0BE962977B41}" type="sibTrans" cxnId="{A3DEF37F-19C2-4FB5-B3C2-B5199EC07564}">
      <dgm:prSet/>
      <dgm:spPr/>
      <dgm:t>
        <a:bodyPr/>
        <a:lstStyle/>
        <a:p>
          <a:endParaRPr lang="en-US" sz="1400"/>
        </a:p>
      </dgm:t>
    </dgm:pt>
    <dgm:pt modelId="{124DC6B7-7CE7-47D3-8A07-63DF210495C1}">
      <dgm:prSe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he features to be added beyond what is already in the modem are primarily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receive-only", new frequency bands, new carrier bandwidths, concurrency with unicast, otherwise re-use</a:t>
          </a:r>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kumimoji="0" lang="en-US" sz="1400" b="0" i="0" u="none" strike="noStrike"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62F59E1C-B162-4BA9-8DB0-0031823F8C8F}" type="parTrans" cxnId="{CF394D27-9C14-448D-919C-F562F6F835A3}">
      <dgm:prSet/>
      <dgm:spPr/>
      <dgm:t>
        <a:bodyPr/>
        <a:lstStyle/>
        <a:p>
          <a:endParaRPr lang="en-US"/>
        </a:p>
      </dgm:t>
    </dgm:pt>
    <dgm:pt modelId="{789DD85D-BB50-451E-9E01-2BF498EA5476}" type="sibTrans" cxnId="{CF394D27-9C14-448D-919C-F562F6F835A3}">
      <dgm:prSet/>
      <dgm:spPr/>
      <dgm:t>
        <a:bodyPr/>
        <a:lstStyle/>
        <a:p>
          <a:endParaRPr lang="en-US"/>
        </a:p>
      </dgm:t>
    </dgm:pt>
    <dgm:pt modelId="{77637FCF-B11B-407A-81A1-EE42856CA5AA}">
      <dgm:prSet custT="1"/>
      <dgm:spPr/>
      <dgm:t>
        <a:bodyPr/>
        <a:lstStyle/>
        <a:p>
          <a:r>
            <a:rPr kumimoji="0" lang="en-US" sz="1400" b="0" i="0" u="none" strike="noStrike"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We are on track on making 5G Broadcast a reality and attractive to Service Providers and OEMs.  </a:t>
          </a:r>
          <a:r>
            <a:rPr kumimoji="0" lang="en-US" sz="1400" b="0" i="0" u="none" strike="noStrike"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tandards/Engineering focus now on implementation support of scoped features: test transmitters, test cases, etc.</a:t>
          </a:r>
          <a:endParaRPr kumimoji="0" lang="en-US" sz="1400" b="0" i="0" u="none" strike="noStrike" cap="none" spc="0" normalizeH="0" baseline="0" noProof="0" dirty="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gm:t>
    </dgm:pt>
    <dgm:pt modelId="{787BB71E-B519-4454-A43D-17E2111C129E}" type="parTrans" cxnId="{04C9B787-070C-4A66-B8D4-F87FBFA19098}">
      <dgm:prSet/>
      <dgm:spPr/>
      <dgm:t>
        <a:bodyPr/>
        <a:lstStyle/>
        <a:p>
          <a:endParaRPr lang="en-US"/>
        </a:p>
      </dgm:t>
    </dgm:pt>
    <dgm:pt modelId="{75AF4533-F525-4487-A085-17B43EBFBB96}" type="sibTrans" cxnId="{04C9B787-070C-4A66-B8D4-F87FBFA19098}">
      <dgm:prSet/>
      <dgm:spPr/>
      <dgm:t>
        <a:bodyPr/>
        <a:lstStyle/>
        <a:p>
          <a:endParaRPr lang="en-US"/>
        </a:p>
      </dgm:t>
    </dgm:pt>
    <dgm:pt modelId="{2186BED0-ACC7-4306-9380-1AB957F6F9B1}" type="pres">
      <dgm:prSet presAssocID="{802D2466-8D9A-4148-91BD-64A440D94252}" presName="Name0" presStyleCnt="0">
        <dgm:presLayoutVars>
          <dgm:dir/>
          <dgm:resizeHandles/>
        </dgm:presLayoutVars>
      </dgm:prSet>
      <dgm:spPr/>
    </dgm:pt>
    <dgm:pt modelId="{04A6537F-29A4-4A3F-A33D-4543106F9485}" type="pres">
      <dgm:prSet presAssocID="{67B935A4-3942-4775-B7F5-02C86D01A8B9}" presName="compNode" presStyleCnt="0"/>
      <dgm:spPr/>
    </dgm:pt>
    <dgm:pt modelId="{8ACEA08C-B3F0-4234-AF68-CA9218BCA4D0}" type="pres">
      <dgm:prSet presAssocID="{67B935A4-3942-4775-B7F5-02C86D01A8B9}" presName="dummyConnPt" presStyleCnt="0"/>
      <dgm:spPr/>
    </dgm:pt>
    <dgm:pt modelId="{6C25CF88-5CBE-4148-8034-0A6A56AB4124}" type="pres">
      <dgm:prSet presAssocID="{67B935A4-3942-4775-B7F5-02C86D01A8B9}" presName="node" presStyleLbl="node1" presStyleIdx="0" presStyleCnt="9">
        <dgm:presLayoutVars>
          <dgm:bulletEnabled val="1"/>
        </dgm:presLayoutVars>
      </dgm:prSet>
      <dgm:spPr/>
    </dgm:pt>
    <dgm:pt modelId="{5B64F774-3DA4-43F1-9F94-CC6471A1899B}" type="pres">
      <dgm:prSet presAssocID="{B17EFD60-BA0C-4AB4-A6EF-5E6E04B25407}" presName="sibTrans" presStyleLbl="bgSibTrans2D1" presStyleIdx="0" presStyleCnt="8"/>
      <dgm:spPr/>
    </dgm:pt>
    <dgm:pt modelId="{10638174-F5A5-42F9-A0DB-F598C228C69D}" type="pres">
      <dgm:prSet presAssocID="{89DCA45A-CE33-43F9-AD6B-D3C4319BA43D}" presName="compNode" presStyleCnt="0"/>
      <dgm:spPr/>
    </dgm:pt>
    <dgm:pt modelId="{7FCFC401-F4AA-49A4-BB20-C151376D2CD3}" type="pres">
      <dgm:prSet presAssocID="{89DCA45A-CE33-43F9-AD6B-D3C4319BA43D}" presName="dummyConnPt" presStyleCnt="0"/>
      <dgm:spPr/>
    </dgm:pt>
    <dgm:pt modelId="{2A377818-515F-446A-BAEC-7BF1BB2C3954}" type="pres">
      <dgm:prSet presAssocID="{89DCA45A-CE33-43F9-AD6B-D3C4319BA43D}" presName="node" presStyleLbl="node1" presStyleIdx="1" presStyleCnt="9">
        <dgm:presLayoutVars>
          <dgm:bulletEnabled val="1"/>
        </dgm:presLayoutVars>
      </dgm:prSet>
      <dgm:spPr/>
    </dgm:pt>
    <dgm:pt modelId="{4DD5D522-3BCD-4540-B8C6-B6D4883DF1C5}" type="pres">
      <dgm:prSet presAssocID="{DB26E5DB-CE52-4A06-864A-715FA84BCB25}" presName="sibTrans" presStyleLbl="bgSibTrans2D1" presStyleIdx="1" presStyleCnt="8"/>
      <dgm:spPr/>
    </dgm:pt>
    <dgm:pt modelId="{432B5458-1022-466E-B173-6F5729AEA4DB}" type="pres">
      <dgm:prSet presAssocID="{AD2F0333-4CB8-4565-B582-D0FFD18D1031}" presName="compNode" presStyleCnt="0"/>
      <dgm:spPr/>
    </dgm:pt>
    <dgm:pt modelId="{B9EF9ED8-0DC4-4EB6-9F5A-0C66E7B669F8}" type="pres">
      <dgm:prSet presAssocID="{AD2F0333-4CB8-4565-B582-D0FFD18D1031}" presName="dummyConnPt" presStyleCnt="0"/>
      <dgm:spPr/>
    </dgm:pt>
    <dgm:pt modelId="{6DFFB650-5E3D-411B-A7C5-DB6CDA83B7AF}" type="pres">
      <dgm:prSet presAssocID="{AD2F0333-4CB8-4565-B582-D0FFD18D1031}" presName="node" presStyleLbl="node1" presStyleIdx="2" presStyleCnt="9">
        <dgm:presLayoutVars>
          <dgm:bulletEnabled val="1"/>
        </dgm:presLayoutVars>
      </dgm:prSet>
      <dgm:spPr/>
    </dgm:pt>
    <dgm:pt modelId="{003AE034-038E-44A6-A789-D9FC8053BAFE}" type="pres">
      <dgm:prSet presAssocID="{06AA95AE-5321-411D-91DC-F299B49586CE}" presName="sibTrans" presStyleLbl="bgSibTrans2D1" presStyleIdx="2" presStyleCnt="8"/>
      <dgm:spPr/>
    </dgm:pt>
    <dgm:pt modelId="{C90788ED-53C0-44F1-A336-9572639033DE}" type="pres">
      <dgm:prSet presAssocID="{124DC6B7-7CE7-47D3-8A07-63DF210495C1}" presName="compNode" presStyleCnt="0"/>
      <dgm:spPr/>
    </dgm:pt>
    <dgm:pt modelId="{2A3602D4-3A90-4809-803F-BB3AA3596E68}" type="pres">
      <dgm:prSet presAssocID="{124DC6B7-7CE7-47D3-8A07-63DF210495C1}" presName="dummyConnPt" presStyleCnt="0"/>
      <dgm:spPr/>
    </dgm:pt>
    <dgm:pt modelId="{77FEFFDA-F0FF-4248-8E56-B2C565C42EF6}" type="pres">
      <dgm:prSet presAssocID="{124DC6B7-7CE7-47D3-8A07-63DF210495C1}" presName="node" presStyleLbl="node1" presStyleIdx="3" presStyleCnt="9">
        <dgm:presLayoutVars>
          <dgm:bulletEnabled val="1"/>
        </dgm:presLayoutVars>
      </dgm:prSet>
      <dgm:spPr/>
    </dgm:pt>
    <dgm:pt modelId="{B32D2186-26B7-49C3-87E3-A04B344BD735}" type="pres">
      <dgm:prSet presAssocID="{789DD85D-BB50-451E-9E01-2BF498EA5476}" presName="sibTrans" presStyleLbl="bgSibTrans2D1" presStyleIdx="3" presStyleCnt="8"/>
      <dgm:spPr/>
    </dgm:pt>
    <dgm:pt modelId="{CE3A54D8-E5CA-4E89-9EBA-1D27E9AA219F}" type="pres">
      <dgm:prSet presAssocID="{F70CB283-F359-4CC5-8BD8-D4BEBF8BD6BA}" presName="compNode" presStyleCnt="0"/>
      <dgm:spPr/>
    </dgm:pt>
    <dgm:pt modelId="{454FF917-2DBB-408E-BFB2-7C11D70CE0BA}" type="pres">
      <dgm:prSet presAssocID="{F70CB283-F359-4CC5-8BD8-D4BEBF8BD6BA}" presName="dummyConnPt" presStyleCnt="0"/>
      <dgm:spPr/>
    </dgm:pt>
    <dgm:pt modelId="{D59A891D-2475-4C92-9241-9B5DFE372351}" type="pres">
      <dgm:prSet presAssocID="{F70CB283-F359-4CC5-8BD8-D4BEBF8BD6BA}" presName="node" presStyleLbl="node1" presStyleIdx="4" presStyleCnt="9">
        <dgm:presLayoutVars>
          <dgm:bulletEnabled val="1"/>
        </dgm:presLayoutVars>
      </dgm:prSet>
      <dgm:spPr/>
    </dgm:pt>
    <dgm:pt modelId="{AD28C696-A664-4B93-8474-1271A2945BCC}" type="pres">
      <dgm:prSet presAssocID="{7F72C8A5-B796-4ED9-B9FC-5D31F9E50ADB}" presName="sibTrans" presStyleLbl="bgSibTrans2D1" presStyleIdx="4" presStyleCnt="8"/>
      <dgm:spPr/>
    </dgm:pt>
    <dgm:pt modelId="{564A5E9C-3218-49FB-BD5A-4E1710AC235C}" type="pres">
      <dgm:prSet presAssocID="{6E6C4E25-3A7E-4636-AE09-01541B26EF1B}" presName="compNode" presStyleCnt="0"/>
      <dgm:spPr/>
    </dgm:pt>
    <dgm:pt modelId="{63735F52-1070-4CF8-BD95-1322635AF10A}" type="pres">
      <dgm:prSet presAssocID="{6E6C4E25-3A7E-4636-AE09-01541B26EF1B}" presName="dummyConnPt" presStyleCnt="0"/>
      <dgm:spPr/>
    </dgm:pt>
    <dgm:pt modelId="{A2FAA643-2175-451B-B0B3-FCDE5DD084E9}" type="pres">
      <dgm:prSet presAssocID="{6E6C4E25-3A7E-4636-AE09-01541B26EF1B}" presName="node" presStyleLbl="node1" presStyleIdx="5" presStyleCnt="9">
        <dgm:presLayoutVars>
          <dgm:bulletEnabled val="1"/>
        </dgm:presLayoutVars>
      </dgm:prSet>
      <dgm:spPr/>
    </dgm:pt>
    <dgm:pt modelId="{9C670752-98F3-459F-BF4A-8D12CE95A93C}" type="pres">
      <dgm:prSet presAssocID="{72D287AD-B72D-487E-8913-3AC7E9B39321}" presName="sibTrans" presStyleLbl="bgSibTrans2D1" presStyleIdx="5" presStyleCnt="8"/>
      <dgm:spPr/>
    </dgm:pt>
    <dgm:pt modelId="{AC3696F0-C8A8-47CE-9DC2-1EBF1E922B1A}" type="pres">
      <dgm:prSet presAssocID="{77637FCF-B11B-407A-81A1-EE42856CA5AA}" presName="compNode" presStyleCnt="0"/>
      <dgm:spPr/>
    </dgm:pt>
    <dgm:pt modelId="{B4861530-6214-41AE-9F62-F38894A5F47F}" type="pres">
      <dgm:prSet presAssocID="{77637FCF-B11B-407A-81A1-EE42856CA5AA}" presName="dummyConnPt" presStyleCnt="0"/>
      <dgm:spPr/>
    </dgm:pt>
    <dgm:pt modelId="{E1EB28D9-D921-4E76-8682-6A0EFE839E4F}" type="pres">
      <dgm:prSet presAssocID="{77637FCF-B11B-407A-81A1-EE42856CA5AA}" presName="node" presStyleLbl="node1" presStyleIdx="6" presStyleCnt="9">
        <dgm:presLayoutVars>
          <dgm:bulletEnabled val="1"/>
        </dgm:presLayoutVars>
      </dgm:prSet>
      <dgm:spPr/>
    </dgm:pt>
    <dgm:pt modelId="{FF95AD77-2631-444D-A95B-26372ECCA71C}" type="pres">
      <dgm:prSet presAssocID="{75AF4533-F525-4487-A085-17B43EBFBB96}" presName="sibTrans" presStyleLbl="bgSibTrans2D1" presStyleIdx="6" presStyleCnt="8"/>
      <dgm:spPr/>
    </dgm:pt>
    <dgm:pt modelId="{D9F78718-8C9A-4B2B-8D96-63B6C7AB065A}" type="pres">
      <dgm:prSet presAssocID="{16F350F0-E37D-455E-B62B-03D82D9BE23D}" presName="compNode" presStyleCnt="0"/>
      <dgm:spPr/>
    </dgm:pt>
    <dgm:pt modelId="{47ED5E49-BBE9-4CEC-A227-9D8D841B37B6}" type="pres">
      <dgm:prSet presAssocID="{16F350F0-E37D-455E-B62B-03D82D9BE23D}" presName="dummyConnPt" presStyleCnt="0"/>
      <dgm:spPr/>
    </dgm:pt>
    <dgm:pt modelId="{CE8C9198-E3D9-4F5E-948C-F8DB93219873}" type="pres">
      <dgm:prSet presAssocID="{16F350F0-E37D-455E-B62B-03D82D9BE23D}" presName="node" presStyleLbl="node1" presStyleIdx="7" presStyleCnt="9">
        <dgm:presLayoutVars>
          <dgm:bulletEnabled val="1"/>
        </dgm:presLayoutVars>
      </dgm:prSet>
      <dgm:spPr/>
    </dgm:pt>
    <dgm:pt modelId="{6AC74C17-4678-4232-BBDE-AEB4078522A9}" type="pres">
      <dgm:prSet presAssocID="{D687B449-73B2-46FF-8FF9-EB44624138DA}" presName="sibTrans" presStyleLbl="bgSibTrans2D1" presStyleIdx="7" presStyleCnt="8"/>
      <dgm:spPr/>
    </dgm:pt>
    <dgm:pt modelId="{11BACA67-1797-40C3-9A18-6BC10106AD50}" type="pres">
      <dgm:prSet presAssocID="{B679AA5C-908D-46B7-8EAB-97A1A5E06B76}" presName="compNode" presStyleCnt="0"/>
      <dgm:spPr/>
    </dgm:pt>
    <dgm:pt modelId="{C976C446-4B0D-4F7F-99B5-D1434177DC94}" type="pres">
      <dgm:prSet presAssocID="{B679AA5C-908D-46B7-8EAB-97A1A5E06B76}" presName="dummyConnPt" presStyleCnt="0"/>
      <dgm:spPr/>
    </dgm:pt>
    <dgm:pt modelId="{E4071922-FA39-4936-BC6C-6F9869F94C93}" type="pres">
      <dgm:prSet presAssocID="{B679AA5C-908D-46B7-8EAB-97A1A5E06B76}" presName="node" presStyleLbl="node1" presStyleIdx="8" presStyleCnt="9">
        <dgm:presLayoutVars>
          <dgm:bulletEnabled val="1"/>
        </dgm:presLayoutVars>
      </dgm:prSet>
      <dgm:spPr/>
    </dgm:pt>
  </dgm:ptLst>
  <dgm:cxnLst>
    <dgm:cxn modelId="{46F68302-25C9-4ECA-9666-3C928B7B640B}" type="presOf" srcId="{D687B449-73B2-46FF-8FF9-EB44624138DA}" destId="{6AC74C17-4678-4232-BBDE-AEB4078522A9}" srcOrd="0" destOrd="0" presId="urn:microsoft.com/office/officeart/2005/8/layout/bProcess4"/>
    <dgm:cxn modelId="{F75F900B-EA3D-4A75-952D-422E3D52A964}" type="presOf" srcId="{6E6C4E25-3A7E-4636-AE09-01541B26EF1B}" destId="{A2FAA643-2175-451B-B0B3-FCDE5DD084E9}" srcOrd="0" destOrd="0" presId="urn:microsoft.com/office/officeart/2005/8/layout/bProcess4"/>
    <dgm:cxn modelId="{AFFC5411-1E6E-4D81-8052-E5DC6CB450FF}" srcId="{802D2466-8D9A-4148-91BD-64A440D94252}" destId="{AD2F0333-4CB8-4565-B582-D0FFD18D1031}" srcOrd="2" destOrd="0" parTransId="{66AA70B3-83A9-4EEC-845B-40AF6E46DC73}" sibTransId="{06AA95AE-5321-411D-91DC-F299B49586CE}"/>
    <dgm:cxn modelId="{704E5521-AA1C-4269-BCEA-6C46347AC5B0}" type="presOf" srcId="{75AF4533-F525-4487-A085-17B43EBFBB96}" destId="{FF95AD77-2631-444D-A95B-26372ECCA71C}" srcOrd="0" destOrd="0" presId="urn:microsoft.com/office/officeart/2005/8/layout/bProcess4"/>
    <dgm:cxn modelId="{23503B26-CF10-4DD3-91E3-C0C352FBFE5C}" srcId="{802D2466-8D9A-4148-91BD-64A440D94252}" destId="{16F350F0-E37D-455E-B62B-03D82D9BE23D}" srcOrd="7" destOrd="0" parTransId="{E8376271-1A78-4588-A327-7E6D1696F7E2}" sibTransId="{D687B449-73B2-46FF-8FF9-EB44624138DA}"/>
    <dgm:cxn modelId="{CF394D27-9C14-448D-919C-F562F6F835A3}" srcId="{802D2466-8D9A-4148-91BD-64A440D94252}" destId="{124DC6B7-7CE7-47D3-8A07-63DF210495C1}" srcOrd="3" destOrd="0" parTransId="{62F59E1C-B162-4BA9-8DB0-0031823F8C8F}" sibTransId="{789DD85D-BB50-451E-9E01-2BF498EA5476}"/>
    <dgm:cxn modelId="{FC66D42B-D78A-4B99-A5B4-E528FE880BE2}" type="presOf" srcId="{7F72C8A5-B796-4ED9-B9FC-5D31F9E50ADB}" destId="{AD28C696-A664-4B93-8474-1271A2945BCC}" srcOrd="0" destOrd="0" presId="urn:microsoft.com/office/officeart/2005/8/layout/bProcess4"/>
    <dgm:cxn modelId="{EE981144-43D8-4EE1-8729-98DD3AEFBFD7}" type="presOf" srcId="{B679AA5C-908D-46B7-8EAB-97A1A5E06B76}" destId="{E4071922-FA39-4936-BC6C-6F9869F94C93}" srcOrd="0" destOrd="0" presId="urn:microsoft.com/office/officeart/2005/8/layout/bProcess4"/>
    <dgm:cxn modelId="{6CA29D47-50AC-4217-A31A-F4FD69E2BB5B}" srcId="{802D2466-8D9A-4148-91BD-64A440D94252}" destId="{6E6C4E25-3A7E-4636-AE09-01541B26EF1B}" srcOrd="5" destOrd="0" parTransId="{1D120782-53E9-4EB1-A738-25A43A2295FE}" sibTransId="{72D287AD-B72D-487E-8913-3AC7E9B39321}"/>
    <dgm:cxn modelId="{1A0A7668-83D8-4F88-8334-68FB44CF4ECA}" type="presOf" srcId="{AD2F0333-4CB8-4565-B582-D0FFD18D1031}" destId="{6DFFB650-5E3D-411B-A7C5-DB6CDA83B7AF}" srcOrd="0" destOrd="0" presId="urn:microsoft.com/office/officeart/2005/8/layout/bProcess4"/>
    <dgm:cxn modelId="{7DA3B54C-9EEE-497E-88DB-A115728D9E79}" type="presOf" srcId="{789DD85D-BB50-451E-9E01-2BF498EA5476}" destId="{B32D2186-26B7-49C3-87E3-A04B344BD735}" srcOrd="0" destOrd="0" presId="urn:microsoft.com/office/officeart/2005/8/layout/bProcess4"/>
    <dgm:cxn modelId="{DC9EF272-75D6-4F1A-9053-93B4AADB38AF}" type="presOf" srcId="{802D2466-8D9A-4148-91BD-64A440D94252}" destId="{2186BED0-ACC7-4306-9380-1AB957F6F9B1}" srcOrd="0" destOrd="0" presId="urn:microsoft.com/office/officeart/2005/8/layout/bProcess4"/>
    <dgm:cxn modelId="{83316377-BBD5-4657-B055-7DCC8BE7215B}" type="presOf" srcId="{06AA95AE-5321-411D-91DC-F299B49586CE}" destId="{003AE034-038E-44A6-A789-D9FC8053BAFE}" srcOrd="0" destOrd="0" presId="urn:microsoft.com/office/officeart/2005/8/layout/bProcess4"/>
    <dgm:cxn modelId="{A3DEF37F-19C2-4FB5-B3C2-B5199EC07564}" srcId="{802D2466-8D9A-4148-91BD-64A440D94252}" destId="{B679AA5C-908D-46B7-8EAB-97A1A5E06B76}" srcOrd="8" destOrd="0" parTransId="{20D269BC-E442-49F8-942E-39286B5D6EEB}" sibTransId="{B904AB43-53D6-4EED-A959-0BE962977B41}"/>
    <dgm:cxn modelId="{04C9B787-070C-4A66-B8D4-F87FBFA19098}" srcId="{802D2466-8D9A-4148-91BD-64A440D94252}" destId="{77637FCF-B11B-407A-81A1-EE42856CA5AA}" srcOrd="6" destOrd="0" parTransId="{787BB71E-B519-4454-A43D-17E2111C129E}" sibTransId="{75AF4533-F525-4487-A085-17B43EBFBB96}"/>
    <dgm:cxn modelId="{8B62238D-4D33-48A7-B855-BF3673BA8D81}" type="presOf" srcId="{DB26E5DB-CE52-4A06-864A-715FA84BCB25}" destId="{4DD5D522-3BCD-4540-B8C6-B6D4883DF1C5}" srcOrd="0" destOrd="0" presId="urn:microsoft.com/office/officeart/2005/8/layout/bProcess4"/>
    <dgm:cxn modelId="{2C74398D-B0FA-4782-BE8A-E0A70F2E0652}" type="presOf" srcId="{89DCA45A-CE33-43F9-AD6B-D3C4319BA43D}" destId="{2A377818-515F-446A-BAEC-7BF1BB2C3954}" srcOrd="0" destOrd="0" presId="urn:microsoft.com/office/officeart/2005/8/layout/bProcess4"/>
    <dgm:cxn modelId="{5BD44B97-3BA8-4D43-BA9F-82695E5EE511}" type="presOf" srcId="{72D287AD-B72D-487E-8913-3AC7E9B39321}" destId="{9C670752-98F3-459F-BF4A-8D12CE95A93C}" srcOrd="0" destOrd="0" presId="urn:microsoft.com/office/officeart/2005/8/layout/bProcess4"/>
    <dgm:cxn modelId="{CBA0F299-87A9-4BBB-BE00-249824114881}" type="presOf" srcId="{F70CB283-F359-4CC5-8BD8-D4BEBF8BD6BA}" destId="{D59A891D-2475-4C92-9241-9B5DFE372351}" srcOrd="0" destOrd="0" presId="urn:microsoft.com/office/officeart/2005/8/layout/bProcess4"/>
    <dgm:cxn modelId="{B792909B-919C-4C0F-985B-5CC646B82036}" type="presOf" srcId="{77637FCF-B11B-407A-81A1-EE42856CA5AA}" destId="{E1EB28D9-D921-4E76-8682-6A0EFE839E4F}" srcOrd="0" destOrd="0" presId="urn:microsoft.com/office/officeart/2005/8/layout/bProcess4"/>
    <dgm:cxn modelId="{DA70A3A4-F9FB-4C7B-8B92-9A3D849D8D4D}" type="presOf" srcId="{16F350F0-E37D-455E-B62B-03D82D9BE23D}" destId="{CE8C9198-E3D9-4F5E-948C-F8DB93219873}" srcOrd="0" destOrd="0" presId="urn:microsoft.com/office/officeart/2005/8/layout/bProcess4"/>
    <dgm:cxn modelId="{E92790B8-E960-47E1-8589-48C3B3AB0399}" srcId="{802D2466-8D9A-4148-91BD-64A440D94252}" destId="{F70CB283-F359-4CC5-8BD8-D4BEBF8BD6BA}" srcOrd="4" destOrd="0" parTransId="{45C2913E-3957-43EF-B249-150143B79068}" sibTransId="{7F72C8A5-B796-4ED9-B9FC-5D31F9E50ADB}"/>
    <dgm:cxn modelId="{5AA545CE-4733-4140-A406-07473C01D5E3}" type="presOf" srcId="{67B935A4-3942-4775-B7F5-02C86D01A8B9}" destId="{6C25CF88-5CBE-4148-8034-0A6A56AB4124}" srcOrd="0" destOrd="0" presId="urn:microsoft.com/office/officeart/2005/8/layout/bProcess4"/>
    <dgm:cxn modelId="{7B5835D5-BA74-4A06-AFBE-81CA3BC9B4DE}" type="presOf" srcId="{124DC6B7-7CE7-47D3-8A07-63DF210495C1}" destId="{77FEFFDA-F0FF-4248-8E56-B2C565C42EF6}" srcOrd="0" destOrd="0" presId="urn:microsoft.com/office/officeart/2005/8/layout/bProcess4"/>
    <dgm:cxn modelId="{0048FEF7-E92B-4A45-9D4D-B0F8C1E3E461}" srcId="{802D2466-8D9A-4148-91BD-64A440D94252}" destId="{89DCA45A-CE33-43F9-AD6B-D3C4319BA43D}" srcOrd="1" destOrd="0" parTransId="{F5967A88-2D18-4206-8573-D81B2123422E}" sibTransId="{DB26E5DB-CE52-4A06-864A-715FA84BCB25}"/>
    <dgm:cxn modelId="{C9A91CFB-FB92-40A4-AD03-2CE4C0DAC0A0}" type="presOf" srcId="{B17EFD60-BA0C-4AB4-A6EF-5E6E04B25407}" destId="{5B64F774-3DA4-43F1-9F94-CC6471A1899B}" srcOrd="0" destOrd="0" presId="urn:microsoft.com/office/officeart/2005/8/layout/bProcess4"/>
    <dgm:cxn modelId="{616FA5FB-6828-4E3A-AFFF-378DFA132E18}" srcId="{802D2466-8D9A-4148-91BD-64A440D94252}" destId="{67B935A4-3942-4775-B7F5-02C86D01A8B9}" srcOrd="0" destOrd="0" parTransId="{E31A1AD4-A1BD-41CA-B158-063EC93B7D5B}" sibTransId="{B17EFD60-BA0C-4AB4-A6EF-5E6E04B25407}"/>
    <dgm:cxn modelId="{E1288943-FDE8-4FD9-AEA9-8A53E0EA798E}" type="presParOf" srcId="{2186BED0-ACC7-4306-9380-1AB957F6F9B1}" destId="{04A6537F-29A4-4A3F-A33D-4543106F9485}" srcOrd="0" destOrd="0" presId="urn:microsoft.com/office/officeart/2005/8/layout/bProcess4"/>
    <dgm:cxn modelId="{D752C9AC-550D-47EE-B99A-C39CB4FFFB73}" type="presParOf" srcId="{04A6537F-29A4-4A3F-A33D-4543106F9485}" destId="{8ACEA08C-B3F0-4234-AF68-CA9218BCA4D0}" srcOrd="0" destOrd="0" presId="urn:microsoft.com/office/officeart/2005/8/layout/bProcess4"/>
    <dgm:cxn modelId="{5423827C-9920-494E-8AAB-8165FD5B19E3}" type="presParOf" srcId="{04A6537F-29A4-4A3F-A33D-4543106F9485}" destId="{6C25CF88-5CBE-4148-8034-0A6A56AB4124}" srcOrd="1" destOrd="0" presId="urn:microsoft.com/office/officeart/2005/8/layout/bProcess4"/>
    <dgm:cxn modelId="{44D947F7-F3FC-4A34-8D9F-4B9FCBF46659}" type="presParOf" srcId="{2186BED0-ACC7-4306-9380-1AB957F6F9B1}" destId="{5B64F774-3DA4-43F1-9F94-CC6471A1899B}" srcOrd="1" destOrd="0" presId="urn:microsoft.com/office/officeart/2005/8/layout/bProcess4"/>
    <dgm:cxn modelId="{A9004688-F876-4097-9744-84849EB7D0D5}" type="presParOf" srcId="{2186BED0-ACC7-4306-9380-1AB957F6F9B1}" destId="{10638174-F5A5-42F9-A0DB-F598C228C69D}" srcOrd="2" destOrd="0" presId="urn:microsoft.com/office/officeart/2005/8/layout/bProcess4"/>
    <dgm:cxn modelId="{02A00C02-9777-40ED-AA0C-F6830753BBA5}" type="presParOf" srcId="{10638174-F5A5-42F9-A0DB-F598C228C69D}" destId="{7FCFC401-F4AA-49A4-BB20-C151376D2CD3}" srcOrd="0" destOrd="0" presId="urn:microsoft.com/office/officeart/2005/8/layout/bProcess4"/>
    <dgm:cxn modelId="{D1A9AF6B-93AB-4A6D-AA24-409AFE0D68C2}" type="presParOf" srcId="{10638174-F5A5-42F9-A0DB-F598C228C69D}" destId="{2A377818-515F-446A-BAEC-7BF1BB2C3954}" srcOrd="1" destOrd="0" presId="urn:microsoft.com/office/officeart/2005/8/layout/bProcess4"/>
    <dgm:cxn modelId="{6569A231-FDBA-404B-B5CF-FC4E990D51B5}" type="presParOf" srcId="{2186BED0-ACC7-4306-9380-1AB957F6F9B1}" destId="{4DD5D522-3BCD-4540-B8C6-B6D4883DF1C5}" srcOrd="3" destOrd="0" presId="urn:microsoft.com/office/officeart/2005/8/layout/bProcess4"/>
    <dgm:cxn modelId="{893F4196-B15C-460A-8740-EEAF4EB4090C}" type="presParOf" srcId="{2186BED0-ACC7-4306-9380-1AB957F6F9B1}" destId="{432B5458-1022-466E-B173-6F5729AEA4DB}" srcOrd="4" destOrd="0" presId="urn:microsoft.com/office/officeart/2005/8/layout/bProcess4"/>
    <dgm:cxn modelId="{66861EC1-0632-4A3C-89E2-F44AC2C981D3}" type="presParOf" srcId="{432B5458-1022-466E-B173-6F5729AEA4DB}" destId="{B9EF9ED8-0DC4-4EB6-9F5A-0C66E7B669F8}" srcOrd="0" destOrd="0" presId="urn:microsoft.com/office/officeart/2005/8/layout/bProcess4"/>
    <dgm:cxn modelId="{FE791247-66FA-4864-B6D0-3C4B647FDBA6}" type="presParOf" srcId="{432B5458-1022-466E-B173-6F5729AEA4DB}" destId="{6DFFB650-5E3D-411B-A7C5-DB6CDA83B7AF}" srcOrd="1" destOrd="0" presId="urn:microsoft.com/office/officeart/2005/8/layout/bProcess4"/>
    <dgm:cxn modelId="{04030880-9E20-4C64-B277-4F757DCE3AA9}" type="presParOf" srcId="{2186BED0-ACC7-4306-9380-1AB957F6F9B1}" destId="{003AE034-038E-44A6-A789-D9FC8053BAFE}" srcOrd="5" destOrd="0" presId="urn:microsoft.com/office/officeart/2005/8/layout/bProcess4"/>
    <dgm:cxn modelId="{0BC919B9-D2F2-409C-A2AD-D6335521B67A}" type="presParOf" srcId="{2186BED0-ACC7-4306-9380-1AB957F6F9B1}" destId="{C90788ED-53C0-44F1-A336-9572639033DE}" srcOrd="6" destOrd="0" presId="urn:microsoft.com/office/officeart/2005/8/layout/bProcess4"/>
    <dgm:cxn modelId="{2CEB2827-0102-45B3-A476-C8AF2FEABCD3}" type="presParOf" srcId="{C90788ED-53C0-44F1-A336-9572639033DE}" destId="{2A3602D4-3A90-4809-803F-BB3AA3596E68}" srcOrd="0" destOrd="0" presId="urn:microsoft.com/office/officeart/2005/8/layout/bProcess4"/>
    <dgm:cxn modelId="{867D2048-3692-481A-92CE-6CD629F6C2F8}" type="presParOf" srcId="{C90788ED-53C0-44F1-A336-9572639033DE}" destId="{77FEFFDA-F0FF-4248-8E56-B2C565C42EF6}" srcOrd="1" destOrd="0" presId="urn:microsoft.com/office/officeart/2005/8/layout/bProcess4"/>
    <dgm:cxn modelId="{8F8C34C8-D68B-4D71-8CB4-70D2B8F5306A}" type="presParOf" srcId="{2186BED0-ACC7-4306-9380-1AB957F6F9B1}" destId="{B32D2186-26B7-49C3-87E3-A04B344BD735}" srcOrd="7" destOrd="0" presId="urn:microsoft.com/office/officeart/2005/8/layout/bProcess4"/>
    <dgm:cxn modelId="{08100D85-B8D3-4400-8038-B3786C5F6B66}" type="presParOf" srcId="{2186BED0-ACC7-4306-9380-1AB957F6F9B1}" destId="{CE3A54D8-E5CA-4E89-9EBA-1D27E9AA219F}" srcOrd="8" destOrd="0" presId="urn:microsoft.com/office/officeart/2005/8/layout/bProcess4"/>
    <dgm:cxn modelId="{C6412323-7977-4C8F-890D-ADDAD447C17C}" type="presParOf" srcId="{CE3A54D8-E5CA-4E89-9EBA-1D27E9AA219F}" destId="{454FF917-2DBB-408E-BFB2-7C11D70CE0BA}" srcOrd="0" destOrd="0" presId="urn:microsoft.com/office/officeart/2005/8/layout/bProcess4"/>
    <dgm:cxn modelId="{B97C4E40-5051-41D7-AB94-4C416524CE6E}" type="presParOf" srcId="{CE3A54D8-E5CA-4E89-9EBA-1D27E9AA219F}" destId="{D59A891D-2475-4C92-9241-9B5DFE372351}" srcOrd="1" destOrd="0" presId="urn:microsoft.com/office/officeart/2005/8/layout/bProcess4"/>
    <dgm:cxn modelId="{150BE36D-2F72-4742-BB41-108322ED2D1D}" type="presParOf" srcId="{2186BED0-ACC7-4306-9380-1AB957F6F9B1}" destId="{AD28C696-A664-4B93-8474-1271A2945BCC}" srcOrd="9" destOrd="0" presId="urn:microsoft.com/office/officeart/2005/8/layout/bProcess4"/>
    <dgm:cxn modelId="{AA15FDBF-8848-4988-AEC0-A968AF6C6477}" type="presParOf" srcId="{2186BED0-ACC7-4306-9380-1AB957F6F9B1}" destId="{564A5E9C-3218-49FB-BD5A-4E1710AC235C}" srcOrd="10" destOrd="0" presId="urn:microsoft.com/office/officeart/2005/8/layout/bProcess4"/>
    <dgm:cxn modelId="{706194E5-6389-44AD-AB18-0B66BE70CB57}" type="presParOf" srcId="{564A5E9C-3218-49FB-BD5A-4E1710AC235C}" destId="{63735F52-1070-4CF8-BD95-1322635AF10A}" srcOrd="0" destOrd="0" presId="urn:microsoft.com/office/officeart/2005/8/layout/bProcess4"/>
    <dgm:cxn modelId="{DF594038-050B-42A3-8689-C463AB6028B9}" type="presParOf" srcId="{564A5E9C-3218-49FB-BD5A-4E1710AC235C}" destId="{A2FAA643-2175-451B-B0B3-FCDE5DD084E9}" srcOrd="1" destOrd="0" presId="urn:microsoft.com/office/officeart/2005/8/layout/bProcess4"/>
    <dgm:cxn modelId="{BDC0FEAB-7656-4867-AD13-A55512B6340C}" type="presParOf" srcId="{2186BED0-ACC7-4306-9380-1AB957F6F9B1}" destId="{9C670752-98F3-459F-BF4A-8D12CE95A93C}" srcOrd="11" destOrd="0" presId="urn:microsoft.com/office/officeart/2005/8/layout/bProcess4"/>
    <dgm:cxn modelId="{0F0020C8-3C70-4464-8E64-2D8FC6627B02}" type="presParOf" srcId="{2186BED0-ACC7-4306-9380-1AB957F6F9B1}" destId="{AC3696F0-C8A8-47CE-9DC2-1EBF1E922B1A}" srcOrd="12" destOrd="0" presId="urn:microsoft.com/office/officeart/2005/8/layout/bProcess4"/>
    <dgm:cxn modelId="{10FD2576-5CB7-4D3F-9C5B-F11AE7CE42E8}" type="presParOf" srcId="{AC3696F0-C8A8-47CE-9DC2-1EBF1E922B1A}" destId="{B4861530-6214-41AE-9F62-F38894A5F47F}" srcOrd="0" destOrd="0" presId="urn:microsoft.com/office/officeart/2005/8/layout/bProcess4"/>
    <dgm:cxn modelId="{8969618D-004D-451C-B79F-7CAF74097002}" type="presParOf" srcId="{AC3696F0-C8A8-47CE-9DC2-1EBF1E922B1A}" destId="{E1EB28D9-D921-4E76-8682-6A0EFE839E4F}" srcOrd="1" destOrd="0" presId="urn:microsoft.com/office/officeart/2005/8/layout/bProcess4"/>
    <dgm:cxn modelId="{B7E6D1E4-8CD3-4FE3-BA0B-5E9D55352CDB}" type="presParOf" srcId="{2186BED0-ACC7-4306-9380-1AB957F6F9B1}" destId="{FF95AD77-2631-444D-A95B-26372ECCA71C}" srcOrd="13" destOrd="0" presId="urn:microsoft.com/office/officeart/2005/8/layout/bProcess4"/>
    <dgm:cxn modelId="{5916FCC8-7902-4EB6-9E99-E063FBCB0569}" type="presParOf" srcId="{2186BED0-ACC7-4306-9380-1AB957F6F9B1}" destId="{D9F78718-8C9A-4B2B-8D96-63B6C7AB065A}" srcOrd="14" destOrd="0" presId="urn:microsoft.com/office/officeart/2005/8/layout/bProcess4"/>
    <dgm:cxn modelId="{2D0590EE-A107-4E9C-927D-37D31F58EE80}" type="presParOf" srcId="{D9F78718-8C9A-4B2B-8D96-63B6C7AB065A}" destId="{47ED5E49-BBE9-4CEC-A227-9D8D841B37B6}" srcOrd="0" destOrd="0" presId="urn:microsoft.com/office/officeart/2005/8/layout/bProcess4"/>
    <dgm:cxn modelId="{83E462A5-7BB5-4457-8210-9AE64600EAAC}" type="presParOf" srcId="{D9F78718-8C9A-4B2B-8D96-63B6C7AB065A}" destId="{CE8C9198-E3D9-4F5E-948C-F8DB93219873}" srcOrd="1" destOrd="0" presId="urn:microsoft.com/office/officeart/2005/8/layout/bProcess4"/>
    <dgm:cxn modelId="{B3650DA0-8836-44D9-8496-D722FAFECF81}" type="presParOf" srcId="{2186BED0-ACC7-4306-9380-1AB957F6F9B1}" destId="{6AC74C17-4678-4232-BBDE-AEB4078522A9}" srcOrd="15" destOrd="0" presId="urn:microsoft.com/office/officeart/2005/8/layout/bProcess4"/>
    <dgm:cxn modelId="{375547FD-F1CB-4119-A594-1F25F1056CCB}" type="presParOf" srcId="{2186BED0-ACC7-4306-9380-1AB957F6F9B1}" destId="{11BACA67-1797-40C3-9A18-6BC10106AD50}" srcOrd="16" destOrd="0" presId="urn:microsoft.com/office/officeart/2005/8/layout/bProcess4"/>
    <dgm:cxn modelId="{8CD5AF4F-CFAF-472A-978B-7767C571100B}" type="presParOf" srcId="{11BACA67-1797-40C3-9A18-6BC10106AD50}" destId="{C976C446-4B0D-4F7F-99B5-D1434177DC94}" srcOrd="0" destOrd="0" presId="urn:microsoft.com/office/officeart/2005/8/layout/bProcess4"/>
    <dgm:cxn modelId="{C830E296-5428-4786-897E-6C86B65B4AB3}" type="presParOf" srcId="{11BACA67-1797-40C3-9A18-6BC10106AD50}" destId="{E4071922-FA39-4936-BC6C-6F9869F94C93}"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787886-8A70-47E7-98FC-FD3CDB2B9FF8}" type="doc">
      <dgm:prSet loTypeId="urn:microsoft.com/office/officeart/2005/8/layout/radial6" loCatId="cycle" qsTypeId="urn:microsoft.com/office/officeart/2005/8/quickstyle/simple4" qsCatId="simple" csTypeId="urn:microsoft.com/office/officeart/2005/8/colors/colorful5" csCatId="colorful" phldr="1"/>
      <dgm:spPr/>
      <dgm:t>
        <a:bodyPr/>
        <a:lstStyle/>
        <a:p>
          <a:endParaRPr lang="en-US"/>
        </a:p>
      </dgm:t>
    </dgm:pt>
    <dgm:pt modelId="{E83922E9-EEF4-42C4-A751-1EA596C32B68}">
      <dgm:prSet phldrT="[Text]" custT="1"/>
      <dgm:spPr/>
      <dgm:t>
        <a:bodyPr/>
        <a:lstStyle/>
        <a:p>
          <a:r>
            <a:rPr lang="de-DE" sz="3200" dirty="0">
              <a:latin typeface="Aptos" panose="020B0004020202020204" pitchFamily="34" charset="0"/>
            </a:rPr>
            <a:t>3GPP SA4 </a:t>
          </a:r>
          <a:r>
            <a:rPr lang="de-DE" sz="3200" dirty="0" err="1">
              <a:latin typeface="Aptos" panose="020B0004020202020204" pitchFamily="34" charset="0"/>
            </a:rPr>
            <a:t>Advanced</a:t>
          </a:r>
          <a:r>
            <a:rPr lang="de-DE" sz="3200" dirty="0">
              <a:latin typeface="Aptos" panose="020B0004020202020204" pitchFamily="34" charset="0"/>
            </a:rPr>
            <a:t> Media </a:t>
          </a:r>
          <a:r>
            <a:rPr lang="de-DE" sz="3200" dirty="0" err="1">
              <a:latin typeface="Aptos" panose="020B0004020202020204" pitchFamily="34" charset="0"/>
            </a:rPr>
            <a:t>Delivery</a:t>
          </a:r>
          <a:endParaRPr lang="en-US" sz="3200" dirty="0">
            <a:latin typeface="Aptos" panose="020B0004020202020204" pitchFamily="34" charset="0"/>
          </a:endParaRPr>
        </a:p>
      </dgm:t>
    </dgm:pt>
    <dgm:pt modelId="{13F5A42A-A360-42C6-AA51-9E462A437F93}" type="parTrans" cxnId="{F4FF25D6-4D47-4ECB-87AE-1DE9023F9D5D}">
      <dgm:prSet/>
      <dgm:spPr/>
      <dgm:t>
        <a:bodyPr/>
        <a:lstStyle/>
        <a:p>
          <a:endParaRPr lang="en-US" sz="1800">
            <a:latin typeface="Aptos" panose="020B0004020202020204" pitchFamily="34" charset="0"/>
          </a:endParaRPr>
        </a:p>
      </dgm:t>
    </dgm:pt>
    <dgm:pt modelId="{6963B43B-29B0-4668-A388-326F114B6D38}" type="sibTrans" cxnId="{F4FF25D6-4D47-4ECB-87AE-1DE9023F9D5D}">
      <dgm:prSet/>
      <dgm:spPr/>
      <dgm:t>
        <a:bodyPr/>
        <a:lstStyle/>
        <a:p>
          <a:endParaRPr lang="en-US" sz="1800">
            <a:latin typeface="Aptos" panose="020B0004020202020204" pitchFamily="34" charset="0"/>
          </a:endParaRPr>
        </a:p>
      </dgm:t>
    </dgm:pt>
    <dgm:pt modelId="{7D23C1A6-94D2-4D92-B93D-45B8B154E074}">
      <dgm:prSet phldrT="[Text]" custT="1"/>
      <dgm:spPr/>
      <dgm:t>
        <a:bodyPr/>
        <a:lstStyle/>
        <a:p>
          <a:pPr>
            <a:buFont typeface="Arial" panose="020B0604020202020204" pitchFamily="34" charset="0"/>
            <a:buChar char="•"/>
          </a:pPr>
          <a:r>
            <a:rPr lang="en-US" sz="500" b="0" i="0" dirty="0">
              <a:solidFill>
                <a:srgbClr val="FFFF00"/>
              </a:solidFill>
              <a:effectLst/>
              <a:latin typeface="Aptos" panose="020B0004020202020204" pitchFamily="34" charset="0"/>
            </a:rPr>
            <a:t>Common Client Metadata.</a:t>
          </a:r>
          <a:endParaRPr lang="en-US" sz="500" dirty="0">
            <a:solidFill>
              <a:srgbClr val="FFFF00"/>
            </a:solidFill>
            <a:latin typeface="Aptos" panose="020B0004020202020204" pitchFamily="34" charset="0"/>
          </a:endParaRPr>
        </a:p>
      </dgm:t>
    </dgm:pt>
    <dgm:pt modelId="{DFD5BFD8-E171-4112-B35B-71BDD28DF73B}" type="parTrans" cxnId="{BA9EDA2F-9E20-49A5-8D3C-DB9977571B37}">
      <dgm:prSet/>
      <dgm:spPr/>
      <dgm:t>
        <a:bodyPr/>
        <a:lstStyle/>
        <a:p>
          <a:endParaRPr lang="en-US" sz="1800">
            <a:latin typeface="Aptos" panose="020B0004020202020204" pitchFamily="34" charset="0"/>
          </a:endParaRPr>
        </a:p>
      </dgm:t>
    </dgm:pt>
    <dgm:pt modelId="{57890BB2-6752-4CFE-8F2E-DB5083AF69F5}" type="sibTrans" cxnId="{BA9EDA2F-9E20-49A5-8D3C-DB9977571B37}">
      <dgm:prSet/>
      <dgm:spPr/>
      <dgm:t>
        <a:bodyPr/>
        <a:lstStyle/>
        <a:p>
          <a:endParaRPr lang="en-US" sz="1800">
            <a:latin typeface="Aptos" panose="020B0004020202020204" pitchFamily="34" charset="0"/>
          </a:endParaRPr>
        </a:p>
      </dgm:t>
    </dgm:pt>
    <dgm:pt modelId="{5C0BAABF-83E6-4CAA-8C61-2AE9F576014C}">
      <dgm:prSet custT="1"/>
      <dgm:spPr/>
      <dgm:t>
        <a:bodyPr/>
        <a:lstStyle/>
        <a:p>
          <a:r>
            <a:rPr lang="en-US" sz="500" b="0" i="0">
              <a:effectLst/>
              <a:latin typeface="Aptos" panose="020B0004020202020204" pitchFamily="34" charset="0"/>
            </a:rPr>
            <a:t>Common Server-and Network-Assisted Streaming.</a:t>
          </a:r>
        </a:p>
      </dgm:t>
    </dgm:pt>
    <dgm:pt modelId="{4285226E-7271-4C23-912B-23CE39E77EBF}" type="parTrans" cxnId="{DA347073-E84F-4E79-A9A5-4CBC434C59D3}">
      <dgm:prSet/>
      <dgm:spPr/>
      <dgm:t>
        <a:bodyPr/>
        <a:lstStyle/>
        <a:p>
          <a:endParaRPr lang="en-US" sz="1800">
            <a:latin typeface="Aptos" panose="020B0004020202020204" pitchFamily="34" charset="0"/>
          </a:endParaRPr>
        </a:p>
      </dgm:t>
    </dgm:pt>
    <dgm:pt modelId="{8D48B8C1-4D10-491B-847B-A05E17AE7855}" type="sibTrans" cxnId="{DA347073-E84F-4E79-A9A5-4CBC434C59D3}">
      <dgm:prSet/>
      <dgm:spPr/>
      <dgm:t>
        <a:bodyPr/>
        <a:lstStyle/>
        <a:p>
          <a:endParaRPr lang="en-US" sz="1800">
            <a:latin typeface="Aptos" panose="020B0004020202020204" pitchFamily="34" charset="0"/>
          </a:endParaRPr>
        </a:p>
      </dgm:t>
    </dgm:pt>
    <dgm:pt modelId="{7911D07F-B537-40A8-9DA5-DA7CC607A288}">
      <dgm:prSet custT="1"/>
      <dgm:spPr/>
      <dgm:t>
        <a:bodyPr/>
        <a:lstStyle/>
        <a:p>
          <a:r>
            <a:rPr lang="en-US" sz="500" b="0" i="0">
              <a:solidFill>
                <a:srgbClr val="FFFF00"/>
              </a:solidFill>
              <a:effectLst/>
              <a:latin typeface="Aptos" panose="020B0004020202020204" pitchFamily="34" charset="0"/>
            </a:rPr>
            <a:t>Multi-Access Media Delivery.</a:t>
          </a:r>
        </a:p>
      </dgm:t>
    </dgm:pt>
    <dgm:pt modelId="{166EBAE3-EE79-423E-8271-DC2CC51C2CBD}" type="parTrans" cxnId="{D2391833-FC75-4EB4-85F1-773541DCF90A}">
      <dgm:prSet/>
      <dgm:spPr/>
      <dgm:t>
        <a:bodyPr/>
        <a:lstStyle/>
        <a:p>
          <a:endParaRPr lang="en-US" sz="1800">
            <a:latin typeface="Aptos" panose="020B0004020202020204" pitchFamily="34" charset="0"/>
          </a:endParaRPr>
        </a:p>
      </dgm:t>
    </dgm:pt>
    <dgm:pt modelId="{447298D9-4EC6-4787-9BF5-46ABD942B1BD}" type="sibTrans" cxnId="{D2391833-FC75-4EB4-85F1-773541DCF90A}">
      <dgm:prSet/>
      <dgm:spPr/>
      <dgm:t>
        <a:bodyPr/>
        <a:lstStyle/>
        <a:p>
          <a:endParaRPr lang="en-US" sz="1800">
            <a:latin typeface="Aptos" panose="020B0004020202020204" pitchFamily="34" charset="0"/>
          </a:endParaRPr>
        </a:p>
      </dgm:t>
    </dgm:pt>
    <dgm:pt modelId="{D7AAF1D0-69EA-4BFB-A8D5-95E054E89447}">
      <dgm:prSet custT="1"/>
      <dgm:spPr/>
      <dgm:t>
        <a:bodyPr/>
        <a:lstStyle/>
        <a:p>
          <a:r>
            <a:rPr lang="en-US" sz="500" b="0" i="0">
              <a:solidFill>
                <a:srgbClr val="FFFF00"/>
              </a:solidFill>
              <a:effectLst/>
              <a:latin typeface="Aptos" panose="020B0004020202020204" pitchFamily="34" charset="0"/>
            </a:rPr>
            <a:t>Media Delivery from multiple service endpoints/location.</a:t>
          </a:r>
        </a:p>
      </dgm:t>
    </dgm:pt>
    <dgm:pt modelId="{A5FC9FD9-1601-4C0E-9082-F0B1359A20E8}" type="parTrans" cxnId="{99B59558-0F02-4DA3-92EC-FBEE841177A5}">
      <dgm:prSet/>
      <dgm:spPr/>
      <dgm:t>
        <a:bodyPr/>
        <a:lstStyle/>
        <a:p>
          <a:endParaRPr lang="en-US" sz="1800">
            <a:latin typeface="Aptos" panose="020B0004020202020204" pitchFamily="34" charset="0"/>
          </a:endParaRPr>
        </a:p>
      </dgm:t>
    </dgm:pt>
    <dgm:pt modelId="{1125D101-C153-4EDF-BCCC-DCDC335CCC7B}" type="sibTrans" cxnId="{99B59558-0F02-4DA3-92EC-FBEE841177A5}">
      <dgm:prSet/>
      <dgm:spPr/>
      <dgm:t>
        <a:bodyPr/>
        <a:lstStyle/>
        <a:p>
          <a:endParaRPr lang="en-US" sz="1800">
            <a:latin typeface="Aptos" panose="020B0004020202020204" pitchFamily="34" charset="0"/>
          </a:endParaRPr>
        </a:p>
      </dgm:t>
    </dgm:pt>
    <dgm:pt modelId="{4C323165-6344-4AB3-82DF-D00961B49730}">
      <dgm:prSet custT="1"/>
      <dgm:spPr/>
      <dgm:t>
        <a:bodyPr/>
        <a:lstStyle/>
        <a:p>
          <a:r>
            <a:rPr lang="en-US" sz="500" b="0" i="0">
              <a:effectLst/>
              <a:latin typeface="Aptos" panose="020B0004020202020204" pitchFamily="34" charset="0"/>
            </a:rPr>
            <a:t>Modem Usage Optimized Media Streaming.</a:t>
          </a:r>
        </a:p>
      </dgm:t>
    </dgm:pt>
    <dgm:pt modelId="{3012909D-581A-439C-BD3B-8FC9A90C6832}" type="parTrans" cxnId="{A727E1E0-0D06-49C0-96BA-E16E5918E308}">
      <dgm:prSet/>
      <dgm:spPr/>
      <dgm:t>
        <a:bodyPr/>
        <a:lstStyle/>
        <a:p>
          <a:endParaRPr lang="en-US" sz="1800">
            <a:latin typeface="Aptos" panose="020B0004020202020204" pitchFamily="34" charset="0"/>
          </a:endParaRPr>
        </a:p>
      </dgm:t>
    </dgm:pt>
    <dgm:pt modelId="{DEA34617-69FC-4D9C-9DE5-E1D726D45F2E}" type="sibTrans" cxnId="{A727E1E0-0D06-49C0-96BA-E16E5918E308}">
      <dgm:prSet/>
      <dgm:spPr/>
      <dgm:t>
        <a:bodyPr/>
        <a:lstStyle/>
        <a:p>
          <a:endParaRPr lang="en-US" sz="1800">
            <a:latin typeface="Aptos" panose="020B0004020202020204" pitchFamily="34" charset="0"/>
          </a:endParaRPr>
        </a:p>
      </dgm:t>
    </dgm:pt>
    <dgm:pt modelId="{17533A62-7F12-44F6-B0E5-EEC6C347F339}">
      <dgm:prSet custT="1"/>
      <dgm:spPr/>
      <dgm:t>
        <a:bodyPr/>
        <a:lstStyle/>
        <a:p>
          <a:r>
            <a:rPr lang="en-US" sz="500" b="0" i="0">
              <a:effectLst/>
              <a:latin typeface="Aptos" panose="020B0004020202020204" pitchFamily="34" charset="0"/>
            </a:rPr>
            <a:t>DASH/HLS Interoperability.</a:t>
          </a:r>
        </a:p>
      </dgm:t>
    </dgm:pt>
    <dgm:pt modelId="{27B79A9F-2052-448A-A1EA-0D25934C309D}" type="parTrans" cxnId="{3B981AF4-DAC1-4D34-9AFC-0F6F062AC4E5}">
      <dgm:prSet/>
      <dgm:spPr/>
      <dgm:t>
        <a:bodyPr/>
        <a:lstStyle/>
        <a:p>
          <a:endParaRPr lang="en-US" sz="1800">
            <a:latin typeface="Aptos" panose="020B0004020202020204" pitchFamily="34" charset="0"/>
          </a:endParaRPr>
        </a:p>
      </dgm:t>
    </dgm:pt>
    <dgm:pt modelId="{5CC162EF-052E-4FAA-A4D6-A6D71D8411C5}" type="sibTrans" cxnId="{3B981AF4-DAC1-4D34-9AFC-0F6F062AC4E5}">
      <dgm:prSet/>
      <dgm:spPr/>
      <dgm:t>
        <a:bodyPr/>
        <a:lstStyle/>
        <a:p>
          <a:endParaRPr lang="en-US" sz="1800">
            <a:latin typeface="Aptos" panose="020B0004020202020204" pitchFamily="34" charset="0"/>
          </a:endParaRPr>
        </a:p>
      </dgm:t>
    </dgm:pt>
    <dgm:pt modelId="{AD9C3315-13D4-4D65-95DB-60F09F5C2026}">
      <dgm:prSet custT="1"/>
      <dgm:spPr/>
      <dgm:t>
        <a:bodyPr/>
        <a:lstStyle/>
        <a:p>
          <a:r>
            <a:rPr lang="en-US" sz="500" b="0" i="0">
              <a:effectLst/>
              <a:latin typeface="Aptos" panose="020B0004020202020204" pitchFamily="34" charset="0"/>
            </a:rPr>
            <a:t>Further harmonization of RTC and Streaming for Advanced Media Delivery.</a:t>
          </a:r>
        </a:p>
      </dgm:t>
    </dgm:pt>
    <dgm:pt modelId="{A506EED7-640C-44BC-8B4D-FD80CCDEAA0A}" type="parTrans" cxnId="{B3B73D37-537F-4591-8611-6857F7C8C416}">
      <dgm:prSet/>
      <dgm:spPr/>
      <dgm:t>
        <a:bodyPr/>
        <a:lstStyle/>
        <a:p>
          <a:endParaRPr lang="en-US" sz="1800">
            <a:latin typeface="Aptos" panose="020B0004020202020204" pitchFamily="34" charset="0"/>
          </a:endParaRPr>
        </a:p>
      </dgm:t>
    </dgm:pt>
    <dgm:pt modelId="{554548F6-1766-48D4-85DC-3F2AA0D7006F}" type="sibTrans" cxnId="{B3B73D37-537F-4591-8611-6857F7C8C416}">
      <dgm:prSet/>
      <dgm:spPr/>
      <dgm:t>
        <a:bodyPr/>
        <a:lstStyle/>
        <a:p>
          <a:endParaRPr lang="en-US" sz="1800">
            <a:latin typeface="Aptos" panose="020B0004020202020204" pitchFamily="34" charset="0"/>
          </a:endParaRPr>
        </a:p>
      </dgm:t>
    </dgm:pt>
    <dgm:pt modelId="{C46E07BF-9244-41BD-A8E7-BDD14876FC9D}">
      <dgm:prSet custT="1"/>
      <dgm:spPr/>
      <dgm:t>
        <a:bodyPr/>
        <a:lstStyle/>
        <a:p>
          <a:r>
            <a:rPr lang="en-US" sz="500" b="0" i="0">
              <a:solidFill>
                <a:srgbClr val="FFFF00"/>
              </a:solidFill>
              <a:effectLst/>
              <a:latin typeface="Aptos" panose="020B0004020202020204" pitchFamily="34" charset="0"/>
            </a:rPr>
            <a:t>Improved QoS support for Media Streaming services.</a:t>
          </a:r>
        </a:p>
      </dgm:t>
    </dgm:pt>
    <dgm:pt modelId="{D34A221D-C464-48AB-B27E-D97E44A8D8C8}" type="parTrans" cxnId="{6CD999C2-2A93-40E2-B2EA-56EA91D9FB2F}">
      <dgm:prSet/>
      <dgm:spPr/>
      <dgm:t>
        <a:bodyPr/>
        <a:lstStyle/>
        <a:p>
          <a:endParaRPr lang="en-US" sz="1800">
            <a:latin typeface="Aptos" panose="020B0004020202020204" pitchFamily="34" charset="0"/>
          </a:endParaRPr>
        </a:p>
      </dgm:t>
    </dgm:pt>
    <dgm:pt modelId="{A153EDE2-5D20-4D6A-8FB9-1A104D5168AC}" type="sibTrans" cxnId="{6CD999C2-2A93-40E2-B2EA-56EA91D9FB2F}">
      <dgm:prSet/>
      <dgm:spPr/>
      <dgm:t>
        <a:bodyPr/>
        <a:lstStyle/>
        <a:p>
          <a:endParaRPr lang="en-US" sz="1800">
            <a:latin typeface="Aptos" panose="020B0004020202020204" pitchFamily="34" charset="0"/>
          </a:endParaRPr>
        </a:p>
      </dgm:t>
    </dgm:pt>
    <dgm:pt modelId="{881470D5-2E2D-41E9-865D-649A4563AC25}">
      <dgm:prSet custT="1"/>
      <dgm:spPr/>
      <dgm:t>
        <a:bodyPr/>
        <a:lstStyle/>
        <a:p>
          <a:r>
            <a:rPr lang="en-US" sz="500" b="0" i="0">
              <a:effectLst/>
              <a:latin typeface="Aptos" panose="020B0004020202020204" pitchFamily="34" charset="0"/>
            </a:rPr>
            <a:t>QUIC-based segmented media delivery.</a:t>
          </a:r>
        </a:p>
      </dgm:t>
    </dgm:pt>
    <dgm:pt modelId="{8650A22B-80B6-4176-9421-49055A5455BE}" type="parTrans" cxnId="{CD778280-9520-4907-9A92-B003840E3A56}">
      <dgm:prSet/>
      <dgm:spPr/>
      <dgm:t>
        <a:bodyPr/>
        <a:lstStyle/>
        <a:p>
          <a:endParaRPr lang="en-US" sz="1800">
            <a:latin typeface="Aptos" panose="020B0004020202020204" pitchFamily="34" charset="0"/>
          </a:endParaRPr>
        </a:p>
      </dgm:t>
    </dgm:pt>
    <dgm:pt modelId="{F389C1A6-BF1A-4FD4-868F-D12A66B365B5}" type="sibTrans" cxnId="{CD778280-9520-4907-9A92-B003840E3A56}">
      <dgm:prSet/>
      <dgm:spPr/>
      <dgm:t>
        <a:bodyPr/>
        <a:lstStyle/>
        <a:p>
          <a:endParaRPr lang="en-US" sz="1800">
            <a:latin typeface="Aptos" panose="020B0004020202020204" pitchFamily="34" charset="0"/>
          </a:endParaRPr>
        </a:p>
      </dgm:t>
    </dgm:pt>
    <dgm:pt modelId="{A9A8D71B-5FE0-459C-B0DD-48A04781BFAC}">
      <dgm:prSet custT="1"/>
      <dgm:spPr/>
      <dgm:t>
        <a:bodyPr/>
        <a:lstStyle/>
        <a:p>
          <a:r>
            <a:rPr lang="en-US" sz="500" b="0" i="0" dirty="0">
              <a:solidFill>
                <a:schemeClr val="bg1"/>
              </a:solidFill>
              <a:effectLst/>
              <a:latin typeface="Aptos" panose="020B0004020202020204" pitchFamily="34" charset="0"/>
            </a:rPr>
            <a:t>In-band </a:t>
          </a:r>
          <a:r>
            <a:rPr lang="en-US" sz="500" b="0" i="0" dirty="0" err="1">
              <a:solidFill>
                <a:schemeClr val="bg1"/>
              </a:solidFill>
              <a:effectLst/>
              <a:latin typeface="Aptos" panose="020B0004020202020204" pitchFamily="34" charset="0"/>
            </a:rPr>
            <a:t>signalling</a:t>
          </a:r>
          <a:r>
            <a:rPr lang="en-US" sz="500" b="0" i="0" dirty="0">
              <a:solidFill>
                <a:schemeClr val="bg1"/>
              </a:solidFill>
              <a:effectLst/>
              <a:latin typeface="Aptos" panose="020B0004020202020204" pitchFamily="34" charset="0"/>
            </a:rPr>
            <a:t> of QoS for 5G Media Streaming.</a:t>
          </a:r>
        </a:p>
      </dgm:t>
    </dgm:pt>
    <dgm:pt modelId="{8EB13342-918C-4E22-92A8-3413BE8D1D0E}" type="parTrans" cxnId="{E538C31F-AAF0-45D1-BB32-C6E70B12BE14}">
      <dgm:prSet/>
      <dgm:spPr/>
      <dgm:t>
        <a:bodyPr/>
        <a:lstStyle/>
        <a:p>
          <a:endParaRPr lang="en-US" sz="1800">
            <a:latin typeface="Aptos" panose="020B0004020202020204" pitchFamily="34" charset="0"/>
          </a:endParaRPr>
        </a:p>
      </dgm:t>
    </dgm:pt>
    <dgm:pt modelId="{F2596FB5-7EBB-45C9-A300-88EDD2519D0C}" type="sibTrans" cxnId="{E538C31F-AAF0-45D1-BB32-C6E70B12BE14}">
      <dgm:prSet/>
      <dgm:spPr/>
      <dgm:t>
        <a:bodyPr/>
        <a:lstStyle/>
        <a:p>
          <a:endParaRPr lang="en-US" sz="1800">
            <a:latin typeface="Aptos" panose="020B0004020202020204" pitchFamily="34" charset="0"/>
          </a:endParaRPr>
        </a:p>
      </dgm:t>
    </dgm:pt>
    <dgm:pt modelId="{DE395D33-A398-4AB6-90A6-1D0D028840FC}">
      <dgm:prSet custT="1"/>
      <dgm:spPr/>
      <dgm:t>
        <a:bodyPr/>
        <a:lstStyle/>
        <a:p>
          <a:r>
            <a:rPr lang="en-US" sz="500" b="0" i="0">
              <a:solidFill>
                <a:srgbClr val="FFFF00"/>
              </a:solidFill>
              <a:effectLst/>
              <a:latin typeface="Aptos" panose="020B0004020202020204" pitchFamily="34" charset="0"/>
            </a:rPr>
            <a:t>Dynamic content generation from multiple sources.</a:t>
          </a:r>
        </a:p>
      </dgm:t>
    </dgm:pt>
    <dgm:pt modelId="{BECCC5AB-145A-4C5A-941E-A336836EA259}" type="parTrans" cxnId="{B120A3D9-F2DB-4D3B-A7FB-4A3BA87C233C}">
      <dgm:prSet/>
      <dgm:spPr/>
      <dgm:t>
        <a:bodyPr/>
        <a:lstStyle/>
        <a:p>
          <a:endParaRPr lang="en-US" sz="1800">
            <a:latin typeface="Aptos" panose="020B0004020202020204" pitchFamily="34" charset="0"/>
          </a:endParaRPr>
        </a:p>
      </dgm:t>
    </dgm:pt>
    <dgm:pt modelId="{40394AB4-5A7F-4828-983B-8D58E854CFCE}" type="sibTrans" cxnId="{B120A3D9-F2DB-4D3B-A7FB-4A3BA87C233C}">
      <dgm:prSet/>
      <dgm:spPr/>
      <dgm:t>
        <a:bodyPr/>
        <a:lstStyle/>
        <a:p>
          <a:endParaRPr lang="en-US" sz="1800">
            <a:latin typeface="Aptos" panose="020B0004020202020204" pitchFamily="34" charset="0"/>
          </a:endParaRPr>
        </a:p>
      </dgm:t>
    </dgm:pt>
    <dgm:pt modelId="{AB365FA3-A503-4549-8B64-EE2456531F4F}">
      <dgm:prSet custT="1"/>
      <dgm:spPr/>
      <dgm:t>
        <a:bodyPr/>
        <a:lstStyle/>
        <a:p>
          <a:r>
            <a:rPr lang="en-US" sz="500" b="0" i="0">
              <a:solidFill>
                <a:srgbClr val="FFFF00"/>
              </a:solidFill>
              <a:effectLst/>
              <a:latin typeface="Aptos" panose="020B0004020202020204" pitchFamily="34" charset="0"/>
            </a:rPr>
            <a:t>In-session Unicast Repair for MBS Object Distribution.</a:t>
          </a:r>
        </a:p>
      </dgm:t>
    </dgm:pt>
    <dgm:pt modelId="{B8B55056-6678-495E-AC72-892F6113B2BA}" type="parTrans" cxnId="{53A24AB6-E371-4424-9418-A377DA09FCE7}">
      <dgm:prSet/>
      <dgm:spPr/>
      <dgm:t>
        <a:bodyPr/>
        <a:lstStyle/>
        <a:p>
          <a:endParaRPr lang="en-US" sz="1800">
            <a:latin typeface="Aptos" panose="020B0004020202020204" pitchFamily="34" charset="0"/>
          </a:endParaRPr>
        </a:p>
      </dgm:t>
    </dgm:pt>
    <dgm:pt modelId="{719F814E-9735-4563-AB1B-695A71B92BE9}" type="sibTrans" cxnId="{53A24AB6-E371-4424-9418-A377DA09FCE7}">
      <dgm:prSet/>
      <dgm:spPr/>
      <dgm:t>
        <a:bodyPr/>
        <a:lstStyle/>
        <a:p>
          <a:endParaRPr lang="en-US" sz="1800">
            <a:latin typeface="Aptos" panose="020B0004020202020204" pitchFamily="34" charset="0"/>
          </a:endParaRPr>
        </a:p>
      </dgm:t>
    </dgm:pt>
    <dgm:pt modelId="{B7B439C6-57E6-4E35-8586-BC20BB398E96}">
      <dgm:prSet custT="1"/>
      <dgm:spPr/>
      <dgm:t>
        <a:bodyPr/>
        <a:lstStyle/>
        <a:p>
          <a:r>
            <a:rPr lang="en-US" sz="500" b="0" i="0">
              <a:solidFill>
                <a:srgbClr val="FFFF00"/>
              </a:solidFill>
              <a:effectLst/>
              <a:latin typeface="Aptos" panose="020B0004020202020204" pitchFamily="34" charset="0"/>
            </a:rPr>
            <a:t>MBS User Service and Delivery Protocols for </a:t>
          </a:r>
          <a:r>
            <a:rPr lang="en-US" sz="500" b="0" i="0" dirty="0" err="1">
              <a:solidFill>
                <a:srgbClr val="FFFF00"/>
              </a:solidFill>
              <a:effectLst/>
              <a:latin typeface="Aptos" panose="020B0004020202020204" pitchFamily="34" charset="0"/>
            </a:rPr>
            <a:t>eMBMS</a:t>
          </a:r>
          <a:r>
            <a:rPr lang="en-US" sz="500" b="0" i="0" dirty="0">
              <a:solidFill>
                <a:srgbClr val="FFFF00"/>
              </a:solidFill>
              <a:effectLst/>
              <a:latin typeface="Aptos" panose="020B0004020202020204" pitchFamily="34" charset="0"/>
            </a:rPr>
            <a:t>.</a:t>
          </a:r>
        </a:p>
      </dgm:t>
    </dgm:pt>
    <dgm:pt modelId="{6A95D2F1-584F-4EC5-8C34-52DB37F2747D}" type="parTrans" cxnId="{D49D9D10-2D67-4F91-A779-9D08238A6334}">
      <dgm:prSet/>
      <dgm:spPr/>
      <dgm:t>
        <a:bodyPr/>
        <a:lstStyle/>
        <a:p>
          <a:endParaRPr lang="en-US" sz="1800">
            <a:latin typeface="Aptos" panose="020B0004020202020204" pitchFamily="34" charset="0"/>
          </a:endParaRPr>
        </a:p>
      </dgm:t>
    </dgm:pt>
    <dgm:pt modelId="{66851B4D-FEBF-494D-88C5-AAC9AD3DD8F1}" type="sibTrans" cxnId="{D49D9D10-2D67-4F91-A779-9D08238A6334}">
      <dgm:prSet/>
      <dgm:spPr/>
      <dgm:t>
        <a:bodyPr/>
        <a:lstStyle/>
        <a:p>
          <a:endParaRPr lang="en-US" sz="1800">
            <a:latin typeface="Aptos" panose="020B0004020202020204" pitchFamily="34" charset="0"/>
          </a:endParaRPr>
        </a:p>
      </dgm:t>
    </dgm:pt>
    <dgm:pt modelId="{34F9EC11-DDA5-467F-9616-C17999E11B5B}">
      <dgm:prSet custT="1"/>
      <dgm:spPr/>
      <dgm:t>
        <a:bodyPr/>
        <a:lstStyle/>
        <a:p>
          <a:r>
            <a:rPr lang="en-US" sz="500" b="0" i="0">
              <a:solidFill>
                <a:srgbClr val="FFFF00"/>
              </a:solidFill>
              <a:effectLst/>
              <a:latin typeface="Aptos" panose="020B0004020202020204" pitchFamily="34" charset="0"/>
            </a:rPr>
            <a:t>Selected MBMS Functionalities not supported in MBS.</a:t>
          </a:r>
        </a:p>
      </dgm:t>
    </dgm:pt>
    <dgm:pt modelId="{92BCDFD0-FD9A-4F6E-BE32-1B65DA795DF0}" type="parTrans" cxnId="{56BE5CAC-B495-4098-B364-BBAB8072E712}">
      <dgm:prSet/>
      <dgm:spPr/>
      <dgm:t>
        <a:bodyPr/>
        <a:lstStyle/>
        <a:p>
          <a:endParaRPr lang="en-US" sz="1800">
            <a:latin typeface="Aptos" panose="020B0004020202020204" pitchFamily="34" charset="0"/>
          </a:endParaRPr>
        </a:p>
      </dgm:t>
    </dgm:pt>
    <dgm:pt modelId="{A1217D08-A64A-4B12-9A29-5EBD2FF410E0}" type="sibTrans" cxnId="{56BE5CAC-B495-4098-B364-BBAB8072E712}">
      <dgm:prSet/>
      <dgm:spPr/>
      <dgm:t>
        <a:bodyPr/>
        <a:lstStyle/>
        <a:p>
          <a:endParaRPr lang="en-US" sz="1800">
            <a:latin typeface="Aptos" panose="020B0004020202020204" pitchFamily="34" charset="0"/>
          </a:endParaRPr>
        </a:p>
      </dgm:t>
    </dgm:pt>
    <dgm:pt modelId="{90303608-8384-4EF5-9F69-49BD839AA140}" type="pres">
      <dgm:prSet presAssocID="{77787886-8A70-47E7-98FC-FD3CDB2B9FF8}" presName="Name0" presStyleCnt="0">
        <dgm:presLayoutVars>
          <dgm:chMax val="1"/>
          <dgm:dir/>
          <dgm:animLvl val="ctr"/>
          <dgm:resizeHandles val="exact"/>
        </dgm:presLayoutVars>
      </dgm:prSet>
      <dgm:spPr/>
    </dgm:pt>
    <dgm:pt modelId="{122402CD-CE9F-462F-B64A-01A632D6D8E2}" type="pres">
      <dgm:prSet presAssocID="{E83922E9-EEF4-42C4-A751-1EA596C32B68}" presName="centerShape" presStyleLbl="node0" presStyleIdx="0" presStyleCnt="1" custScaleX="371997" custScaleY="302742"/>
      <dgm:spPr/>
    </dgm:pt>
    <dgm:pt modelId="{2B777D6B-77AC-4184-B96C-DC0F2D4E3A64}" type="pres">
      <dgm:prSet presAssocID="{7D23C1A6-94D2-4D92-B93D-45B8B154E074}" presName="node" presStyleLbl="node1" presStyleIdx="0" presStyleCnt="14">
        <dgm:presLayoutVars>
          <dgm:bulletEnabled val="1"/>
        </dgm:presLayoutVars>
      </dgm:prSet>
      <dgm:spPr/>
    </dgm:pt>
    <dgm:pt modelId="{5CAFD253-6ADD-4CB5-BA73-6D5A4F1882BF}" type="pres">
      <dgm:prSet presAssocID="{7D23C1A6-94D2-4D92-B93D-45B8B154E074}" presName="dummy" presStyleCnt="0"/>
      <dgm:spPr/>
    </dgm:pt>
    <dgm:pt modelId="{69755653-C243-4C6B-B7F5-F41EA794695D}" type="pres">
      <dgm:prSet presAssocID="{57890BB2-6752-4CFE-8F2E-DB5083AF69F5}" presName="sibTrans" presStyleLbl="sibTrans2D1" presStyleIdx="0" presStyleCnt="14"/>
      <dgm:spPr/>
    </dgm:pt>
    <dgm:pt modelId="{2405F48B-0B63-4953-A1EE-C9C6C64403CC}" type="pres">
      <dgm:prSet presAssocID="{5C0BAABF-83E6-4CAA-8C61-2AE9F576014C}" presName="node" presStyleLbl="node1" presStyleIdx="1" presStyleCnt="14">
        <dgm:presLayoutVars>
          <dgm:bulletEnabled val="1"/>
        </dgm:presLayoutVars>
      </dgm:prSet>
      <dgm:spPr/>
    </dgm:pt>
    <dgm:pt modelId="{1935C0B6-7628-4E05-A3E9-690A8057BC90}" type="pres">
      <dgm:prSet presAssocID="{5C0BAABF-83E6-4CAA-8C61-2AE9F576014C}" presName="dummy" presStyleCnt="0"/>
      <dgm:spPr/>
    </dgm:pt>
    <dgm:pt modelId="{67853794-6C9B-4E44-9756-BA7FC458736E}" type="pres">
      <dgm:prSet presAssocID="{8D48B8C1-4D10-491B-847B-A05E17AE7855}" presName="sibTrans" presStyleLbl="sibTrans2D1" presStyleIdx="1" presStyleCnt="14"/>
      <dgm:spPr/>
    </dgm:pt>
    <dgm:pt modelId="{691E99FF-CC11-4D5C-9DA9-202BB2A62064}" type="pres">
      <dgm:prSet presAssocID="{7911D07F-B537-40A8-9DA5-DA7CC607A288}" presName="node" presStyleLbl="node1" presStyleIdx="2" presStyleCnt="14">
        <dgm:presLayoutVars>
          <dgm:bulletEnabled val="1"/>
        </dgm:presLayoutVars>
      </dgm:prSet>
      <dgm:spPr/>
    </dgm:pt>
    <dgm:pt modelId="{97D03AA9-3382-4FA2-BB5E-5B2E12EEC5D2}" type="pres">
      <dgm:prSet presAssocID="{7911D07F-B537-40A8-9DA5-DA7CC607A288}" presName="dummy" presStyleCnt="0"/>
      <dgm:spPr/>
    </dgm:pt>
    <dgm:pt modelId="{23BB1C50-3441-45BE-B4CB-E71A0EF398A5}" type="pres">
      <dgm:prSet presAssocID="{447298D9-4EC6-4787-9BF5-46ABD942B1BD}" presName="sibTrans" presStyleLbl="sibTrans2D1" presStyleIdx="2" presStyleCnt="14"/>
      <dgm:spPr/>
    </dgm:pt>
    <dgm:pt modelId="{ED40BCE8-1BE8-4EB7-BACA-5A75FB9C3DD3}" type="pres">
      <dgm:prSet presAssocID="{D7AAF1D0-69EA-4BFB-A8D5-95E054E89447}" presName="node" presStyleLbl="node1" presStyleIdx="3" presStyleCnt="14">
        <dgm:presLayoutVars>
          <dgm:bulletEnabled val="1"/>
        </dgm:presLayoutVars>
      </dgm:prSet>
      <dgm:spPr/>
    </dgm:pt>
    <dgm:pt modelId="{F51E7B5C-664F-4914-8E5D-2F1A72B69EBB}" type="pres">
      <dgm:prSet presAssocID="{D7AAF1D0-69EA-4BFB-A8D5-95E054E89447}" presName="dummy" presStyleCnt="0"/>
      <dgm:spPr/>
    </dgm:pt>
    <dgm:pt modelId="{936E2180-3AEF-4716-B4B7-38E522D4FBDE}" type="pres">
      <dgm:prSet presAssocID="{1125D101-C153-4EDF-BCCC-DCDC335CCC7B}" presName="sibTrans" presStyleLbl="sibTrans2D1" presStyleIdx="3" presStyleCnt="14"/>
      <dgm:spPr/>
    </dgm:pt>
    <dgm:pt modelId="{392B8B47-4A30-4D2E-B693-2CC19EFB9B90}" type="pres">
      <dgm:prSet presAssocID="{4C323165-6344-4AB3-82DF-D00961B49730}" presName="node" presStyleLbl="node1" presStyleIdx="4" presStyleCnt="14">
        <dgm:presLayoutVars>
          <dgm:bulletEnabled val="1"/>
        </dgm:presLayoutVars>
      </dgm:prSet>
      <dgm:spPr/>
    </dgm:pt>
    <dgm:pt modelId="{DD2A4335-C870-454D-8179-F4EDEC3D56C2}" type="pres">
      <dgm:prSet presAssocID="{4C323165-6344-4AB3-82DF-D00961B49730}" presName="dummy" presStyleCnt="0"/>
      <dgm:spPr/>
    </dgm:pt>
    <dgm:pt modelId="{CB4E3C0F-5261-44D9-B643-3C25856E1E37}" type="pres">
      <dgm:prSet presAssocID="{DEA34617-69FC-4D9C-9DE5-E1D726D45F2E}" presName="sibTrans" presStyleLbl="sibTrans2D1" presStyleIdx="4" presStyleCnt="14"/>
      <dgm:spPr/>
    </dgm:pt>
    <dgm:pt modelId="{99EA62B6-191C-4677-9C54-ACD8BAAF663D}" type="pres">
      <dgm:prSet presAssocID="{17533A62-7F12-44F6-B0E5-EEC6C347F339}" presName="node" presStyleLbl="node1" presStyleIdx="5" presStyleCnt="14">
        <dgm:presLayoutVars>
          <dgm:bulletEnabled val="1"/>
        </dgm:presLayoutVars>
      </dgm:prSet>
      <dgm:spPr/>
    </dgm:pt>
    <dgm:pt modelId="{81F936A4-3440-45FB-810F-CC2146CAC9A0}" type="pres">
      <dgm:prSet presAssocID="{17533A62-7F12-44F6-B0E5-EEC6C347F339}" presName="dummy" presStyleCnt="0"/>
      <dgm:spPr/>
    </dgm:pt>
    <dgm:pt modelId="{767E8259-4A6B-4638-A093-6ADCB2A1B1CB}" type="pres">
      <dgm:prSet presAssocID="{5CC162EF-052E-4FAA-A4D6-A6D71D8411C5}" presName="sibTrans" presStyleLbl="sibTrans2D1" presStyleIdx="5" presStyleCnt="14"/>
      <dgm:spPr/>
    </dgm:pt>
    <dgm:pt modelId="{EC3C7CC4-1755-4DF7-9BF1-B74DEB669158}" type="pres">
      <dgm:prSet presAssocID="{AD9C3315-13D4-4D65-95DB-60F09F5C2026}" presName="node" presStyleLbl="node1" presStyleIdx="6" presStyleCnt="14">
        <dgm:presLayoutVars>
          <dgm:bulletEnabled val="1"/>
        </dgm:presLayoutVars>
      </dgm:prSet>
      <dgm:spPr/>
    </dgm:pt>
    <dgm:pt modelId="{CD7A1B5E-000D-4E8A-BAEE-47E8ED58A39F}" type="pres">
      <dgm:prSet presAssocID="{AD9C3315-13D4-4D65-95DB-60F09F5C2026}" presName="dummy" presStyleCnt="0"/>
      <dgm:spPr/>
    </dgm:pt>
    <dgm:pt modelId="{4A8B3D41-0AD4-4593-AEC4-611D52E13778}" type="pres">
      <dgm:prSet presAssocID="{554548F6-1766-48D4-85DC-3F2AA0D7006F}" presName="sibTrans" presStyleLbl="sibTrans2D1" presStyleIdx="6" presStyleCnt="14"/>
      <dgm:spPr/>
    </dgm:pt>
    <dgm:pt modelId="{CA502515-5E75-41FE-B5CD-C050769138E1}" type="pres">
      <dgm:prSet presAssocID="{C46E07BF-9244-41BD-A8E7-BDD14876FC9D}" presName="node" presStyleLbl="node1" presStyleIdx="7" presStyleCnt="14">
        <dgm:presLayoutVars>
          <dgm:bulletEnabled val="1"/>
        </dgm:presLayoutVars>
      </dgm:prSet>
      <dgm:spPr/>
    </dgm:pt>
    <dgm:pt modelId="{1989304A-F56A-4E73-8036-1373152EAA8A}" type="pres">
      <dgm:prSet presAssocID="{C46E07BF-9244-41BD-A8E7-BDD14876FC9D}" presName="dummy" presStyleCnt="0"/>
      <dgm:spPr/>
    </dgm:pt>
    <dgm:pt modelId="{6F0A78B7-260C-4DD1-A6E3-B1633D1B59B1}" type="pres">
      <dgm:prSet presAssocID="{A153EDE2-5D20-4D6A-8FB9-1A104D5168AC}" presName="sibTrans" presStyleLbl="sibTrans2D1" presStyleIdx="7" presStyleCnt="14"/>
      <dgm:spPr/>
    </dgm:pt>
    <dgm:pt modelId="{4A45F8BA-F916-4392-8B78-73BA20648291}" type="pres">
      <dgm:prSet presAssocID="{881470D5-2E2D-41E9-865D-649A4563AC25}" presName="node" presStyleLbl="node1" presStyleIdx="8" presStyleCnt="14">
        <dgm:presLayoutVars>
          <dgm:bulletEnabled val="1"/>
        </dgm:presLayoutVars>
      </dgm:prSet>
      <dgm:spPr/>
    </dgm:pt>
    <dgm:pt modelId="{0FF800F9-AF01-4A94-A55D-C0A93DA26039}" type="pres">
      <dgm:prSet presAssocID="{881470D5-2E2D-41E9-865D-649A4563AC25}" presName="dummy" presStyleCnt="0"/>
      <dgm:spPr/>
    </dgm:pt>
    <dgm:pt modelId="{573C8265-63E9-4D08-9F0C-AFA9C2F1E571}" type="pres">
      <dgm:prSet presAssocID="{F389C1A6-BF1A-4FD4-868F-D12A66B365B5}" presName="sibTrans" presStyleLbl="sibTrans2D1" presStyleIdx="8" presStyleCnt="14"/>
      <dgm:spPr/>
    </dgm:pt>
    <dgm:pt modelId="{04EAECF9-C818-4695-B879-7657008E213B}" type="pres">
      <dgm:prSet presAssocID="{A9A8D71B-5FE0-459C-B0DD-48A04781BFAC}" presName="node" presStyleLbl="node1" presStyleIdx="9" presStyleCnt="14">
        <dgm:presLayoutVars>
          <dgm:bulletEnabled val="1"/>
        </dgm:presLayoutVars>
      </dgm:prSet>
      <dgm:spPr/>
    </dgm:pt>
    <dgm:pt modelId="{1E4E99B1-F33C-46CC-AF23-72F42D0C6C35}" type="pres">
      <dgm:prSet presAssocID="{A9A8D71B-5FE0-459C-B0DD-48A04781BFAC}" presName="dummy" presStyleCnt="0"/>
      <dgm:spPr/>
    </dgm:pt>
    <dgm:pt modelId="{65022EC3-4C95-4ADA-9C72-F5965DC965C3}" type="pres">
      <dgm:prSet presAssocID="{F2596FB5-7EBB-45C9-A300-88EDD2519D0C}" presName="sibTrans" presStyleLbl="sibTrans2D1" presStyleIdx="9" presStyleCnt="14"/>
      <dgm:spPr/>
    </dgm:pt>
    <dgm:pt modelId="{365E998B-3129-473F-8C7A-011C4D9A3CE2}" type="pres">
      <dgm:prSet presAssocID="{DE395D33-A398-4AB6-90A6-1D0D028840FC}" presName="node" presStyleLbl="node1" presStyleIdx="10" presStyleCnt="14">
        <dgm:presLayoutVars>
          <dgm:bulletEnabled val="1"/>
        </dgm:presLayoutVars>
      </dgm:prSet>
      <dgm:spPr/>
    </dgm:pt>
    <dgm:pt modelId="{5A18668D-8CB8-4790-9599-938CAEF052CB}" type="pres">
      <dgm:prSet presAssocID="{DE395D33-A398-4AB6-90A6-1D0D028840FC}" presName="dummy" presStyleCnt="0"/>
      <dgm:spPr/>
    </dgm:pt>
    <dgm:pt modelId="{06D6267A-311E-4D58-9A2B-26F0F3C35B27}" type="pres">
      <dgm:prSet presAssocID="{40394AB4-5A7F-4828-983B-8D58E854CFCE}" presName="sibTrans" presStyleLbl="sibTrans2D1" presStyleIdx="10" presStyleCnt="14"/>
      <dgm:spPr/>
    </dgm:pt>
    <dgm:pt modelId="{2F4AB0A0-5F79-492E-AC5E-7451F4A5C5DD}" type="pres">
      <dgm:prSet presAssocID="{AB365FA3-A503-4549-8B64-EE2456531F4F}" presName="node" presStyleLbl="node1" presStyleIdx="11" presStyleCnt="14">
        <dgm:presLayoutVars>
          <dgm:bulletEnabled val="1"/>
        </dgm:presLayoutVars>
      </dgm:prSet>
      <dgm:spPr/>
    </dgm:pt>
    <dgm:pt modelId="{DE71C7CF-36EA-4368-9967-4622800AA384}" type="pres">
      <dgm:prSet presAssocID="{AB365FA3-A503-4549-8B64-EE2456531F4F}" presName="dummy" presStyleCnt="0"/>
      <dgm:spPr/>
    </dgm:pt>
    <dgm:pt modelId="{60895B7A-17F9-4D0D-83DF-B868705BE951}" type="pres">
      <dgm:prSet presAssocID="{719F814E-9735-4563-AB1B-695A71B92BE9}" presName="sibTrans" presStyleLbl="sibTrans2D1" presStyleIdx="11" presStyleCnt="14"/>
      <dgm:spPr/>
    </dgm:pt>
    <dgm:pt modelId="{89150AC0-A4D9-4E34-ACFA-6D7ACE743DF2}" type="pres">
      <dgm:prSet presAssocID="{B7B439C6-57E6-4E35-8586-BC20BB398E96}" presName="node" presStyleLbl="node1" presStyleIdx="12" presStyleCnt="14">
        <dgm:presLayoutVars>
          <dgm:bulletEnabled val="1"/>
        </dgm:presLayoutVars>
      </dgm:prSet>
      <dgm:spPr/>
    </dgm:pt>
    <dgm:pt modelId="{98B34172-42D8-4845-B2C0-C0ADFDAC6B67}" type="pres">
      <dgm:prSet presAssocID="{B7B439C6-57E6-4E35-8586-BC20BB398E96}" presName="dummy" presStyleCnt="0"/>
      <dgm:spPr/>
    </dgm:pt>
    <dgm:pt modelId="{A7C0CA58-7154-46D5-8D5A-11B68A199506}" type="pres">
      <dgm:prSet presAssocID="{66851B4D-FEBF-494D-88C5-AAC9AD3DD8F1}" presName="sibTrans" presStyleLbl="sibTrans2D1" presStyleIdx="12" presStyleCnt="14"/>
      <dgm:spPr/>
    </dgm:pt>
    <dgm:pt modelId="{A1F3A035-556C-403D-8118-BF12C9A78801}" type="pres">
      <dgm:prSet presAssocID="{34F9EC11-DDA5-467F-9616-C17999E11B5B}" presName="node" presStyleLbl="node1" presStyleIdx="13" presStyleCnt="14">
        <dgm:presLayoutVars>
          <dgm:bulletEnabled val="1"/>
        </dgm:presLayoutVars>
      </dgm:prSet>
      <dgm:spPr/>
    </dgm:pt>
    <dgm:pt modelId="{4603FB3E-7071-479A-932F-32D5D9BFDF87}" type="pres">
      <dgm:prSet presAssocID="{34F9EC11-DDA5-467F-9616-C17999E11B5B}" presName="dummy" presStyleCnt="0"/>
      <dgm:spPr/>
    </dgm:pt>
    <dgm:pt modelId="{B022BB65-F251-4ABB-A108-C4E55911CC05}" type="pres">
      <dgm:prSet presAssocID="{A1217D08-A64A-4B12-9A29-5EBD2FF410E0}" presName="sibTrans" presStyleLbl="sibTrans2D1" presStyleIdx="13" presStyleCnt="14"/>
      <dgm:spPr/>
    </dgm:pt>
  </dgm:ptLst>
  <dgm:cxnLst>
    <dgm:cxn modelId="{01E9E500-0D4C-4A16-BACE-48BDDD8E6612}" type="presOf" srcId="{DE395D33-A398-4AB6-90A6-1D0D028840FC}" destId="{365E998B-3129-473F-8C7A-011C4D9A3CE2}" srcOrd="0" destOrd="0" presId="urn:microsoft.com/office/officeart/2005/8/layout/radial6"/>
    <dgm:cxn modelId="{609C1F01-46BE-46D4-BE25-E1C424215EA6}" type="presOf" srcId="{881470D5-2E2D-41E9-865D-649A4563AC25}" destId="{4A45F8BA-F916-4392-8B78-73BA20648291}" srcOrd="0" destOrd="0" presId="urn:microsoft.com/office/officeart/2005/8/layout/radial6"/>
    <dgm:cxn modelId="{4D62770F-0D41-4748-A3ED-6C059BC422C6}" type="presOf" srcId="{F389C1A6-BF1A-4FD4-868F-D12A66B365B5}" destId="{573C8265-63E9-4D08-9F0C-AFA9C2F1E571}" srcOrd="0" destOrd="0" presId="urn:microsoft.com/office/officeart/2005/8/layout/radial6"/>
    <dgm:cxn modelId="{D49D9D10-2D67-4F91-A779-9D08238A6334}" srcId="{E83922E9-EEF4-42C4-A751-1EA596C32B68}" destId="{B7B439C6-57E6-4E35-8586-BC20BB398E96}" srcOrd="12" destOrd="0" parTransId="{6A95D2F1-584F-4EC5-8C34-52DB37F2747D}" sibTransId="{66851B4D-FEBF-494D-88C5-AAC9AD3DD8F1}"/>
    <dgm:cxn modelId="{E538C31F-AAF0-45D1-BB32-C6E70B12BE14}" srcId="{E83922E9-EEF4-42C4-A751-1EA596C32B68}" destId="{A9A8D71B-5FE0-459C-B0DD-48A04781BFAC}" srcOrd="9" destOrd="0" parTransId="{8EB13342-918C-4E22-92A8-3413BE8D1D0E}" sibTransId="{F2596FB5-7EBB-45C9-A300-88EDD2519D0C}"/>
    <dgm:cxn modelId="{BA9EDA2F-9E20-49A5-8D3C-DB9977571B37}" srcId="{E83922E9-EEF4-42C4-A751-1EA596C32B68}" destId="{7D23C1A6-94D2-4D92-B93D-45B8B154E074}" srcOrd="0" destOrd="0" parTransId="{DFD5BFD8-E171-4112-B35B-71BDD28DF73B}" sibTransId="{57890BB2-6752-4CFE-8F2E-DB5083AF69F5}"/>
    <dgm:cxn modelId="{99A24432-3BDB-4F07-9233-C2E8DC236465}" type="presOf" srcId="{554548F6-1766-48D4-85DC-3F2AA0D7006F}" destId="{4A8B3D41-0AD4-4593-AEC4-611D52E13778}" srcOrd="0" destOrd="0" presId="urn:microsoft.com/office/officeart/2005/8/layout/radial6"/>
    <dgm:cxn modelId="{D2391833-FC75-4EB4-85F1-773541DCF90A}" srcId="{E83922E9-EEF4-42C4-A751-1EA596C32B68}" destId="{7911D07F-B537-40A8-9DA5-DA7CC607A288}" srcOrd="2" destOrd="0" parTransId="{166EBAE3-EE79-423E-8271-DC2CC51C2CBD}" sibTransId="{447298D9-4EC6-4787-9BF5-46ABD942B1BD}"/>
    <dgm:cxn modelId="{38A82434-D765-4394-B202-606AB733EB58}" type="presOf" srcId="{A1217D08-A64A-4B12-9A29-5EBD2FF410E0}" destId="{B022BB65-F251-4ABB-A108-C4E55911CC05}" srcOrd="0" destOrd="0" presId="urn:microsoft.com/office/officeart/2005/8/layout/radial6"/>
    <dgm:cxn modelId="{249C9836-47D9-4A1A-96E3-7CEA8A2394CC}" type="presOf" srcId="{5C0BAABF-83E6-4CAA-8C61-2AE9F576014C}" destId="{2405F48B-0B63-4953-A1EE-C9C6C64403CC}" srcOrd="0" destOrd="0" presId="urn:microsoft.com/office/officeart/2005/8/layout/radial6"/>
    <dgm:cxn modelId="{B3B73D37-537F-4591-8611-6857F7C8C416}" srcId="{E83922E9-EEF4-42C4-A751-1EA596C32B68}" destId="{AD9C3315-13D4-4D65-95DB-60F09F5C2026}" srcOrd="6" destOrd="0" parTransId="{A506EED7-640C-44BC-8B4D-FD80CCDEAA0A}" sibTransId="{554548F6-1766-48D4-85DC-3F2AA0D7006F}"/>
    <dgm:cxn modelId="{C08E023C-71A7-43D8-AE21-D0D0DFF5DF15}" type="presOf" srcId="{C46E07BF-9244-41BD-A8E7-BDD14876FC9D}" destId="{CA502515-5E75-41FE-B5CD-C050769138E1}" srcOrd="0" destOrd="0" presId="urn:microsoft.com/office/officeart/2005/8/layout/radial6"/>
    <dgm:cxn modelId="{6C09C840-C3B9-4FDE-AB72-3BB72EA9CC70}" type="presOf" srcId="{DEA34617-69FC-4D9C-9DE5-E1D726D45F2E}" destId="{CB4E3C0F-5261-44D9-B643-3C25856E1E37}" srcOrd="0" destOrd="0" presId="urn:microsoft.com/office/officeart/2005/8/layout/radial6"/>
    <dgm:cxn modelId="{D338BF41-6CA0-4337-8110-97712744A3FF}" type="presOf" srcId="{7911D07F-B537-40A8-9DA5-DA7CC607A288}" destId="{691E99FF-CC11-4D5C-9DA9-202BB2A62064}" srcOrd="0" destOrd="0" presId="urn:microsoft.com/office/officeart/2005/8/layout/radial6"/>
    <dgm:cxn modelId="{4F503D68-10EE-48F2-8349-6845A984B4A2}" type="presOf" srcId="{40394AB4-5A7F-4828-983B-8D58E854CFCE}" destId="{06D6267A-311E-4D58-9A2B-26F0F3C35B27}" srcOrd="0" destOrd="0" presId="urn:microsoft.com/office/officeart/2005/8/layout/radial6"/>
    <dgm:cxn modelId="{BDB4A26F-DE00-4F64-8F7D-9FB5E918AC7B}" type="presOf" srcId="{719F814E-9735-4563-AB1B-695A71B92BE9}" destId="{60895B7A-17F9-4D0D-83DF-B868705BE951}" srcOrd="0" destOrd="0" presId="urn:microsoft.com/office/officeart/2005/8/layout/radial6"/>
    <dgm:cxn modelId="{BCF7B96F-865F-4F56-9632-F139E71B6120}" type="presOf" srcId="{66851B4D-FEBF-494D-88C5-AAC9AD3DD8F1}" destId="{A7C0CA58-7154-46D5-8D5A-11B68A199506}" srcOrd="0" destOrd="0" presId="urn:microsoft.com/office/officeart/2005/8/layout/radial6"/>
    <dgm:cxn modelId="{DA347073-E84F-4E79-A9A5-4CBC434C59D3}" srcId="{E83922E9-EEF4-42C4-A751-1EA596C32B68}" destId="{5C0BAABF-83E6-4CAA-8C61-2AE9F576014C}" srcOrd="1" destOrd="0" parTransId="{4285226E-7271-4C23-912B-23CE39E77EBF}" sibTransId="{8D48B8C1-4D10-491B-847B-A05E17AE7855}"/>
    <dgm:cxn modelId="{C5027C77-D479-4872-8D7C-12BFB80829E7}" type="presOf" srcId="{AD9C3315-13D4-4D65-95DB-60F09F5C2026}" destId="{EC3C7CC4-1755-4DF7-9BF1-B74DEB669158}" srcOrd="0" destOrd="0" presId="urn:microsoft.com/office/officeart/2005/8/layout/radial6"/>
    <dgm:cxn modelId="{99B59558-0F02-4DA3-92EC-FBEE841177A5}" srcId="{E83922E9-EEF4-42C4-A751-1EA596C32B68}" destId="{D7AAF1D0-69EA-4BFB-A8D5-95E054E89447}" srcOrd="3" destOrd="0" parTransId="{A5FC9FD9-1601-4C0E-9082-F0B1359A20E8}" sibTransId="{1125D101-C153-4EDF-BCCC-DCDC335CCC7B}"/>
    <dgm:cxn modelId="{CD778280-9520-4907-9A92-B003840E3A56}" srcId="{E83922E9-EEF4-42C4-A751-1EA596C32B68}" destId="{881470D5-2E2D-41E9-865D-649A4563AC25}" srcOrd="8" destOrd="0" parTransId="{8650A22B-80B6-4176-9421-49055A5455BE}" sibTransId="{F389C1A6-BF1A-4FD4-868F-D12A66B365B5}"/>
    <dgm:cxn modelId="{F2F95C82-5268-41FC-B153-F4027A755C8F}" type="presOf" srcId="{D7AAF1D0-69EA-4BFB-A8D5-95E054E89447}" destId="{ED40BCE8-1BE8-4EB7-BACA-5A75FB9C3DD3}" srcOrd="0" destOrd="0" presId="urn:microsoft.com/office/officeart/2005/8/layout/radial6"/>
    <dgm:cxn modelId="{7437F883-198B-46CE-B3BF-6E19DD34A49E}" type="presOf" srcId="{7D23C1A6-94D2-4D92-B93D-45B8B154E074}" destId="{2B777D6B-77AC-4184-B96C-DC0F2D4E3A64}" srcOrd="0" destOrd="0" presId="urn:microsoft.com/office/officeart/2005/8/layout/radial6"/>
    <dgm:cxn modelId="{13EA2C8D-1BEE-4386-9202-8CF433653597}" type="presOf" srcId="{E83922E9-EEF4-42C4-A751-1EA596C32B68}" destId="{122402CD-CE9F-462F-B64A-01A632D6D8E2}" srcOrd="0" destOrd="0" presId="urn:microsoft.com/office/officeart/2005/8/layout/radial6"/>
    <dgm:cxn modelId="{4D5FCB91-DC18-410D-983B-0A9FA42DF839}" type="presOf" srcId="{A153EDE2-5D20-4D6A-8FB9-1A104D5168AC}" destId="{6F0A78B7-260C-4DD1-A6E3-B1633D1B59B1}" srcOrd="0" destOrd="0" presId="urn:microsoft.com/office/officeart/2005/8/layout/radial6"/>
    <dgm:cxn modelId="{08649197-FBB7-4098-897F-A1E0675FF34D}" type="presOf" srcId="{A9A8D71B-5FE0-459C-B0DD-48A04781BFAC}" destId="{04EAECF9-C818-4695-B879-7657008E213B}" srcOrd="0" destOrd="0" presId="urn:microsoft.com/office/officeart/2005/8/layout/radial6"/>
    <dgm:cxn modelId="{321A6CA0-A4EF-4A26-B1A1-0D77F4DFEEC3}" type="presOf" srcId="{5CC162EF-052E-4FAA-A4D6-A6D71D8411C5}" destId="{767E8259-4A6B-4638-A093-6ADCB2A1B1CB}" srcOrd="0" destOrd="0" presId="urn:microsoft.com/office/officeart/2005/8/layout/radial6"/>
    <dgm:cxn modelId="{D92D77A0-8377-4E0D-AA69-12F4D574A358}" type="presOf" srcId="{77787886-8A70-47E7-98FC-FD3CDB2B9FF8}" destId="{90303608-8384-4EF5-9F69-49BD839AA140}" srcOrd="0" destOrd="0" presId="urn:microsoft.com/office/officeart/2005/8/layout/radial6"/>
    <dgm:cxn modelId="{92DD20A7-AD64-4E8B-BDCB-0B72B377D7EC}" type="presOf" srcId="{B7B439C6-57E6-4E35-8586-BC20BB398E96}" destId="{89150AC0-A4D9-4E34-ACFA-6D7ACE743DF2}" srcOrd="0" destOrd="0" presId="urn:microsoft.com/office/officeart/2005/8/layout/radial6"/>
    <dgm:cxn modelId="{56BE5CAC-B495-4098-B364-BBAB8072E712}" srcId="{E83922E9-EEF4-42C4-A751-1EA596C32B68}" destId="{34F9EC11-DDA5-467F-9616-C17999E11B5B}" srcOrd="13" destOrd="0" parTransId="{92BCDFD0-FD9A-4F6E-BE32-1B65DA795DF0}" sibTransId="{A1217D08-A64A-4B12-9A29-5EBD2FF410E0}"/>
    <dgm:cxn modelId="{49A2BBAE-B8A4-4FFE-BF9C-2A6FFFC248FF}" type="presOf" srcId="{AB365FA3-A503-4549-8B64-EE2456531F4F}" destId="{2F4AB0A0-5F79-492E-AC5E-7451F4A5C5DD}" srcOrd="0" destOrd="0" presId="urn:microsoft.com/office/officeart/2005/8/layout/radial6"/>
    <dgm:cxn modelId="{E2CC36AF-4985-4284-8098-9A8DE6BE800A}" type="presOf" srcId="{34F9EC11-DDA5-467F-9616-C17999E11B5B}" destId="{A1F3A035-556C-403D-8118-BF12C9A78801}" srcOrd="0" destOrd="0" presId="urn:microsoft.com/office/officeart/2005/8/layout/radial6"/>
    <dgm:cxn modelId="{53A24AB6-E371-4424-9418-A377DA09FCE7}" srcId="{E83922E9-EEF4-42C4-A751-1EA596C32B68}" destId="{AB365FA3-A503-4549-8B64-EE2456531F4F}" srcOrd="11" destOrd="0" parTransId="{B8B55056-6678-495E-AC72-892F6113B2BA}" sibTransId="{719F814E-9735-4563-AB1B-695A71B92BE9}"/>
    <dgm:cxn modelId="{1A36B9B8-5AC2-4421-BCB0-E42191DB6E58}" type="presOf" srcId="{57890BB2-6752-4CFE-8F2E-DB5083AF69F5}" destId="{69755653-C243-4C6B-B7F5-F41EA794695D}" srcOrd="0" destOrd="0" presId="urn:microsoft.com/office/officeart/2005/8/layout/radial6"/>
    <dgm:cxn modelId="{6CD999C2-2A93-40E2-B2EA-56EA91D9FB2F}" srcId="{E83922E9-EEF4-42C4-A751-1EA596C32B68}" destId="{C46E07BF-9244-41BD-A8E7-BDD14876FC9D}" srcOrd="7" destOrd="0" parTransId="{D34A221D-C464-48AB-B27E-D97E44A8D8C8}" sibTransId="{A153EDE2-5D20-4D6A-8FB9-1A104D5168AC}"/>
    <dgm:cxn modelId="{2D2DC2C3-F1DF-4FEC-91F1-C594FCFF27AA}" type="presOf" srcId="{447298D9-4EC6-4787-9BF5-46ABD942B1BD}" destId="{23BB1C50-3441-45BE-B4CB-E71A0EF398A5}" srcOrd="0" destOrd="0" presId="urn:microsoft.com/office/officeart/2005/8/layout/radial6"/>
    <dgm:cxn modelId="{F4FF25D6-4D47-4ECB-87AE-1DE9023F9D5D}" srcId="{77787886-8A70-47E7-98FC-FD3CDB2B9FF8}" destId="{E83922E9-EEF4-42C4-A751-1EA596C32B68}" srcOrd="0" destOrd="0" parTransId="{13F5A42A-A360-42C6-AA51-9E462A437F93}" sibTransId="{6963B43B-29B0-4668-A388-326F114B6D38}"/>
    <dgm:cxn modelId="{B120A3D9-F2DB-4D3B-A7FB-4A3BA87C233C}" srcId="{E83922E9-EEF4-42C4-A751-1EA596C32B68}" destId="{DE395D33-A398-4AB6-90A6-1D0D028840FC}" srcOrd="10" destOrd="0" parTransId="{BECCC5AB-145A-4C5A-941E-A336836EA259}" sibTransId="{40394AB4-5A7F-4828-983B-8D58E854CFCE}"/>
    <dgm:cxn modelId="{15F8EDDB-42A4-49F3-B863-3EEE0BB4F7C3}" type="presOf" srcId="{1125D101-C153-4EDF-BCCC-DCDC335CCC7B}" destId="{936E2180-3AEF-4716-B4B7-38E522D4FBDE}" srcOrd="0" destOrd="0" presId="urn:microsoft.com/office/officeart/2005/8/layout/radial6"/>
    <dgm:cxn modelId="{A727E1E0-0D06-49C0-96BA-E16E5918E308}" srcId="{E83922E9-EEF4-42C4-A751-1EA596C32B68}" destId="{4C323165-6344-4AB3-82DF-D00961B49730}" srcOrd="4" destOrd="0" parTransId="{3012909D-581A-439C-BD3B-8FC9A90C6832}" sibTransId="{DEA34617-69FC-4D9C-9DE5-E1D726D45F2E}"/>
    <dgm:cxn modelId="{60047AE5-8B1F-4A8F-AEED-CEC859747B3E}" type="presOf" srcId="{8D48B8C1-4D10-491B-847B-A05E17AE7855}" destId="{67853794-6C9B-4E44-9756-BA7FC458736E}" srcOrd="0" destOrd="0" presId="urn:microsoft.com/office/officeart/2005/8/layout/radial6"/>
    <dgm:cxn modelId="{436151E6-B63B-45AD-9786-74901F141118}" type="presOf" srcId="{4C323165-6344-4AB3-82DF-D00961B49730}" destId="{392B8B47-4A30-4D2E-B693-2CC19EFB9B90}" srcOrd="0" destOrd="0" presId="urn:microsoft.com/office/officeart/2005/8/layout/radial6"/>
    <dgm:cxn modelId="{F5336CEA-2486-41BD-8525-18874391E0A1}" type="presOf" srcId="{F2596FB5-7EBB-45C9-A300-88EDD2519D0C}" destId="{65022EC3-4C95-4ADA-9C72-F5965DC965C3}" srcOrd="0" destOrd="0" presId="urn:microsoft.com/office/officeart/2005/8/layout/radial6"/>
    <dgm:cxn modelId="{49C7B2F2-7BA7-454B-A2D8-4826DCD1E9A0}" type="presOf" srcId="{17533A62-7F12-44F6-B0E5-EEC6C347F339}" destId="{99EA62B6-191C-4677-9C54-ACD8BAAF663D}" srcOrd="0" destOrd="0" presId="urn:microsoft.com/office/officeart/2005/8/layout/radial6"/>
    <dgm:cxn modelId="{3B981AF4-DAC1-4D34-9AFC-0F6F062AC4E5}" srcId="{E83922E9-EEF4-42C4-A751-1EA596C32B68}" destId="{17533A62-7F12-44F6-B0E5-EEC6C347F339}" srcOrd="5" destOrd="0" parTransId="{27B79A9F-2052-448A-A1EA-0D25934C309D}" sibTransId="{5CC162EF-052E-4FAA-A4D6-A6D71D8411C5}"/>
    <dgm:cxn modelId="{7E7349BC-B0DA-4D54-AC94-B79393002EEE}" type="presParOf" srcId="{90303608-8384-4EF5-9F69-49BD839AA140}" destId="{122402CD-CE9F-462F-B64A-01A632D6D8E2}" srcOrd="0" destOrd="0" presId="urn:microsoft.com/office/officeart/2005/8/layout/radial6"/>
    <dgm:cxn modelId="{9C72D1AF-59FA-463B-BA7A-5DC3E3EEA0EC}" type="presParOf" srcId="{90303608-8384-4EF5-9F69-49BD839AA140}" destId="{2B777D6B-77AC-4184-B96C-DC0F2D4E3A64}" srcOrd="1" destOrd="0" presId="urn:microsoft.com/office/officeart/2005/8/layout/radial6"/>
    <dgm:cxn modelId="{1E8D6C4F-3715-405B-BCEC-B96E8FF58FE2}" type="presParOf" srcId="{90303608-8384-4EF5-9F69-49BD839AA140}" destId="{5CAFD253-6ADD-4CB5-BA73-6D5A4F1882BF}" srcOrd="2" destOrd="0" presId="urn:microsoft.com/office/officeart/2005/8/layout/radial6"/>
    <dgm:cxn modelId="{DBB81921-D140-4097-A7BE-930F45403E10}" type="presParOf" srcId="{90303608-8384-4EF5-9F69-49BD839AA140}" destId="{69755653-C243-4C6B-B7F5-F41EA794695D}" srcOrd="3" destOrd="0" presId="urn:microsoft.com/office/officeart/2005/8/layout/radial6"/>
    <dgm:cxn modelId="{E4BF7DAD-2C28-4C84-B766-C92CD3DC96D5}" type="presParOf" srcId="{90303608-8384-4EF5-9F69-49BD839AA140}" destId="{2405F48B-0B63-4953-A1EE-C9C6C64403CC}" srcOrd="4" destOrd="0" presId="urn:microsoft.com/office/officeart/2005/8/layout/radial6"/>
    <dgm:cxn modelId="{0F749DF8-E761-4D92-8906-EACDF8B324B8}" type="presParOf" srcId="{90303608-8384-4EF5-9F69-49BD839AA140}" destId="{1935C0B6-7628-4E05-A3E9-690A8057BC90}" srcOrd="5" destOrd="0" presId="urn:microsoft.com/office/officeart/2005/8/layout/radial6"/>
    <dgm:cxn modelId="{4DFE9F92-EC40-40EB-A23A-AEDD42FC4734}" type="presParOf" srcId="{90303608-8384-4EF5-9F69-49BD839AA140}" destId="{67853794-6C9B-4E44-9756-BA7FC458736E}" srcOrd="6" destOrd="0" presId="urn:microsoft.com/office/officeart/2005/8/layout/radial6"/>
    <dgm:cxn modelId="{0953248D-7128-47C6-9BE2-BE6396868625}" type="presParOf" srcId="{90303608-8384-4EF5-9F69-49BD839AA140}" destId="{691E99FF-CC11-4D5C-9DA9-202BB2A62064}" srcOrd="7" destOrd="0" presId="urn:microsoft.com/office/officeart/2005/8/layout/radial6"/>
    <dgm:cxn modelId="{66B70B30-A873-4DB9-A193-06BB8DC1117D}" type="presParOf" srcId="{90303608-8384-4EF5-9F69-49BD839AA140}" destId="{97D03AA9-3382-4FA2-BB5E-5B2E12EEC5D2}" srcOrd="8" destOrd="0" presId="urn:microsoft.com/office/officeart/2005/8/layout/radial6"/>
    <dgm:cxn modelId="{5FCB4C5D-66C2-4E55-9E45-023E58CC7EE1}" type="presParOf" srcId="{90303608-8384-4EF5-9F69-49BD839AA140}" destId="{23BB1C50-3441-45BE-B4CB-E71A0EF398A5}" srcOrd="9" destOrd="0" presId="urn:microsoft.com/office/officeart/2005/8/layout/radial6"/>
    <dgm:cxn modelId="{6D65CC9B-F965-4218-B235-DBC1B2CF6145}" type="presParOf" srcId="{90303608-8384-4EF5-9F69-49BD839AA140}" destId="{ED40BCE8-1BE8-4EB7-BACA-5A75FB9C3DD3}" srcOrd="10" destOrd="0" presId="urn:microsoft.com/office/officeart/2005/8/layout/radial6"/>
    <dgm:cxn modelId="{565D09E5-A1D6-4E00-9076-4780B86A5B7A}" type="presParOf" srcId="{90303608-8384-4EF5-9F69-49BD839AA140}" destId="{F51E7B5C-664F-4914-8E5D-2F1A72B69EBB}" srcOrd="11" destOrd="0" presId="urn:microsoft.com/office/officeart/2005/8/layout/radial6"/>
    <dgm:cxn modelId="{8145E527-5D02-4280-90AA-36143FDF08D2}" type="presParOf" srcId="{90303608-8384-4EF5-9F69-49BD839AA140}" destId="{936E2180-3AEF-4716-B4B7-38E522D4FBDE}" srcOrd="12" destOrd="0" presId="urn:microsoft.com/office/officeart/2005/8/layout/radial6"/>
    <dgm:cxn modelId="{F1528716-37F2-483E-99FC-D0DC9A596AAC}" type="presParOf" srcId="{90303608-8384-4EF5-9F69-49BD839AA140}" destId="{392B8B47-4A30-4D2E-B693-2CC19EFB9B90}" srcOrd="13" destOrd="0" presId="urn:microsoft.com/office/officeart/2005/8/layout/radial6"/>
    <dgm:cxn modelId="{05E37FDD-6A91-44BF-A56D-66852309D560}" type="presParOf" srcId="{90303608-8384-4EF5-9F69-49BD839AA140}" destId="{DD2A4335-C870-454D-8179-F4EDEC3D56C2}" srcOrd="14" destOrd="0" presId="urn:microsoft.com/office/officeart/2005/8/layout/radial6"/>
    <dgm:cxn modelId="{5E3A4FA0-5CB7-4DFA-BA61-9FB5EE814BCB}" type="presParOf" srcId="{90303608-8384-4EF5-9F69-49BD839AA140}" destId="{CB4E3C0F-5261-44D9-B643-3C25856E1E37}" srcOrd="15" destOrd="0" presId="urn:microsoft.com/office/officeart/2005/8/layout/radial6"/>
    <dgm:cxn modelId="{147A5673-ABE0-4446-9212-B3C7B95E80FB}" type="presParOf" srcId="{90303608-8384-4EF5-9F69-49BD839AA140}" destId="{99EA62B6-191C-4677-9C54-ACD8BAAF663D}" srcOrd="16" destOrd="0" presId="urn:microsoft.com/office/officeart/2005/8/layout/radial6"/>
    <dgm:cxn modelId="{7679F42D-3C92-4AA1-A105-23F3566FEB22}" type="presParOf" srcId="{90303608-8384-4EF5-9F69-49BD839AA140}" destId="{81F936A4-3440-45FB-810F-CC2146CAC9A0}" srcOrd="17" destOrd="0" presId="urn:microsoft.com/office/officeart/2005/8/layout/radial6"/>
    <dgm:cxn modelId="{850310BC-3B7F-4E64-8BB6-72893B8ACF5F}" type="presParOf" srcId="{90303608-8384-4EF5-9F69-49BD839AA140}" destId="{767E8259-4A6B-4638-A093-6ADCB2A1B1CB}" srcOrd="18" destOrd="0" presId="urn:microsoft.com/office/officeart/2005/8/layout/radial6"/>
    <dgm:cxn modelId="{10D83F66-636E-43E4-A726-DECD052AE9DD}" type="presParOf" srcId="{90303608-8384-4EF5-9F69-49BD839AA140}" destId="{EC3C7CC4-1755-4DF7-9BF1-B74DEB669158}" srcOrd="19" destOrd="0" presId="urn:microsoft.com/office/officeart/2005/8/layout/radial6"/>
    <dgm:cxn modelId="{661BE186-DB89-40D1-8A4F-2182E22590B8}" type="presParOf" srcId="{90303608-8384-4EF5-9F69-49BD839AA140}" destId="{CD7A1B5E-000D-4E8A-BAEE-47E8ED58A39F}" srcOrd="20" destOrd="0" presId="urn:microsoft.com/office/officeart/2005/8/layout/radial6"/>
    <dgm:cxn modelId="{4ED5D0F5-3C4B-471D-BC41-76E335DEED8C}" type="presParOf" srcId="{90303608-8384-4EF5-9F69-49BD839AA140}" destId="{4A8B3D41-0AD4-4593-AEC4-611D52E13778}" srcOrd="21" destOrd="0" presId="urn:microsoft.com/office/officeart/2005/8/layout/radial6"/>
    <dgm:cxn modelId="{F9BC0FC2-DA86-4420-9ED9-C80C014770E3}" type="presParOf" srcId="{90303608-8384-4EF5-9F69-49BD839AA140}" destId="{CA502515-5E75-41FE-B5CD-C050769138E1}" srcOrd="22" destOrd="0" presId="urn:microsoft.com/office/officeart/2005/8/layout/radial6"/>
    <dgm:cxn modelId="{29191C9E-7A11-447F-A06E-3A24F6AAC2D2}" type="presParOf" srcId="{90303608-8384-4EF5-9F69-49BD839AA140}" destId="{1989304A-F56A-4E73-8036-1373152EAA8A}" srcOrd="23" destOrd="0" presId="urn:microsoft.com/office/officeart/2005/8/layout/radial6"/>
    <dgm:cxn modelId="{89646379-1027-4847-880D-D434DE95054D}" type="presParOf" srcId="{90303608-8384-4EF5-9F69-49BD839AA140}" destId="{6F0A78B7-260C-4DD1-A6E3-B1633D1B59B1}" srcOrd="24" destOrd="0" presId="urn:microsoft.com/office/officeart/2005/8/layout/radial6"/>
    <dgm:cxn modelId="{C2B4EFFD-E9F2-4F8A-89E1-69549213C07E}" type="presParOf" srcId="{90303608-8384-4EF5-9F69-49BD839AA140}" destId="{4A45F8BA-F916-4392-8B78-73BA20648291}" srcOrd="25" destOrd="0" presId="urn:microsoft.com/office/officeart/2005/8/layout/radial6"/>
    <dgm:cxn modelId="{EECC564B-4B96-43ED-AABB-D21FF70C386C}" type="presParOf" srcId="{90303608-8384-4EF5-9F69-49BD839AA140}" destId="{0FF800F9-AF01-4A94-A55D-C0A93DA26039}" srcOrd="26" destOrd="0" presId="urn:microsoft.com/office/officeart/2005/8/layout/radial6"/>
    <dgm:cxn modelId="{0F18BBBE-543B-4AA6-8E76-99CBAD6BDDB3}" type="presParOf" srcId="{90303608-8384-4EF5-9F69-49BD839AA140}" destId="{573C8265-63E9-4D08-9F0C-AFA9C2F1E571}" srcOrd="27" destOrd="0" presId="urn:microsoft.com/office/officeart/2005/8/layout/radial6"/>
    <dgm:cxn modelId="{C8842BFD-A39B-42DC-A485-0041F97B9C49}" type="presParOf" srcId="{90303608-8384-4EF5-9F69-49BD839AA140}" destId="{04EAECF9-C818-4695-B879-7657008E213B}" srcOrd="28" destOrd="0" presId="urn:microsoft.com/office/officeart/2005/8/layout/radial6"/>
    <dgm:cxn modelId="{86377FB4-40BC-4E48-9F05-58CEA6D7184F}" type="presParOf" srcId="{90303608-8384-4EF5-9F69-49BD839AA140}" destId="{1E4E99B1-F33C-46CC-AF23-72F42D0C6C35}" srcOrd="29" destOrd="0" presId="urn:microsoft.com/office/officeart/2005/8/layout/radial6"/>
    <dgm:cxn modelId="{630B6242-4A03-4DA2-8BF8-E1490571464E}" type="presParOf" srcId="{90303608-8384-4EF5-9F69-49BD839AA140}" destId="{65022EC3-4C95-4ADA-9C72-F5965DC965C3}" srcOrd="30" destOrd="0" presId="urn:microsoft.com/office/officeart/2005/8/layout/radial6"/>
    <dgm:cxn modelId="{2B5BE6D0-48C0-422B-A089-9F5EB1086C9A}" type="presParOf" srcId="{90303608-8384-4EF5-9F69-49BD839AA140}" destId="{365E998B-3129-473F-8C7A-011C4D9A3CE2}" srcOrd="31" destOrd="0" presId="urn:microsoft.com/office/officeart/2005/8/layout/radial6"/>
    <dgm:cxn modelId="{96577206-C319-4B7F-8471-44B17B91494E}" type="presParOf" srcId="{90303608-8384-4EF5-9F69-49BD839AA140}" destId="{5A18668D-8CB8-4790-9599-938CAEF052CB}" srcOrd="32" destOrd="0" presId="urn:microsoft.com/office/officeart/2005/8/layout/radial6"/>
    <dgm:cxn modelId="{87C095A1-0843-4E7C-82C9-3385868ABB4A}" type="presParOf" srcId="{90303608-8384-4EF5-9F69-49BD839AA140}" destId="{06D6267A-311E-4D58-9A2B-26F0F3C35B27}" srcOrd="33" destOrd="0" presId="urn:microsoft.com/office/officeart/2005/8/layout/radial6"/>
    <dgm:cxn modelId="{9840744D-BAF9-46CB-AB69-7E32F979AE8B}" type="presParOf" srcId="{90303608-8384-4EF5-9F69-49BD839AA140}" destId="{2F4AB0A0-5F79-492E-AC5E-7451F4A5C5DD}" srcOrd="34" destOrd="0" presId="urn:microsoft.com/office/officeart/2005/8/layout/radial6"/>
    <dgm:cxn modelId="{2FFCA941-95F7-4566-BBED-9809ABB9829E}" type="presParOf" srcId="{90303608-8384-4EF5-9F69-49BD839AA140}" destId="{DE71C7CF-36EA-4368-9967-4622800AA384}" srcOrd="35" destOrd="0" presId="urn:microsoft.com/office/officeart/2005/8/layout/radial6"/>
    <dgm:cxn modelId="{EB847F7F-1E31-432C-984A-CB1265BC451A}" type="presParOf" srcId="{90303608-8384-4EF5-9F69-49BD839AA140}" destId="{60895B7A-17F9-4D0D-83DF-B868705BE951}" srcOrd="36" destOrd="0" presId="urn:microsoft.com/office/officeart/2005/8/layout/radial6"/>
    <dgm:cxn modelId="{E8E7473D-FB46-4F16-B3E9-766AAAF88CF3}" type="presParOf" srcId="{90303608-8384-4EF5-9F69-49BD839AA140}" destId="{89150AC0-A4D9-4E34-ACFA-6D7ACE743DF2}" srcOrd="37" destOrd="0" presId="urn:microsoft.com/office/officeart/2005/8/layout/radial6"/>
    <dgm:cxn modelId="{31204B46-68E0-4B8A-AC46-6FCD045F6634}" type="presParOf" srcId="{90303608-8384-4EF5-9F69-49BD839AA140}" destId="{98B34172-42D8-4845-B2C0-C0ADFDAC6B67}" srcOrd="38" destOrd="0" presId="urn:microsoft.com/office/officeart/2005/8/layout/radial6"/>
    <dgm:cxn modelId="{A767CCFC-931A-4606-8078-A3ADC8DED443}" type="presParOf" srcId="{90303608-8384-4EF5-9F69-49BD839AA140}" destId="{A7C0CA58-7154-46D5-8D5A-11B68A199506}" srcOrd="39" destOrd="0" presId="urn:microsoft.com/office/officeart/2005/8/layout/radial6"/>
    <dgm:cxn modelId="{E5E66A51-D972-43E4-8F67-110D87393458}" type="presParOf" srcId="{90303608-8384-4EF5-9F69-49BD839AA140}" destId="{A1F3A035-556C-403D-8118-BF12C9A78801}" srcOrd="40" destOrd="0" presId="urn:microsoft.com/office/officeart/2005/8/layout/radial6"/>
    <dgm:cxn modelId="{9891B66D-ABD9-47C8-A22E-5C52F674A03A}" type="presParOf" srcId="{90303608-8384-4EF5-9F69-49BD839AA140}" destId="{4603FB3E-7071-479A-932F-32D5D9BFDF87}" srcOrd="41" destOrd="0" presId="urn:microsoft.com/office/officeart/2005/8/layout/radial6"/>
    <dgm:cxn modelId="{8AB11EB8-A9E5-4EF8-A746-6859859F2981}" type="presParOf" srcId="{90303608-8384-4EF5-9F69-49BD839AA140}" destId="{B022BB65-F251-4ABB-A108-C4E55911CC05}" srcOrd="4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996AB54-A59A-4536-91D3-328AA418B03A}" type="doc">
      <dgm:prSet loTypeId="urn:microsoft.com/office/officeart/2005/8/layout/chevron2" loCatId="process" qsTypeId="urn:microsoft.com/office/officeart/2005/8/quickstyle/simple1" qsCatId="simple" csTypeId="urn:microsoft.com/office/officeart/2005/8/colors/colorful2" csCatId="colorful" phldr="1"/>
      <dgm:spPr/>
      <dgm:t>
        <a:bodyPr/>
        <a:lstStyle/>
        <a:p>
          <a:endParaRPr lang="en-US"/>
        </a:p>
      </dgm:t>
    </dgm:pt>
    <dgm:pt modelId="{E0964835-E580-4960-B855-239D74B807F5}">
      <dgm:prSet phldrT="[Text]"/>
      <dgm:spPr/>
      <dgm:t>
        <a:bodyPr/>
        <a:lstStyle/>
        <a:p>
          <a:r>
            <a:rPr lang="de-DE" dirty="0"/>
            <a:t>FS_AMD</a:t>
          </a:r>
          <a:endParaRPr lang="en-US" dirty="0"/>
        </a:p>
      </dgm:t>
    </dgm:pt>
    <dgm:pt modelId="{1DD62F18-68EC-4EF4-B7DE-B05C517AB47E}" type="parTrans" cxnId="{15520F97-3299-45ED-A759-BCA58FA1A863}">
      <dgm:prSet/>
      <dgm:spPr/>
      <dgm:t>
        <a:bodyPr/>
        <a:lstStyle/>
        <a:p>
          <a:endParaRPr lang="en-US"/>
        </a:p>
      </dgm:t>
    </dgm:pt>
    <dgm:pt modelId="{2DF65123-81A6-4502-8154-EBA682184AB3}" type="sibTrans" cxnId="{15520F97-3299-45ED-A759-BCA58FA1A863}">
      <dgm:prSet/>
      <dgm:spPr/>
      <dgm:t>
        <a:bodyPr/>
        <a:lstStyle/>
        <a:p>
          <a:endParaRPr lang="en-US"/>
        </a:p>
      </dgm:t>
    </dgm:pt>
    <dgm:pt modelId="{933676D5-E427-43F2-8750-B87F6455C64C}">
      <dgm:prSet phldrT="[Text]"/>
      <dgm:spPr/>
      <dgm:t>
        <a:bodyPr/>
        <a:lstStyle/>
        <a:p>
          <a:r>
            <a:rPr lang="de-DE" dirty="0"/>
            <a:t>Study </a:t>
          </a:r>
          <a:r>
            <a:rPr lang="de-DE" dirty="0" err="1"/>
            <a:t>completed</a:t>
          </a:r>
          <a:r>
            <a:rPr lang="de-DE" dirty="0"/>
            <a:t> in </a:t>
          </a:r>
          <a:r>
            <a:rPr lang="de-DE" dirty="0" err="1"/>
            <a:t>Dec</a:t>
          </a:r>
          <a:r>
            <a:rPr lang="de-DE" dirty="0"/>
            <a:t> ‘25 (</a:t>
          </a:r>
          <a:r>
            <a:rPr lang="de-DE" dirty="0" err="1"/>
            <a:t>stage</a:t>
          </a:r>
          <a:r>
            <a:rPr lang="de-DE" dirty="0"/>
            <a:t> 2) and Mar ‘25</a:t>
          </a:r>
          <a:endParaRPr lang="en-US" dirty="0"/>
        </a:p>
      </dgm:t>
    </dgm:pt>
    <dgm:pt modelId="{E5CFA540-08CB-4A86-9E06-6991C5D97890}" type="parTrans" cxnId="{49AEC60B-83F9-483A-AABB-20993994ADD4}">
      <dgm:prSet/>
      <dgm:spPr/>
      <dgm:t>
        <a:bodyPr/>
        <a:lstStyle/>
        <a:p>
          <a:endParaRPr lang="en-US"/>
        </a:p>
      </dgm:t>
    </dgm:pt>
    <dgm:pt modelId="{81556A14-DE05-412D-B885-66739D839144}" type="sibTrans" cxnId="{49AEC60B-83F9-483A-AABB-20993994ADD4}">
      <dgm:prSet/>
      <dgm:spPr/>
      <dgm:t>
        <a:bodyPr/>
        <a:lstStyle/>
        <a:p>
          <a:endParaRPr lang="en-US"/>
        </a:p>
      </dgm:t>
    </dgm:pt>
    <dgm:pt modelId="{E62F649B-9655-4B48-9D28-6CA18890C954}">
      <dgm:prSet phldrT="[Text]"/>
      <dgm:spPr/>
      <dgm:t>
        <a:bodyPr/>
        <a:lstStyle/>
        <a:p>
          <a:r>
            <a:rPr lang="de-DE" dirty="0" err="1"/>
            <a:t>Identified</a:t>
          </a:r>
          <a:r>
            <a:rPr lang="de-DE" dirty="0"/>
            <a:t> normative </a:t>
          </a:r>
          <a:r>
            <a:rPr lang="de-DE" dirty="0" err="1"/>
            <a:t>work</a:t>
          </a:r>
          <a:endParaRPr lang="en-US" dirty="0"/>
        </a:p>
      </dgm:t>
    </dgm:pt>
    <dgm:pt modelId="{F2850AF9-7704-4F4B-A9B3-F604B069674E}" type="parTrans" cxnId="{339814AE-15B9-42F8-9032-3E1BDB907352}">
      <dgm:prSet/>
      <dgm:spPr/>
      <dgm:t>
        <a:bodyPr/>
        <a:lstStyle/>
        <a:p>
          <a:endParaRPr lang="en-US"/>
        </a:p>
      </dgm:t>
    </dgm:pt>
    <dgm:pt modelId="{97B887AC-F0CE-4BFB-8F70-02245AD50EA1}" type="sibTrans" cxnId="{339814AE-15B9-42F8-9032-3E1BDB907352}">
      <dgm:prSet/>
      <dgm:spPr/>
      <dgm:t>
        <a:bodyPr/>
        <a:lstStyle/>
        <a:p>
          <a:endParaRPr lang="en-US"/>
        </a:p>
      </dgm:t>
    </dgm:pt>
    <dgm:pt modelId="{31DAD1D6-3542-4953-BA43-A366E7B136D6}">
      <dgm:prSet phldrT="[Text]"/>
      <dgm:spPr/>
      <dgm:t>
        <a:bodyPr/>
        <a:lstStyle/>
        <a:p>
          <a:r>
            <a:rPr lang="de-DE" dirty="0"/>
            <a:t>AMD-ARCH-MED</a:t>
          </a:r>
          <a:endParaRPr lang="en-US" dirty="0"/>
        </a:p>
      </dgm:t>
    </dgm:pt>
    <dgm:pt modelId="{7CCC9E62-BEBF-4537-A2F5-B0AEE6F95DC6}" type="parTrans" cxnId="{4F268C39-1E6B-4343-99F2-4E3BDB172B48}">
      <dgm:prSet/>
      <dgm:spPr/>
      <dgm:t>
        <a:bodyPr/>
        <a:lstStyle/>
        <a:p>
          <a:endParaRPr lang="en-US"/>
        </a:p>
      </dgm:t>
    </dgm:pt>
    <dgm:pt modelId="{7C06A832-17F7-4FD2-903E-DFDE11F43677}" type="sibTrans" cxnId="{4F268C39-1E6B-4343-99F2-4E3BDB172B48}">
      <dgm:prSet/>
      <dgm:spPr/>
      <dgm:t>
        <a:bodyPr/>
        <a:lstStyle/>
        <a:p>
          <a:endParaRPr lang="en-US"/>
        </a:p>
      </dgm:t>
    </dgm:pt>
    <dgm:pt modelId="{65D3E053-B7FB-45E1-A570-22879607DD6F}">
      <dgm:prSet phldrT="[Text]"/>
      <dgm:spPr/>
      <dgm:t>
        <a:bodyPr/>
        <a:lstStyle/>
        <a:p>
          <a:r>
            <a:rPr lang="de-DE" dirty="0"/>
            <a:t>Stage-2 </a:t>
          </a:r>
          <a:r>
            <a:rPr lang="de-DE" dirty="0" err="1"/>
            <a:t>work</a:t>
          </a:r>
          <a:r>
            <a:rPr lang="de-DE" dirty="0"/>
            <a:t> </a:t>
          </a:r>
          <a:r>
            <a:rPr lang="de-DE" dirty="0" err="1"/>
            <a:t>for</a:t>
          </a:r>
          <a:r>
            <a:rPr lang="de-DE" dirty="0"/>
            <a:t> Streaming and MBS</a:t>
          </a:r>
          <a:endParaRPr lang="en-US" dirty="0"/>
        </a:p>
      </dgm:t>
    </dgm:pt>
    <dgm:pt modelId="{30036E59-7C6D-4CE9-A029-1D120061FC73}" type="parTrans" cxnId="{B97C6518-F1AD-41C9-8AEB-6FB0860742D4}">
      <dgm:prSet/>
      <dgm:spPr/>
      <dgm:t>
        <a:bodyPr/>
        <a:lstStyle/>
        <a:p>
          <a:endParaRPr lang="en-US"/>
        </a:p>
      </dgm:t>
    </dgm:pt>
    <dgm:pt modelId="{42A9E5EF-C26C-4824-BCBB-D839EA8A681F}" type="sibTrans" cxnId="{B97C6518-F1AD-41C9-8AEB-6FB0860742D4}">
      <dgm:prSet/>
      <dgm:spPr/>
      <dgm:t>
        <a:bodyPr/>
        <a:lstStyle/>
        <a:p>
          <a:endParaRPr lang="en-US"/>
        </a:p>
      </dgm:t>
    </dgm:pt>
    <dgm:pt modelId="{8EFD7A63-B834-4626-8AD0-3690A058D4FD}">
      <dgm:prSet phldrT="[Text]"/>
      <dgm:spPr/>
      <dgm:t>
        <a:bodyPr/>
        <a:lstStyle/>
        <a:p>
          <a:r>
            <a:rPr lang="de-DE" dirty="0" err="1"/>
            <a:t>Completed</a:t>
          </a:r>
          <a:r>
            <a:rPr lang="de-DE" dirty="0"/>
            <a:t> also in Mar 25</a:t>
          </a:r>
          <a:endParaRPr lang="en-US" dirty="0"/>
        </a:p>
      </dgm:t>
    </dgm:pt>
    <dgm:pt modelId="{78B98A96-4AAE-47E3-9C02-004F81EF5E43}" type="parTrans" cxnId="{EE4ABA41-3093-4B7B-A46E-44D2F6FA67F0}">
      <dgm:prSet/>
      <dgm:spPr/>
      <dgm:t>
        <a:bodyPr/>
        <a:lstStyle/>
        <a:p>
          <a:endParaRPr lang="en-US"/>
        </a:p>
      </dgm:t>
    </dgm:pt>
    <dgm:pt modelId="{3E26065D-FB16-4FAB-9D01-3D93F39B6210}" type="sibTrans" cxnId="{EE4ABA41-3093-4B7B-A46E-44D2F6FA67F0}">
      <dgm:prSet/>
      <dgm:spPr/>
      <dgm:t>
        <a:bodyPr/>
        <a:lstStyle/>
        <a:p>
          <a:endParaRPr lang="en-US"/>
        </a:p>
      </dgm:t>
    </dgm:pt>
    <dgm:pt modelId="{BAE9D939-3178-4CF7-9928-B07850EAC259}">
      <dgm:prSet phldrT="[Text]"/>
      <dgm:spPr/>
      <dgm:t>
        <a:bodyPr/>
        <a:lstStyle/>
        <a:p>
          <a:r>
            <a:rPr lang="de-DE" dirty="0"/>
            <a:t>AMD_PRO-MED</a:t>
          </a:r>
          <a:endParaRPr lang="en-US" dirty="0"/>
        </a:p>
      </dgm:t>
    </dgm:pt>
    <dgm:pt modelId="{9B990610-3B58-4EBE-A812-3B2A0DB07202}" type="parTrans" cxnId="{610A7212-F605-4812-B621-C64E5224A61C}">
      <dgm:prSet/>
      <dgm:spPr/>
      <dgm:t>
        <a:bodyPr/>
        <a:lstStyle/>
        <a:p>
          <a:endParaRPr lang="en-US"/>
        </a:p>
      </dgm:t>
    </dgm:pt>
    <dgm:pt modelId="{440281BA-2DBE-4EBC-BEBE-8D84A43B4D36}" type="sibTrans" cxnId="{610A7212-F605-4812-B621-C64E5224A61C}">
      <dgm:prSet/>
      <dgm:spPr/>
      <dgm:t>
        <a:bodyPr/>
        <a:lstStyle/>
        <a:p>
          <a:endParaRPr lang="en-US"/>
        </a:p>
      </dgm:t>
    </dgm:pt>
    <dgm:pt modelId="{5B7A08B8-5AE3-40D6-B130-9F0FEFA3BC7D}">
      <dgm:prSet phldrT="[Text]"/>
      <dgm:spPr/>
      <dgm:t>
        <a:bodyPr/>
        <a:lstStyle/>
        <a:p>
          <a:r>
            <a:rPr lang="de-DE" dirty="0"/>
            <a:t>Stage-3 Protocol </a:t>
          </a:r>
          <a:r>
            <a:rPr lang="de-DE" dirty="0" err="1"/>
            <a:t>work</a:t>
          </a:r>
          <a:r>
            <a:rPr lang="de-DE" dirty="0"/>
            <a:t> </a:t>
          </a:r>
          <a:r>
            <a:rPr lang="de-DE" dirty="0" err="1"/>
            <a:t>ongoing</a:t>
          </a:r>
          <a:endParaRPr lang="en-US" dirty="0"/>
        </a:p>
      </dgm:t>
    </dgm:pt>
    <dgm:pt modelId="{CDB172AD-D5D8-4F16-AA72-516E7AB4D074}" type="parTrans" cxnId="{1007058C-3FF2-4734-A053-CC0EC22CBC32}">
      <dgm:prSet/>
      <dgm:spPr/>
      <dgm:t>
        <a:bodyPr/>
        <a:lstStyle/>
        <a:p>
          <a:endParaRPr lang="en-US"/>
        </a:p>
      </dgm:t>
    </dgm:pt>
    <dgm:pt modelId="{2AFB4590-03CB-42A2-84D9-850C4DA1F642}" type="sibTrans" cxnId="{1007058C-3FF2-4734-A053-CC0EC22CBC32}">
      <dgm:prSet/>
      <dgm:spPr/>
      <dgm:t>
        <a:bodyPr/>
        <a:lstStyle/>
        <a:p>
          <a:endParaRPr lang="en-US"/>
        </a:p>
      </dgm:t>
    </dgm:pt>
    <dgm:pt modelId="{E010F96E-5DAD-4701-B601-441945C0F1EE}">
      <dgm:prSet phldrT="[Text]"/>
      <dgm:spPr/>
      <dgm:t>
        <a:bodyPr/>
        <a:lstStyle/>
        <a:p>
          <a:r>
            <a:rPr lang="de-DE" dirty="0" err="1"/>
            <a:t>Completion</a:t>
          </a:r>
          <a:r>
            <a:rPr lang="de-DE" dirty="0"/>
            <a:t> </a:t>
          </a:r>
          <a:r>
            <a:rPr lang="de-DE" dirty="0" err="1"/>
            <a:t>expected</a:t>
          </a:r>
          <a:r>
            <a:rPr lang="de-DE" dirty="0"/>
            <a:t> </a:t>
          </a:r>
          <a:r>
            <a:rPr lang="de-DE" dirty="0" err="1"/>
            <a:t>by</a:t>
          </a:r>
          <a:r>
            <a:rPr lang="de-DE" dirty="0"/>
            <a:t> Sep 25, open API </a:t>
          </a:r>
          <a:r>
            <a:rPr lang="de-DE" dirty="0" err="1"/>
            <a:t>Dec</a:t>
          </a:r>
          <a:r>
            <a:rPr lang="de-DE" dirty="0"/>
            <a:t> 25</a:t>
          </a:r>
          <a:endParaRPr lang="en-US" dirty="0"/>
        </a:p>
      </dgm:t>
    </dgm:pt>
    <dgm:pt modelId="{6E774CED-E50E-4658-A18E-26C0CB115B69}" type="parTrans" cxnId="{EA756EFE-238A-4886-B6E6-DA5E359AD5E3}">
      <dgm:prSet/>
      <dgm:spPr/>
      <dgm:t>
        <a:bodyPr/>
        <a:lstStyle/>
        <a:p>
          <a:endParaRPr lang="en-US"/>
        </a:p>
      </dgm:t>
    </dgm:pt>
    <dgm:pt modelId="{5965F811-560C-493E-AB9A-03968066B7BF}" type="sibTrans" cxnId="{EA756EFE-238A-4886-B6E6-DA5E359AD5E3}">
      <dgm:prSet/>
      <dgm:spPr/>
      <dgm:t>
        <a:bodyPr/>
        <a:lstStyle/>
        <a:p>
          <a:endParaRPr lang="en-US"/>
        </a:p>
      </dgm:t>
    </dgm:pt>
    <dgm:pt modelId="{0F21BA6A-B6B1-407A-ACED-25E7525F0058}">
      <dgm:prSet phldrT="[Text]"/>
      <dgm:spPr/>
      <dgm:t>
        <a:bodyPr/>
        <a:lstStyle/>
        <a:p>
          <a:r>
            <a:rPr lang="de-DE" dirty="0"/>
            <a:t>More </a:t>
          </a:r>
          <a:r>
            <a:rPr lang="de-DE" dirty="0" err="1"/>
            <a:t>study</a:t>
          </a:r>
          <a:r>
            <a:rPr lang="de-DE" dirty="0"/>
            <a:t> </a:t>
          </a:r>
          <a:r>
            <a:rPr lang="de-DE" dirty="0" err="1"/>
            <a:t>topics</a:t>
          </a:r>
          <a:r>
            <a:rPr lang="de-DE" dirty="0"/>
            <a:t> </a:t>
          </a:r>
          <a:r>
            <a:rPr lang="de-DE" dirty="0" err="1"/>
            <a:t>for</a:t>
          </a:r>
          <a:r>
            <a:rPr lang="de-DE" dirty="0"/>
            <a:t> </a:t>
          </a:r>
          <a:r>
            <a:rPr lang="de-DE" dirty="0" err="1"/>
            <a:t>future</a:t>
          </a:r>
          <a:r>
            <a:rPr lang="de-DE" dirty="0"/>
            <a:t> Releases</a:t>
          </a:r>
          <a:endParaRPr lang="en-US" dirty="0"/>
        </a:p>
      </dgm:t>
    </dgm:pt>
    <dgm:pt modelId="{48E6F2CF-0B28-4FF8-BAAD-0137205FB520}" type="parTrans" cxnId="{4B65C7E2-2943-477F-807D-7C9E264D4DEE}">
      <dgm:prSet/>
      <dgm:spPr/>
      <dgm:t>
        <a:bodyPr/>
        <a:lstStyle/>
        <a:p>
          <a:endParaRPr lang="en-US"/>
        </a:p>
      </dgm:t>
    </dgm:pt>
    <dgm:pt modelId="{90F64423-2B1C-45DA-922F-4A64DB4A3DEF}" type="sibTrans" cxnId="{4B65C7E2-2943-477F-807D-7C9E264D4DEE}">
      <dgm:prSet/>
      <dgm:spPr/>
      <dgm:t>
        <a:bodyPr/>
        <a:lstStyle/>
        <a:p>
          <a:endParaRPr lang="en-US"/>
        </a:p>
      </dgm:t>
    </dgm:pt>
    <dgm:pt modelId="{8170C14F-D56D-400D-A97B-47DEEF02AA61}" type="pres">
      <dgm:prSet presAssocID="{5996AB54-A59A-4536-91D3-328AA418B03A}" presName="linearFlow" presStyleCnt="0">
        <dgm:presLayoutVars>
          <dgm:dir/>
          <dgm:animLvl val="lvl"/>
          <dgm:resizeHandles val="exact"/>
        </dgm:presLayoutVars>
      </dgm:prSet>
      <dgm:spPr/>
    </dgm:pt>
    <dgm:pt modelId="{8D1C2DC6-B83D-40F2-96E2-78EE88488363}" type="pres">
      <dgm:prSet presAssocID="{E0964835-E580-4960-B855-239D74B807F5}" presName="composite" presStyleCnt="0"/>
      <dgm:spPr/>
    </dgm:pt>
    <dgm:pt modelId="{332E16BD-0BA4-4DF2-A9C5-12F7AFC416D2}" type="pres">
      <dgm:prSet presAssocID="{E0964835-E580-4960-B855-239D74B807F5}" presName="parentText" presStyleLbl="alignNode1" presStyleIdx="0" presStyleCnt="3">
        <dgm:presLayoutVars>
          <dgm:chMax val="1"/>
          <dgm:bulletEnabled val="1"/>
        </dgm:presLayoutVars>
      </dgm:prSet>
      <dgm:spPr/>
    </dgm:pt>
    <dgm:pt modelId="{5C4E6077-0207-4899-9ADF-32677C78650E}" type="pres">
      <dgm:prSet presAssocID="{E0964835-E580-4960-B855-239D74B807F5}" presName="descendantText" presStyleLbl="alignAcc1" presStyleIdx="0" presStyleCnt="3" custLinFactNeighborX="6043" custLinFactNeighborY="12374">
        <dgm:presLayoutVars>
          <dgm:bulletEnabled val="1"/>
        </dgm:presLayoutVars>
      </dgm:prSet>
      <dgm:spPr/>
    </dgm:pt>
    <dgm:pt modelId="{7B6C6928-AC2E-4E06-AB15-A9F9897852F9}" type="pres">
      <dgm:prSet presAssocID="{2DF65123-81A6-4502-8154-EBA682184AB3}" presName="sp" presStyleCnt="0"/>
      <dgm:spPr/>
    </dgm:pt>
    <dgm:pt modelId="{098ADC2F-47F9-44D1-86E5-7E81A26B4C88}" type="pres">
      <dgm:prSet presAssocID="{31DAD1D6-3542-4953-BA43-A366E7B136D6}" presName="composite" presStyleCnt="0"/>
      <dgm:spPr/>
    </dgm:pt>
    <dgm:pt modelId="{66499D3D-61BC-46B9-A38B-963658C17359}" type="pres">
      <dgm:prSet presAssocID="{31DAD1D6-3542-4953-BA43-A366E7B136D6}" presName="parentText" presStyleLbl="alignNode1" presStyleIdx="1" presStyleCnt="3">
        <dgm:presLayoutVars>
          <dgm:chMax val="1"/>
          <dgm:bulletEnabled val="1"/>
        </dgm:presLayoutVars>
      </dgm:prSet>
      <dgm:spPr/>
    </dgm:pt>
    <dgm:pt modelId="{1851884D-A709-46EC-9729-297A024B271D}" type="pres">
      <dgm:prSet presAssocID="{31DAD1D6-3542-4953-BA43-A366E7B136D6}" presName="descendantText" presStyleLbl="alignAcc1" presStyleIdx="1" presStyleCnt="3">
        <dgm:presLayoutVars>
          <dgm:bulletEnabled val="1"/>
        </dgm:presLayoutVars>
      </dgm:prSet>
      <dgm:spPr/>
    </dgm:pt>
    <dgm:pt modelId="{60DF64E4-5A4C-477F-ADCC-FCC178B384BD}" type="pres">
      <dgm:prSet presAssocID="{7C06A832-17F7-4FD2-903E-DFDE11F43677}" presName="sp" presStyleCnt="0"/>
      <dgm:spPr/>
    </dgm:pt>
    <dgm:pt modelId="{8A7B9B0B-A6B1-42BD-AC6A-EAF5C46E864D}" type="pres">
      <dgm:prSet presAssocID="{BAE9D939-3178-4CF7-9928-B07850EAC259}" presName="composite" presStyleCnt="0"/>
      <dgm:spPr/>
    </dgm:pt>
    <dgm:pt modelId="{D8FF1319-0D38-4688-B0DB-781F1B7E99B1}" type="pres">
      <dgm:prSet presAssocID="{BAE9D939-3178-4CF7-9928-B07850EAC259}" presName="parentText" presStyleLbl="alignNode1" presStyleIdx="2" presStyleCnt="3">
        <dgm:presLayoutVars>
          <dgm:chMax val="1"/>
          <dgm:bulletEnabled val="1"/>
        </dgm:presLayoutVars>
      </dgm:prSet>
      <dgm:spPr/>
    </dgm:pt>
    <dgm:pt modelId="{474F8B4E-E047-4394-B004-12E90A12C510}" type="pres">
      <dgm:prSet presAssocID="{BAE9D939-3178-4CF7-9928-B07850EAC259}" presName="descendantText" presStyleLbl="alignAcc1" presStyleIdx="2" presStyleCnt="3">
        <dgm:presLayoutVars>
          <dgm:bulletEnabled val="1"/>
        </dgm:presLayoutVars>
      </dgm:prSet>
      <dgm:spPr/>
    </dgm:pt>
  </dgm:ptLst>
  <dgm:cxnLst>
    <dgm:cxn modelId="{49AEC60B-83F9-483A-AABB-20993994ADD4}" srcId="{E0964835-E580-4960-B855-239D74B807F5}" destId="{933676D5-E427-43F2-8750-B87F6455C64C}" srcOrd="0" destOrd="0" parTransId="{E5CFA540-08CB-4A86-9E06-6991C5D97890}" sibTransId="{81556A14-DE05-412D-B885-66739D839144}"/>
    <dgm:cxn modelId="{610A7212-F605-4812-B621-C64E5224A61C}" srcId="{5996AB54-A59A-4536-91D3-328AA418B03A}" destId="{BAE9D939-3178-4CF7-9928-B07850EAC259}" srcOrd="2" destOrd="0" parTransId="{9B990610-3B58-4EBE-A812-3B2A0DB07202}" sibTransId="{440281BA-2DBE-4EBC-BEBE-8D84A43B4D36}"/>
    <dgm:cxn modelId="{B97C6518-F1AD-41C9-8AEB-6FB0860742D4}" srcId="{31DAD1D6-3542-4953-BA43-A366E7B136D6}" destId="{65D3E053-B7FB-45E1-A570-22879607DD6F}" srcOrd="0" destOrd="0" parTransId="{30036E59-7C6D-4CE9-A029-1D120061FC73}" sibTransId="{42A9E5EF-C26C-4824-BCBB-D839EA8A681F}"/>
    <dgm:cxn modelId="{F4D1ED18-CCF4-4105-AF74-E677DE879D30}" type="presOf" srcId="{5996AB54-A59A-4536-91D3-328AA418B03A}" destId="{8170C14F-D56D-400D-A97B-47DEEF02AA61}" srcOrd="0" destOrd="0" presId="urn:microsoft.com/office/officeart/2005/8/layout/chevron2"/>
    <dgm:cxn modelId="{4F268C39-1E6B-4343-99F2-4E3BDB172B48}" srcId="{5996AB54-A59A-4536-91D3-328AA418B03A}" destId="{31DAD1D6-3542-4953-BA43-A366E7B136D6}" srcOrd="1" destOrd="0" parTransId="{7CCC9E62-BEBF-4537-A2F5-B0AEE6F95DC6}" sibTransId="{7C06A832-17F7-4FD2-903E-DFDE11F43677}"/>
    <dgm:cxn modelId="{F838D55E-2155-4C56-8A29-A9D0F0E9B309}" type="presOf" srcId="{31DAD1D6-3542-4953-BA43-A366E7B136D6}" destId="{66499D3D-61BC-46B9-A38B-963658C17359}" srcOrd="0" destOrd="0" presId="urn:microsoft.com/office/officeart/2005/8/layout/chevron2"/>
    <dgm:cxn modelId="{EE4ABA41-3093-4B7B-A46E-44D2F6FA67F0}" srcId="{31DAD1D6-3542-4953-BA43-A366E7B136D6}" destId="{8EFD7A63-B834-4626-8AD0-3690A058D4FD}" srcOrd="1" destOrd="0" parTransId="{78B98A96-4AAE-47E3-9C02-004F81EF5E43}" sibTransId="{3E26065D-FB16-4FAB-9D01-3D93F39B6210}"/>
    <dgm:cxn modelId="{1007058C-3FF2-4734-A053-CC0EC22CBC32}" srcId="{BAE9D939-3178-4CF7-9928-B07850EAC259}" destId="{5B7A08B8-5AE3-40D6-B130-9F0FEFA3BC7D}" srcOrd="0" destOrd="0" parTransId="{CDB172AD-D5D8-4F16-AA72-516E7AB4D074}" sibTransId="{2AFB4590-03CB-42A2-84D9-850C4DA1F642}"/>
    <dgm:cxn modelId="{15520F97-3299-45ED-A759-BCA58FA1A863}" srcId="{5996AB54-A59A-4536-91D3-328AA418B03A}" destId="{E0964835-E580-4960-B855-239D74B807F5}" srcOrd="0" destOrd="0" parTransId="{1DD62F18-68EC-4EF4-B7DE-B05C517AB47E}" sibTransId="{2DF65123-81A6-4502-8154-EBA682184AB3}"/>
    <dgm:cxn modelId="{1917FFA0-2B36-4880-996A-DD9EDDB78EF3}" type="presOf" srcId="{8EFD7A63-B834-4626-8AD0-3690A058D4FD}" destId="{1851884D-A709-46EC-9729-297A024B271D}" srcOrd="0" destOrd="1" presId="urn:microsoft.com/office/officeart/2005/8/layout/chevron2"/>
    <dgm:cxn modelId="{339814AE-15B9-42F8-9032-3E1BDB907352}" srcId="{E0964835-E580-4960-B855-239D74B807F5}" destId="{E62F649B-9655-4B48-9D28-6CA18890C954}" srcOrd="1" destOrd="0" parTransId="{F2850AF9-7704-4F4B-A9B3-F604B069674E}" sibTransId="{97B887AC-F0CE-4BFB-8F70-02245AD50EA1}"/>
    <dgm:cxn modelId="{0A33A3B3-53A8-498A-B3DB-E00DC2C400F2}" type="presOf" srcId="{65D3E053-B7FB-45E1-A570-22879607DD6F}" destId="{1851884D-A709-46EC-9729-297A024B271D}" srcOrd="0" destOrd="0" presId="urn:microsoft.com/office/officeart/2005/8/layout/chevron2"/>
    <dgm:cxn modelId="{08E0BBC5-071A-4323-89E1-CF0DE9762FBB}" type="presOf" srcId="{933676D5-E427-43F2-8750-B87F6455C64C}" destId="{5C4E6077-0207-4899-9ADF-32677C78650E}" srcOrd="0" destOrd="0" presId="urn:microsoft.com/office/officeart/2005/8/layout/chevron2"/>
    <dgm:cxn modelId="{241CD6D5-E9C8-4128-9445-44A3D5EA801E}" type="presOf" srcId="{0F21BA6A-B6B1-407A-ACED-25E7525F0058}" destId="{5C4E6077-0207-4899-9ADF-32677C78650E}" srcOrd="0" destOrd="2" presId="urn:microsoft.com/office/officeart/2005/8/layout/chevron2"/>
    <dgm:cxn modelId="{4B65C7E2-2943-477F-807D-7C9E264D4DEE}" srcId="{E0964835-E580-4960-B855-239D74B807F5}" destId="{0F21BA6A-B6B1-407A-ACED-25E7525F0058}" srcOrd="2" destOrd="0" parTransId="{48E6F2CF-0B28-4FF8-BAAD-0137205FB520}" sibTransId="{90F64423-2B1C-45DA-922F-4A64DB4A3DEF}"/>
    <dgm:cxn modelId="{F76E0AE8-05A6-4840-A157-D190B6A974B9}" type="presOf" srcId="{E62F649B-9655-4B48-9D28-6CA18890C954}" destId="{5C4E6077-0207-4899-9ADF-32677C78650E}" srcOrd="0" destOrd="1" presId="urn:microsoft.com/office/officeart/2005/8/layout/chevron2"/>
    <dgm:cxn modelId="{A2D7DDE9-B3F3-4EE5-B8D3-38673B280CF3}" type="presOf" srcId="{5B7A08B8-5AE3-40D6-B130-9F0FEFA3BC7D}" destId="{474F8B4E-E047-4394-B004-12E90A12C510}" srcOrd="0" destOrd="0" presId="urn:microsoft.com/office/officeart/2005/8/layout/chevron2"/>
    <dgm:cxn modelId="{6F8CF1EA-3041-4476-AFD8-89AEF91F2341}" type="presOf" srcId="{E0964835-E580-4960-B855-239D74B807F5}" destId="{332E16BD-0BA4-4DF2-A9C5-12F7AFC416D2}" srcOrd="0" destOrd="0" presId="urn:microsoft.com/office/officeart/2005/8/layout/chevron2"/>
    <dgm:cxn modelId="{37B94AFC-AEF9-4876-82FE-636BAF1CC72B}" type="presOf" srcId="{BAE9D939-3178-4CF7-9928-B07850EAC259}" destId="{D8FF1319-0D38-4688-B0DB-781F1B7E99B1}" srcOrd="0" destOrd="0" presId="urn:microsoft.com/office/officeart/2005/8/layout/chevron2"/>
    <dgm:cxn modelId="{EA756EFE-238A-4886-B6E6-DA5E359AD5E3}" srcId="{BAE9D939-3178-4CF7-9928-B07850EAC259}" destId="{E010F96E-5DAD-4701-B601-441945C0F1EE}" srcOrd="1" destOrd="0" parTransId="{6E774CED-E50E-4658-A18E-26C0CB115B69}" sibTransId="{5965F811-560C-493E-AB9A-03968066B7BF}"/>
    <dgm:cxn modelId="{6F09B2FF-54CD-40BB-B3CB-078E012F7BF3}" type="presOf" srcId="{E010F96E-5DAD-4701-B601-441945C0F1EE}" destId="{474F8B4E-E047-4394-B004-12E90A12C510}" srcOrd="0" destOrd="1" presId="urn:microsoft.com/office/officeart/2005/8/layout/chevron2"/>
    <dgm:cxn modelId="{2344DA72-C6AC-44F5-8961-E5148090C97E}" type="presParOf" srcId="{8170C14F-D56D-400D-A97B-47DEEF02AA61}" destId="{8D1C2DC6-B83D-40F2-96E2-78EE88488363}" srcOrd="0" destOrd="0" presId="urn:microsoft.com/office/officeart/2005/8/layout/chevron2"/>
    <dgm:cxn modelId="{1197AA3C-CAEB-488D-A6BC-D58703290917}" type="presParOf" srcId="{8D1C2DC6-B83D-40F2-96E2-78EE88488363}" destId="{332E16BD-0BA4-4DF2-A9C5-12F7AFC416D2}" srcOrd="0" destOrd="0" presId="urn:microsoft.com/office/officeart/2005/8/layout/chevron2"/>
    <dgm:cxn modelId="{F18FA359-8C47-45AC-B97C-76F2BAD366D5}" type="presParOf" srcId="{8D1C2DC6-B83D-40F2-96E2-78EE88488363}" destId="{5C4E6077-0207-4899-9ADF-32677C78650E}" srcOrd="1" destOrd="0" presId="urn:microsoft.com/office/officeart/2005/8/layout/chevron2"/>
    <dgm:cxn modelId="{B1D49BCB-EA46-4C5B-AD34-78DDA819B6DA}" type="presParOf" srcId="{8170C14F-D56D-400D-A97B-47DEEF02AA61}" destId="{7B6C6928-AC2E-4E06-AB15-A9F9897852F9}" srcOrd="1" destOrd="0" presId="urn:microsoft.com/office/officeart/2005/8/layout/chevron2"/>
    <dgm:cxn modelId="{92328A25-91E1-4F55-A47F-C72ECCA20982}" type="presParOf" srcId="{8170C14F-D56D-400D-A97B-47DEEF02AA61}" destId="{098ADC2F-47F9-44D1-86E5-7E81A26B4C88}" srcOrd="2" destOrd="0" presId="urn:microsoft.com/office/officeart/2005/8/layout/chevron2"/>
    <dgm:cxn modelId="{410E64A8-FF2C-4AEE-A627-7240C8271EFC}" type="presParOf" srcId="{098ADC2F-47F9-44D1-86E5-7E81A26B4C88}" destId="{66499D3D-61BC-46B9-A38B-963658C17359}" srcOrd="0" destOrd="0" presId="urn:microsoft.com/office/officeart/2005/8/layout/chevron2"/>
    <dgm:cxn modelId="{E303BDB6-94B8-4F24-8E23-4FD6D5C53997}" type="presParOf" srcId="{098ADC2F-47F9-44D1-86E5-7E81A26B4C88}" destId="{1851884D-A709-46EC-9729-297A024B271D}" srcOrd="1" destOrd="0" presId="urn:microsoft.com/office/officeart/2005/8/layout/chevron2"/>
    <dgm:cxn modelId="{109147C6-26DD-434F-B343-FA9F4FD5E14E}" type="presParOf" srcId="{8170C14F-D56D-400D-A97B-47DEEF02AA61}" destId="{60DF64E4-5A4C-477F-ADCC-FCC178B384BD}" srcOrd="3" destOrd="0" presId="urn:microsoft.com/office/officeart/2005/8/layout/chevron2"/>
    <dgm:cxn modelId="{F216A74B-1CE9-4287-B24E-2B96F9EF5AAB}" type="presParOf" srcId="{8170C14F-D56D-400D-A97B-47DEEF02AA61}" destId="{8A7B9B0B-A6B1-42BD-AC6A-EAF5C46E864D}" srcOrd="4" destOrd="0" presId="urn:microsoft.com/office/officeart/2005/8/layout/chevron2"/>
    <dgm:cxn modelId="{5B0E0F37-D7A3-4250-B048-C96EBDA89DA9}" type="presParOf" srcId="{8A7B9B0B-A6B1-42BD-AC6A-EAF5C46E864D}" destId="{D8FF1319-0D38-4688-B0DB-781F1B7E99B1}" srcOrd="0" destOrd="0" presId="urn:microsoft.com/office/officeart/2005/8/layout/chevron2"/>
    <dgm:cxn modelId="{E59B2D60-230B-4AB8-AB31-990180DEC89B}" type="presParOf" srcId="{8A7B9B0B-A6B1-42BD-AC6A-EAF5C46E864D}" destId="{474F8B4E-E047-4394-B004-12E90A12C510}"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00248-8E7F-47D0-ADE0-875A5B19503E}">
      <dsp:nvSpPr>
        <dsp:cNvPr id="0" name=""/>
        <dsp:cNvSpPr/>
      </dsp:nvSpPr>
      <dsp:spPr>
        <a:xfrm>
          <a:off x="-5951882" y="-911379"/>
          <a:ext cx="7090084" cy="7090084"/>
        </a:xfrm>
        <a:prstGeom prst="blockArc">
          <a:avLst>
            <a:gd name="adj1" fmla="val 18900000"/>
            <a:gd name="adj2" fmla="val 2700000"/>
            <a:gd name="adj3" fmla="val 305"/>
          </a:avLst>
        </a:prstGeom>
        <a:noFill/>
        <a:ln w="10795"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EF26BC-7B40-49A7-9B8F-734580048F50}">
      <dsp:nvSpPr>
        <dsp:cNvPr id="0" name=""/>
        <dsp:cNvSpPr/>
      </dsp:nvSpPr>
      <dsp:spPr>
        <a:xfrm>
          <a:off x="369502" y="239452"/>
          <a:ext cx="10049869" cy="47869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dirty="0">
              <a:latin typeface="Arial"/>
            </a:rPr>
            <a:t>SIM-less reception, Receive-Only Mode (ROM) &amp; </a:t>
          </a:r>
          <a:r>
            <a:rPr lang="en-US" altLang="en-US" sz="2500" kern="1200" dirty="0">
              <a:ln/>
              <a:latin typeface="Arial"/>
            </a:rPr>
            <a:t>Free-to-Air (FTA)</a:t>
          </a:r>
          <a:endParaRPr lang="en-US" sz="2500" kern="1200" dirty="0"/>
        </a:p>
      </dsp:txBody>
      <dsp:txXfrm>
        <a:off x="369502" y="239452"/>
        <a:ext cx="10049869" cy="478694"/>
      </dsp:txXfrm>
    </dsp:sp>
    <dsp:sp modelId="{26836185-39F8-499A-ABAD-DE1951A4BC76}">
      <dsp:nvSpPr>
        <dsp:cNvPr id="0" name=""/>
        <dsp:cNvSpPr/>
      </dsp:nvSpPr>
      <dsp:spPr>
        <a:xfrm>
          <a:off x="70318" y="179615"/>
          <a:ext cx="598368" cy="598368"/>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4582BC-96D5-405D-BB2D-2F731C9598A7}">
      <dsp:nvSpPr>
        <dsp:cNvPr id="0" name=""/>
        <dsp:cNvSpPr/>
      </dsp:nvSpPr>
      <dsp:spPr>
        <a:xfrm>
          <a:off x="803003" y="957915"/>
          <a:ext cx="9616368" cy="478694"/>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dirty="0">
              <a:latin typeface="Arial"/>
            </a:rPr>
            <a:t>Different spectrum options (e.g. UHF, SDL), as well as SFN/MFN</a:t>
          </a:r>
          <a:endParaRPr lang="en-US" sz="2500" kern="1200" dirty="0"/>
        </a:p>
      </dsp:txBody>
      <dsp:txXfrm>
        <a:off x="803003" y="957915"/>
        <a:ext cx="9616368" cy="478694"/>
      </dsp:txXfrm>
    </dsp:sp>
    <dsp:sp modelId="{E2774E36-190F-4960-BA91-50A7DC3D1E62}">
      <dsp:nvSpPr>
        <dsp:cNvPr id="0" name=""/>
        <dsp:cNvSpPr/>
      </dsp:nvSpPr>
      <dsp:spPr>
        <a:xfrm>
          <a:off x="503819" y="898078"/>
          <a:ext cx="598368" cy="598368"/>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0D6B9D7-E546-47FC-892E-7D2642ABF29D}">
      <dsp:nvSpPr>
        <dsp:cNvPr id="0" name=""/>
        <dsp:cNvSpPr/>
      </dsp:nvSpPr>
      <dsp:spPr>
        <a:xfrm>
          <a:off x="1040560" y="1675852"/>
          <a:ext cx="9378812" cy="478694"/>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a:latin typeface="Arial"/>
            </a:rPr>
            <a:t>Various deployment possibilities (e.g. MNOs, BNOs)</a:t>
          </a:r>
          <a:endParaRPr lang="en-US" sz="2500" kern="1200"/>
        </a:p>
      </dsp:txBody>
      <dsp:txXfrm>
        <a:off x="1040560" y="1675852"/>
        <a:ext cx="9378812" cy="478694"/>
      </dsp:txXfrm>
    </dsp:sp>
    <dsp:sp modelId="{D46A05FF-F4BC-4410-8DA0-08ECE07647AC}">
      <dsp:nvSpPr>
        <dsp:cNvPr id="0" name=""/>
        <dsp:cNvSpPr/>
      </dsp:nvSpPr>
      <dsp:spPr>
        <a:xfrm>
          <a:off x="741375" y="1616015"/>
          <a:ext cx="598368" cy="598368"/>
        </a:xfrm>
        <a:prstGeom prst="ellipse">
          <a:avLst/>
        </a:prstGeom>
        <a:solidFill>
          <a:schemeClr val="lt1">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5A23BF-7CFC-4EEA-9EB1-EEE84A16A2C6}">
      <dsp:nvSpPr>
        <dsp:cNvPr id="0" name=""/>
        <dsp:cNvSpPr/>
      </dsp:nvSpPr>
      <dsp:spPr>
        <a:xfrm>
          <a:off x="1116409" y="2394315"/>
          <a:ext cx="9302962" cy="478694"/>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a:latin typeface="Arial"/>
            </a:rPr>
            <a:t>Using existing infrastructure (HPHT, MPMT and LPLT)</a:t>
          </a:r>
          <a:endParaRPr lang="en-US" sz="2500" kern="1200"/>
        </a:p>
      </dsp:txBody>
      <dsp:txXfrm>
        <a:off x="1116409" y="2394315"/>
        <a:ext cx="9302962" cy="478694"/>
      </dsp:txXfrm>
    </dsp:sp>
    <dsp:sp modelId="{4C098424-7B56-4E09-B3B6-F0175404274B}">
      <dsp:nvSpPr>
        <dsp:cNvPr id="0" name=""/>
        <dsp:cNvSpPr/>
      </dsp:nvSpPr>
      <dsp:spPr>
        <a:xfrm>
          <a:off x="817225" y="2334478"/>
          <a:ext cx="598368" cy="598368"/>
        </a:xfrm>
        <a:prstGeom prst="ellipse">
          <a:avLst/>
        </a:prstGeom>
        <a:solidFill>
          <a:schemeClr val="lt1">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624044-D470-4613-B973-53F6E446B61F}">
      <dsp:nvSpPr>
        <dsp:cNvPr id="0" name=""/>
        <dsp:cNvSpPr/>
      </dsp:nvSpPr>
      <dsp:spPr>
        <a:xfrm>
          <a:off x="1040560" y="3112778"/>
          <a:ext cx="9378812" cy="478694"/>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dirty="0">
              <a:latin typeface="Arial"/>
            </a:rPr>
            <a:t>Highly flexible velocities (up to 250 KM/h Vs up to 300 µS)</a:t>
          </a:r>
        </a:p>
      </dsp:txBody>
      <dsp:txXfrm>
        <a:off x="1040560" y="3112778"/>
        <a:ext cx="9378812" cy="478694"/>
      </dsp:txXfrm>
    </dsp:sp>
    <dsp:sp modelId="{7836CEB8-3E80-469A-9E94-D0062B7AAE95}">
      <dsp:nvSpPr>
        <dsp:cNvPr id="0" name=""/>
        <dsp:cNvSpPr/>
      </dsp:nvSpPr>
      <dsp:spPr>
        <a:xfrm>
          <a:off x="741375" y="3052941"/>
          <a:ext cx="598368" cy="598368"/>
        </a:xfrm>
        <a:prstGeom prst="ellipse">
          <a:avLst/>
        </a:prstGeom>
        <a:solidFill>
          <a:schemeClr val="lt1">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E2A55B-57F8-41A3-8F51-CC654B32A66B}">
      <dsp:nvSpPr>
        <dsp:cNvPr id="0" name=""/>
        <dsp:cNvSpPr/>
      </dsp:nvSpPr>
      <dsp:spPr>
        <a:xfrm>
          <a:off x="803003" y="3830714"/>
          <a:ext cx="9616368" cy="47869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en-US" altLang="en-US" sz="2500" kern="1200" dirty="0">
              <a:latin typeface="Arial"/>
            </a:rPr>
            <a:t>Performance </a:t>
          </a:r>
          <a:r>
            <a:rPr lang="en-US" altLang="en-US" sz="2500" kern="1200" dirty="0" err="1">
              <a:latin typeface="Arial"/>
            </a:rPr>
            <a:t>en</a:t>
          </a:r>
          <a:r>
            <a:rPr lang="en-US" altLang="en-US" sz="2500" kern="1200" dirty="0">
              <a:latin typeface="Arial"/>
            </a:rPr>
            <a:t> par and Co-existence with legacy broadcast</a:t>
          </a:r>
        </a:p>
      </dsp:txBody>
      <dsp:txXfrm>
        <a:off x="803003" y="3830714"/>
        <a:ext cx="9616368" cy="478694"/>
      </dsp:txXfrm>
    </dsp:sp>
    <dsp:sp modelId="{6342F069-6D0A-49A8-8FA3-3163E3A804B7}">
      <dsp:nvSpPr>
        <dsp:cNvPr id="0" name=""/>
        <dsp:cNvSpPr/>
      </dsp:nvSpPr>
      <dsp:spPr>
        <a:xfrm>
          <a:off x="503819" y="3770877"/>
          <a:ext cx="598368" cy="598368"/>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EFEE20-1E70-44FF-8BAD-FE35AF25D050}">
      <dsp:nvSpPr>
        <dsp:cNvPr id="0" name=""/>
        <dsp:cNvSpPr/>
      </dsp:nvSpPr>
      <dsp:spPr>
        <a:xfrm>
          <a:off x="369502" y="4549177"/>
          <a:ext cx="10049869" cy="478694"/>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3500" rIns="63500" bIns="63500" numCol="1" spcCol="1270" anchor="ctr" anchorCtr="0">
          <a:noAutofit/>
        </a:bodyPr>
        <a:lstStyle/>
        <a:p>
          <a:pPr marL="0" lvl="0" indent="0" algn="l" defTabSz="1111250">
            <a:lnSpc>
              <a:spcPct val="90000"/>
            </a:lnSpc>
            <a:spcBef>
              <a:spcPct val="0"/>
            </a:spcBef>
            <a:spcAft>
              <a:spcPct val="35000"/>
            </a:spcAft>
            <a:buSzPct val="80000"/>
            <a:buNone/>
          </a:pPr>
          <a:r>
            <a:rPr lang="de-DE" altLang="en-US" sz="2500" kern="1200" dirty="0">
              <a:latin typeface="Arial"/>
            </a:rPr>
            <a:t>Can </a:t>
          </a:r>
          <a:r>
            <a:rPr lang="de-DE" altLang="en-US" sz="2500" kern="1200" dirty="0" err="1">
              <a:latin typeface="Arial"/>
            </a:rPr>
            <a:t>be</a:t>
          </a:r>
          <a:r>
            <a:rPr lang="de-DE" altLang="en-US" sz="2500" kern="1200" dirty="0">
              <a:latin typeface="Arial"/>
            </a:rPr>
            <a:t> </a:t>
          </a:r>
          <a:r>
            <a:rPr lang="de-DE" altLang="en-US" sz="2500" kern="1200" dirty="0" err="1">
              <a:latin typeface="Arial"/>
            </a:rPr>
            <a:t>combined</a:t>
          </a:r>
          <a:r>
            <a:rPr lang="de-DE" altLang="en-US" sz="2500" kern="1200" dirty="0">
              <a:latin typeface="Arial"/>
            </a:rPr>
            <a:t> </a:t>
          </a:r>
          <a:r>
            <a:rPr lang="de-DE" altLang="en-US" sz="2500" kern="1200" dirty="0" err="1">
              <a:latin typeface="Arial"/>
            </a:rPr>
            <a:t>with</a:t>
          </a:r>
          <a:r>
            <a:rPr lang="de-DE" altLang="en-US" sz="2500" kern="1200" dirty="0">
              <a:latin typeface="Arial"/>
            </a:rPr>
            <a:t> </a:t>
          </a:r>
          <a:r>
            <a:rPr lang="de-DE" altLang="en-US" sz="2500" kern="1200" dirty="0" err="1">
              <a:latin typeface="Arial"/>
            </a:rPr>
            <a:t>existing</a:t>
          </a:r>
          <a:r>
            <a:rPr lang="de-DE" altLang="en-US" sz="2500" kern="1200" dirty="0">
              <a:latin typeface="Arial"/>
            </a:rPr>
            <a:t> 4G and 5G </a:t>
          </a:r>
          <a:r>
            <a:rPr lang="de-DE" altLang="en-US" sz="2500" kern="1200" dirty="0" err="1">
              <a:latin typeface="Arial"/>
            </a:rPr>
            <a:t>features</a:t>
          </a:r>
          <a:r>
            <a:rPr lang="de-DE" altLang="en-US" sz="2500" kern="1200" dirty="0">
              <a:latin typeface="Arial"/>
            </a:rPr>
            <a:t> (</a:t>
          </a:r>
          <a:r>
            <a:rPr lang="de-DE" altLang="en-US" sz="2500" kern="1200" dirty="0" err="1">
              <a:latin typeface="Arial"/>
            </a:rPr>
            <a:t>unicast</a:t>
          </a:r>
          <a:r>
            <a:rPr lang="de-DE" altLang="en-US" sz="2500" kern="1200" dirty="0">
              <a:latin typeface="Arial"/>
            </a:rPr>
            <a:t>, PWS)</a:t>
          </a:r>
          <a:endParaRPr lang="en-US" altLang="en-US" sz="2500" kern="1200" dirty="0">
            <a:latin typeface="Arial"/>
          </a:endParaRPr>
        </a:p>
      </dsp:txBody>
      <dsp:txXfrm>
        <a:off x="369502" y="4549177"/>
        <a:ext cx="10049869" cy="478694"/>
      </dsp:txXfrm>
    </dsp:sp>
    <dsp:sp modelId="{145488B2-B5C2-4150-96B3-13CBD449EC31}">
      <dsp:nvSpPr>
        <dsp:cNvPr id="0" name=""/>
        <dsp:cNvSpPr/>
      </dsp:nvSpPr>
      <dsp:spPr>
        <a:xfrm>
          <a:off x="70318" y="4489341"/>
          <a:ext cx="598368" cy="598368"/>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3BBA7A-21B1-4EBB-8A35-E6AAB09D1377}">
      <dsp:nvSpPr>
        <dsp:cNvPr id="0" name=""/>
        <dsp:cNvSpPr/>
      </dsp:nvSpPr>
      <dsp:spPr>
        <a:xfrm>
          <a:off x="10822100" y="1720335"/>
          <a:ext cx="1265236" cy="1264902"/>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7EC55D-4194-4166-ABBA-E42F7D113506}">
      <dsp:nvSpPr>
        <dsp:cNvPr id="0" name=""/>
        <dsp:cNvSpPr/>
      </dsp:nvSpPr>
      <dsp:spPr>
        <a:xfrm>
          <a:off x="10865152"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dirty="0">
              <a:ln>
                <a:noFill/>
              </a:ln>
              <a:solidFill>
                <a:schemeClr val="bg2"/>
              </a:solidFill>
              <a:effectLst/>
              <a:uLnTx/>
              <a:uFillTx/>
              <a:latin typeface="Arial"/>
            </a:rPr>
            <a:t>Enhanced Version of ETSI TS 103 720v.1.3.1</a:t>
          </a:r>
          <a:endParaRPr lang="en-US" sz="1000" kern="1200" dirty="0">
            <a:solidFill>
              <a:schemeClr val="bg2"/>
            </a:solidFill>
          </a:endParaRPr>
        </a:p>
      </dsp:txBody>
      <dsp:txXfrm>
        <a:off x="11033770" y="1931189"/>
        <a:ext cx="843092" cy="843194"/>
      </dsp:txXfrm>
    </dsp:sp>
    <dsp:sp modelId="{EB216E84-657A-414B-85A3-22656BAF111B}">
      <dsp:nvSpPr>
        <dsp:cNvPr id="0" name=""/>
        <dsp:cNvSpPr/>
      </dsp:nvSpPr>
      <dsp:spPr>
        <a:xfrm rot="2700000">
          <a:off x="9515144"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BADCF4-C0D5-487E-BCDB-C4AD2BF06DFC}">
      <dsp:nvSpPr>
        <dsp:cNvPr id="0" name=""/>
        <dsp:cNvSpPr/>
      </dsp:nvSpPr>
      <dsp:spPr>
        <a:xfrm>
          <a:off x="9558060"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lang="de-DE" sz="1000" kern="1200" dirty="0">
              <a:solidFill>
                <a:schemeClr val="accent3"/>
              </a:solidFill>
            </a:rPr>
            <a:t>Rel-19 </a:t>
          </a:r>
          <a:r>
            <a:rPr lang="de-DE" sz="1000" kern="1200" dirty="0" err="1">
              <a:solidFill>
                <a:schemeClr val="accent3"/>
              </a:solidFill>
            </a:rPr>
            <a:t>work</a:t>
          </a:r>
          <a:r>
            <a:rPr lang="de-DE" sz="1000" kern="1200" dirty="0">
              <a:solidFill>
                <a:schemeClr val="accent3"/>
              </a:solidFill>
            </a:rPr>
            <a:t> (TFI, Co-</a:t>
          </a:r>
          <a:r>
            <a:rPr lang="de-DE" sz="1000" kern="1200" dirty="0" err="1">
              <a:solidFill>
                <a:schemeClr val="accent3"/>
              </a:solidFill>
            </a:rPr>
            <a:t>existence</a:t>
          </a:r>
          <a:r>
            <a:rPr lang="de-DE" sz="1000" kern="1200" dirty="0">
              <a:solidFill>
                <a:schemeClr val="accent3"/>
              </a:solidFill>
            </a:rPr>
            <a:t>, New bands)</a:t>
          </a:r>
          <a:endParaRPr lang="en-US" sz="1000" kern="1200" dirty="0">
            <a:solidFill>
              <a:schemeClr val="accent3"/>
            </a:solidFill>
          </a:endParaRPr>
        </a:p>
      </dsp:txBody>
      <dsp:txXfrm>
        <a:off x="9726678" y="1931189"/>
        <a:ext cx="843092" cy="843194"/>
      </dsp:txXfrm>
    </dsp:sp>
    <dsp:sp modelId="{5E43C491-AD1D-41BF-8412-A813F21A38EE}">
      <dsp:nvSpPr>
        <dsp:cNvPr id="0" name=""/>
        <dsp:cNvSpPr/>
      </dsp:nvSpPr>
      <dsp:spPr>
        <a:xfrm rot="2700000">
          <a:off x="8209248"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88BDF8-98A3-43B3-A802-F6B79B3131CE}">
      <dsp:nvSpPr>
        <dsp:cNvPr id="0" name=""/>
        <dsp:cNvSpPr/>
      </dsp:nvSpPr>
      <dsp:spPr>
        <a:xfrm>
          <a:off x="8250968"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lang="de-DE" sz="1000" kern="1200">
              <a:solidFill>
                <a:schemeClr val="accent3">
                  <a:lumMod val="75000"/>
                </a:schemeClr>
              </a:solidFill>
            </a:rPr>
            <a:t>Rel-18</a:t>
          </a:r>
          <a:br>
            <a:rPr lang="de-DE" sz="1000" kern="1200">
              <a:solidFill>
                <a:schemeClr val="accent3">
                  <a:lumMod val="75000"/>
                </a:schemeClr>
              </a:solidFill>
            </a:rPr>
          </a:br>
          <a:r>
            <a:rPr lang="en-US" sz="1000" kern="1200">
              <a:solidFill>
                <a:schemeClr val="accent3">
                  <a:lumMod val="75000"/>
                </a:schemeClr>
              </a:solidFill>
            </a:rPr>
            <a:t>Requirements for UHF band, URL Handling</a:t>
          </a:r>
        </a:p>
      </dsp:txBody>
      <dsp:txXfrm>
        <a:off x="8419586" y="1931189"/>
        <a:ext cx="843092" cy="843194"/>
      </dsp:txXfrm>
    </dsp:sp>
    <dsp:sp modelId="{F4B278F1-6C00-4AAB-835D-03F55381840B}">
      <dsp:nvSpPr>
        <dsp:cNvPr id="0" name=""/>
        <dsp:cNvSpPr/>
      </dsp:nvSpPr>
      <dsp:spPr>
        <a:xfrm rot="2700000">
          <a:off x="6902156"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8F32BF-E251-43CE-BA58-D06214E885A4}">
      <dsp:nvSpPr>
        <dsp:cNvPr id="0" name=""/>
        <dsp:cNvSpPr/>
      </dsp:nvSpPr>
      <dsp:spPr>
        <a:xfrm>
          <a:off x="6943875"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a:ln>
                <a:noFill/>
              </a:ln>
              <a:solidFill>
                <a:srgbClr val="0083A2"/>
              </a:solidFill>
              <a:effectLst/>
              <a:uLnTx/>
              <a:uFillTx/>
              <a:latin typeface="Arial"/>
            </a:rPr>
            <a:t>Enhanced Version of ETSI TS 103 720v.1.2.1</a:t>
          </a:r>
          <a:endParaRPr lang="en-US" sz="1000" kern="1200"/>
        </a:p>
      </dsp:txBody>
      <dsp:txXfrm>
        <a:off x="7112494" y="1931189"/>
        <a:ext cx="843092" cy="843194"/>
      </dsp:txXfrm>
    </dsp:sp>
    <dsp:sp modelId="{DDED353F-1552-4490-AC0D-9DEF658998E0}">
      <dsp:nvSpPr>
        <dsp:cNvPr id="0" name=""/>
        <dsp:cNvSpPr/>
      </dsp:nvSpPr>
      <dsp:spPr>
        <a:xfrm rot="2700000">
          <a:off x="5595063"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909048-32F9-4E75-886C-3F57DCB37ED2}">
      <dsp:nvSpPr>
        <dsp:cNvPr id="0" name=""/>
        <dsp:cNvSpPr/>
      </dsp:nvSpPr>
      <dsp:spPr>
        <a:xfrm>
          <a:off x="5636783"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de-DE" sz="1000" b="0" i="0" u="none" strike="noStrike" kern="1200" cap="none" spc="0" normalizeH="0" baseline="0" noProof="0">
              <a:ln>
                <a:noFill/>
              </a:ln>
              <a:solidFill>
                <a:srgbClr val="0083A2"/>
              </a:solidFill>
              <a:effectLst/>
              <a:uLnTx/>
              <a:uFillTx/>
              <a:latin typeface="Arial"/>
            </a:rPr>
            <a:t>Rel-17</a:t>
          </a:r>
          <a:br>
            <a:rPr kumimoji="0" lang="de-DE" sz="1000" b="0" i="0" u="none" strike="noStrike" kern="1200" cap="none" spc="0" normalizeH="0" baseline="0" noProof="0">
              <a:ln>
                <a:noFill/>
              </a:ln>
              <a:solidFill>
                <a:srgbClr val="0083A2"/>
              </a:solidFill>
              <a:effectLst/>
              <a:uLnTx/>
              <a:uFillTx/>
              <a:latin typeface="Arial"/>
            </a:rPr>
          </a:br>
          <a:r>
            <a:rPr kumimoji="0" lang="de-DE" sz="1000" b="0" i="0" u="none" strike="noStrike" kern="1200" cap="none" spc="0" normalizeH="0" baseline="0" noProof="0">
              <a:ln>
                <a:noFill/>
              </a:ln>
              <a:solidFill>
                <a:srgbClr val="0083A2"/>
              </a:solidFill>
              <a:effectLst/>
              <a:uLnTx/>
              <a:uFillTx/>
              <a:latin typeface="Arial"/>
            </a:rPr>
            <a:t>Enhanced BW= 6/7/8 MHz for UHF</a:t>
          </a:r>
          <a:endParaRPr lang="en-US" sz="1000" kern="1200"/>
        </a:p>
      </dsp:txBody>
      <dsp:txXfrm>
        <a:off x="5805402" y="1931189"/>
        <a:ext cx="843092" cy="843194"/>
      </dsp:txXfrm>
    </dsp:sp>
    <dsp:sp modelId="{8D2D7A9D-E955-4BB2-B5A3-9D2886F6FA6B}">
      <dsp:nvSpPr>
        <dsp:cNvPr id="0" name=""/>
        <dsp:cNvSpPr/>
      </dsp:nvSpPr>
      <dsp:spPr>
        <a:xfrm rot="2700000">
          <a:off x="4287971"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D11445-825F-49E8-866F-A295A7411F9E}">
      <dsp:nvSpPr>
        <dsp:cNvPr id="0" name=""/>
        <dsp:cNvSpPr/>
      </dsp:nvSpPr>
      <dsp:spPr>
        <a:xfrm>
          <a:off x="4329691"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de-DE" sz="1000" b="0" i="0" u="none" strike="noStrike" kern="1200" cap="none" spc="0" normalizeH="0" baseline="0" noProof="0">
              <a:ln>
                <a:noFill/>
              </a:ln>
              <a:solidFill>
                <a:srgbClr val="0083A2"/>
              </a:solidFill>
              <a:effectLst/>
              <a:uLnTx/>
              <a:uFillTx/>
              <a:latin typeface="Arial"/>
            </a:rPr>
            <a:t>5G BC is an EU standard (ETSI </a:t>
          </a:r>
          <a:r>
            <a:rPr kumimoji="0" lang="en-US" sz="1000" b="0" i="0" u="none" strike="noStrike" kern="1200" cap="none" spc="0" normalizeH="0" baseline="0" noProof="0">
              <a:ln>
                <a:noFill/>
              </a:ln>
              <a:solidFill>
                <a:srgbClr val="0083A2"/>
              </a:solidFill>
              <a:effectLst/>
              <a:uLnTx/>
              <a:uFillTx/>
              <a:latin typeface="Arial"/>
              <a:hlinkClick xmlns:r="http://schemas.openxmlformats.org/officeDocument/2006/relationships" r:id="rId1">
                <a:extLst>
                  <a:ext uri="{A12FA001-AC4F-418D-AE19-62706E023703}">
                    <ahyp:hlinkClr xmlns:ahyp="http://schemas.microsoft.com/office/drawing/2018/hyperlinkcolor" val="tx"/>
                  </a:ext>
                </a:extLst>
              </a:hlinkClick>
            </a:rPr>
            <a:t>TS 103 720</a:t>
          </a:r>
          <a:r>
            <a:rPr kumimoji="0" lang="en-US" sz="1000" b="0" i="0" u="none" strike="noStrike" kern="1200" cap="none" spc="0" normalizeH="0" baseline="0" noProof="0">
              <a:ln>
                <a:noFill/>
              </a:ln>
              <a:solidFill>
                <a:srgbClr val="0083A2"/>
              </a:solidFill>
              <a:effectLst/>
              <a:uLnTx/>
              <a:uFillTx/>
              <a:latin typeface="Arial"/>
            </a:rPr>
            <a:t>)</a:t>
          </a:r>
          <a:endParaRPr lang="en-US" sz="1000" kern="1200"/>
        </a:p>
      </dsp:txBody>
      <dsp:txXfrm>
        <a:off x="4498309" y="1931189"/>
        <a:ext cx="843092" cy="843194"/>
      </dsp:txXfrm>
    </dsp:sp>
    <dsp:sp modelId="{A0E88B4A-82D0-420B-925D-B7CBDDE07732}">
      <dsp:nvSpPr>
        <dsp:cNvPr id="0" name=""/>
        <dsp:cNvSpPr/>
      </dsp:nvSpPr>
      <dsp:spPr>
        <a:xfrm rot="2700000">
          <a:off x="2980879"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1D6B98-94C5-4AF2-A4BB-0E5E7A5D422E}">
      <dsp:nvSpPr>
        <dsp:cNvPr id="0" name=""/>
        <dsp:cNvSpPr/>
      </dsp:nvSpPr>
      <dsp:spPr>
        <a:xfrm>
          <a:off x="3022599"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a:ln>
                <a:noFill/>
              </a:ln>
              <a:solidFill>
                <a:srgbClr val="0083A2"/>
              </a:solidFill>
              <a:effectLst/>
              <a:uLnTx/>
              <a:uFillTx/>
              <a:latin typeface="Arial"/>
            </a:rPr>
            <a:t>Rel-16</a:t>
          </a:r>
        </a:p>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a:ln>
                <a:noFill/>
              </a:ln>
              <a:solidFill>
                <a:srgbClr val="0083A2"/>
              </a:solidFill>
              <a:effectLst/>
              <a:uLnTx/>
              <a:uFillTx/>
              <a:latin typeface="Arial"/>
              <a:sym typeface="Wingdings" panose="05000000000000000000" pitchFamily="2" charset="2"/>
            </a:rPr>
            <a:t>Rooftop</a:t>
          </a:r>
          <a:r>
            <a:rPr kumimoji="0" lang="en-US" sz="1000" b="0" i="0" u="none" strike="noStrike" kern="1200" cap="none" spc="0" normalizeH="0" baseline="0" noProof="0">
              <a:ln>
                <a:noFill/>
              </a:ln>
              <a:solidFill>
                <a:srgbClr val="0083A2"/>
              </a:solidFill>
              <a:effectLst/>
              <a:uLnTx/>
              <a:uFillTx/>
              <a:latin typeface="Arial"/>
            </a:rPr>
            <a:t>  Mobility up to 250 km/h</a:t>
          </a:r>
          <a:endParaRPr lang="en-US" sz="1000" kern="1200"/>
        </a:p>
      </dsp:txBody>
      <dsp:txXfrm>
        <a:off x="3191217" y="1931189"/>
        <a:ext cx="843092" cy="843194"/>
      </dsp:txXfrm>
    </dsp:sp>
    <dsp:sp modelId="{AADDE8E5-E4FD-4942-86DA-6E10E6C1A2F7}">
      <dsp:nvSpPr>
        <dsp:cNvPr id="0" name=""/>
        <dsp:cNvSpPr/>
      </dsp:nvSpPr>
      <dsp:spPr>
        <a:xfrm rot="2700000">
          <a:off x="1673787"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6E9D62-BBD0-463D-B544-4429B65D93E5}">
      <dsp:nvSpPr>
        <dsp:cNvPr id="0" name=""/>
        <dsp:cNvSpPr/>
      </dsp:nvSpPr>
      <dsp:spPr>
        <a:xfrm>
          <a:off x="1715507"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de-DE" sz="1000" b="0" i="0" u="none" strike="noStrike" kern="1200" cap="none" spc="0" normalizeH="0" baseline="0" noProof="0">
              <a:ln>
                <a:noFill/>
              </a:ln>
              <a:solidFill>
                <a:srgbClr val="0083A2"/>
              </a:solidFill>
              <a:effectLst/>
              <a:uLnTx/>
              <a:uFillTx/>
              <a:latin typeface="Arial"/>
            </a:rPr>
            <a:t>5G BC  worldwide standard </a:t>
          </a:r>
        </a:p>
        <a:p>
          <a:pPr marL="0" lvl="0" indent="0" algn="ctr" defTabSz="444500">
            <a:lnSpc>
              <a:spcPct val="90000"/>
            </a:lnSpc>
            <a:spcBef>
              <a:spcPct val="0"/>
            </a:spcBef>
            <a:spcAft>
              <a:spcPct val="35000"/>
            </a:spcAft>
            <a:buClrTx/>
            <a:buSzTx/>
            <a:buFontTx/>
            <a:buNone/>
          </a:pPr>
          <a:r>
            <a:rPr kumimoji="0" lang="de-DE" sz="1000" b="0" i="0" u="none" strike="noStrike" kern="1200" cap="none" spc="0" normalizeH="0" baseline="0" noProof="0">
              <a:ln>
                <a:noFill/>
              </a:ln>
              <a:solidFill>
                <a:srgbClr val="0083A2"/>
              </a:solidFill>
              <a:effectLst/>
              <a:uLnTx/>
              <a:uFillTx/>
              <a:latin typeface="Arial"/>
            </a:rPr>
            <a:t>TG6/1 and WP6A</a:t>
          </a:r>
          <a:endParaRPr lang="en-US" sz="1000" kern="1200"/>
        </a:p>
      </dsp:txBody>
      <dsp:txXfrm>
        <a:off x="1884125" y="1931189"/>
        <a:ext cx="843092" cy="843194"/>
      </dsp:txXfrm>
    </dsp:sp>
    <dsp:sp modelId="{896365B5-14BE-4479-B830-0B2FA3CB031B}">
      <dsp:nvSpPr>
        <dsp:cNvPr id="0" name=""/>
        <dsp:cNvSpPr/>
      </dsp:nvSpPr>
      <dsp:spPr>
        <a:xfrm rot="2700000">
          <a:off x="366695" y="1720192"/>
          <a:ext cx="1264965" cy="1264965"/>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11A34D-6873-4ADD-90D8-B783C069773F}">
      <dsp:nvSpPr>
        <dsp:cNvPr id="0" name=""/>
        <dsp:cNvSpPr/>
      </dsp:nvSpPr>
      <dsp:spPr>
        <a:xfrm>
          <a:off x="408414" y="1762505"/>
          <a:ext cx="1180329" cy="1180561"/>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a:ln>
                <a:noFill/>
              </a:ln>
              <a:solidFill>
                <a:srgbClr val="0083A2"/>
              </a:solidFill>
              <a:effectLst/>
              <a:uLnTx/>
              <a:uFillTx/>
              <a:latin typeface="Arial"/>
            </a:rPr>
            <a:t>Rel-14</a:t>
          </a:r>
        </a:p>
        <a:p>
          <a:pPr marL="0" lvl="0" indent="0" algn="ctr" defTabSz="444500">
            <a:lnSpc>
              <a:spcPct val="90000"/>
            </a:lnSpc>
            <a:spcBef>
              <a:spcPct val="0"/>
            </a:spcBef>
            <a:spcAft>
              <a:spcPct val="35000"/>
            </a:spcAft>
            <a:buClrTx/>
            <a:buSzTx/>
            <a:buFontTx/>
            <a:buNone/>
          </a:pPr>
          <a:r>
            <a:rPr kumimoji="0" lang="en-US" sz="1000" b="0" i="0" u="none" strike="noStrike" kern="1200" cap="none" spc="0" normalizeH="0" baseline="0" noProof="0">
              <a:ln>
                <a:noFill/>
              </a:ln>
              <a:solidFill>
                <a:srgbClr val="0083A2"/>
              </a:solidFill>
              <a:effectLst/>
              <a:uLnTx/>
              <a:uFillTx/>
              <a:latin typeface="Arial"/>
            </a:rPr>
            <a:t>SCS1.25KHz/ CP=200µs  Mobility up to 120 km/h</a:t>
          </a:r>
          <a:endParaRPr lang="en-US" sz="1000" kern="1200"/>
        </a:p>
      </dsp:txBody>
      <dsp:txXfrm>
        <a:off x="577033" y="1931189"/>
        <a:ext cx="843092" cy="8431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749EEB-B6EE-43F5-9C0A-2585C334408D}">
      <dsp:nvSpPr>
        <dsp:cNvPr id="0" name=""/>
        <dsp:cNvSpPr/>
      </dsp:nvSpPr>
      <dsp:spPr>
        <a:xfrm rot="5400000">
          <a:off x="7156437" y="-3014033"/>
          <a:ext cx="901598" cy="715975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a:t>Feature </a:t>
          </a:r>
          <a:r>
            <a:rPr lang="en-US" sz="2500" kern="1200" dirty="0"/>
            <a:t>complete with Rel-19</a:t>
          </a:r>
        </a:p>
      </dsp:txBody>
      <dsp:txXfrm rot="-5400000">
        <a:off x="4027361" y="159055"/>
        <a:ext cx="7115739" cy="813574"/>
      </dsp:txXfrm>
    </dsp:sp>
    <dsp:sp modelId="{0198165E-6B03-45F7-BF22-FE61B2138AA7}">
      <dsp:nvSpPr>
        <dsp:cNvPr id="0" name=""/>
        <dsp:cNvSpPr/>
      </dsp:nvSpPr>
      <dsp:spPr>
        <a:xfrm>
          <a:off x="0" y="2343"/>
          <a:ext cx="4027360" cy="1126997"/>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Modem</a:t>
          </a:r>
        </a:p>
      </dsp:txBody>
      <dsp:txXfrm>
        <a:off x="55015" y="57358"/>
        <a:ext cx="3917330" cy="1016967"/>
      </dsp:txXfrm>
    </dsp:sp>
    <dsp:sp modelId="{498FD129-B8AC-4A6A-B3AE-BF1912A546AF}">
      <dsp:nvSpPr>
        <dsp:cNvPr id="0" name=""/>
        <dsp:cNvSpPr/>
      </dsp:nvSpPr>
      <dsp:spPr>
        <a:xfrm rot="5400000">
          <a:off x="7156437" y="-1830686"/>
          <a:ext cx="901598" cy="715975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Middleware and APIs specified</a:t>
          </a:r>
        </a:p>
        <a:p>
          <a:pPr marL="228600" lvl="1" indent="-228600" algn="l" defTabSz="1111250">
            <a:lnSpc>
              <a:spcPct val="90000"/>
            </a:lnSpc>
            <a:spcBef>
              <a:spcPct val="0"/>
            </a:spcBef>
            <a:spcAft>
              <a:spcPct val="15000"/>
            </a:spcAft>
            <a:buChar char="•"/>
          </a:pPr>
          <a:r>
            <a:rPr lang="en-US" sz="2500" kern="1200" dirty="0"/>
            <a:t>Re-use of existing service layers and apps</a:t>
          </a:r>
        </a:p>
      </dsp:txBody>
      <dsp:txXfrm rot="-5400000">
        <a:off x="4027361" y="1342402"/>
        <a:ext cx="7115739" cy="813574"/>
      </dsp:txXfrm>
    </dsp:sp>
    <dsp:sp modelId="{A9808981-9E1B-49FA-AC8B-C02EB314F944}">
      <dsp:nvSpPr>
        <dsp:cNvPr id="0" name=""/>
        <dsp:cNvSpPr/>
      </dsp:nvSpPr>
      <dsp:spPr>
        <a:xfrm>
          <a:off x="0" y="1185690"/>
          <a:ext cx="4027360" cy="1126997"/>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Service Layer</a:t>
          </a:r>
        </a:p>
      </dsp:txBody>
      <dsp:txXfrm>
        <a:off x="55015" y="1240705"/>
        <a:ext cx="3917330" cy="1016967"/>
      </dsp:txXfrm>
    </dsp:sp>
    <dsp:sp modelId="{88F36C44-21A7-44F5-A275-F0A9DE88AEA0}">
      <dsp:nvSpPr>
        <dsp:cNvPr id="0" name=""/>
        <dsp:cNvSpPr/>
      </dsp:nvSpPr>
      <dsp:spPr>
        <a:xfrm rot="5400000">
          <a:off x="7156437" y="-647338"/>
          <a:ext cx="901598" cy="715975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Launch Profile stabilizing</a:t>
          </a:r>
        </a:p>
      </dsp:txBody>
      <dsp:txXfrm rot="-5400000">
        <a:off x="4027361" y="2525750"/>
        <a:ext cx="7115739" cy="813574"/>
      </dsp:txXfrm>
    </dsp:sp>
    <dsp:sp modelId="{9FE2B523-2B72-4E4C-9A3F-2A1F6DC4354F}">
      <dsp:nvSpPr>
        <dsp:cNvPr id="0" name=""/>
        <dsp:cNvSpPr/>
      </dsp:nvSpPr>
      <dsp:spPr>
        <a:xfrm>
          <a:off x="0" y="2369038"/>
          <a:ext cx="4027360" cy="1126997"/>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Profiling</a:t>
          </a:r>
        </a:p>
      </dsp:txBody>
      <dsp:txXfrm>
        <a:off x="55015" y="2424053"/>
        <a:ext cx="3917330" cy="1016967"/>
      </dsp:txXfrm>
    </dsp:sp>
    <dsp:sp modelId="{71E3DB55-46CD-4634-8F7C-6FDB1EEB8E8A}">
      <dsp:nvSpPr>
        <dsp:cNvPr id="0" name=""/>
        <dsp:cNvSpPr/>
      </dsp:nvSpPr>
      <dsp:spPr>
        <a:xfrm rot="5400000">
          <a:off x="7156437" y="536009"/>
          <a:ext cx="901598" cy="715975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Network Interop (BNE) initiated</a:t>
          </a:r>
        </a:p>
        <a:p>
          <a:pPr marL="228600" lvl="1" indent="-228600" algn="l" defTabSz="1111250">
            <a:lnSpc>
              <a:spcPct val="90000"/>
            </a:lnSpc>
            <a:spcBef>
              <a:spcPct val="0"/>
            </a:spcBef>
            <a:spcAft>
              <a:spcPct val="15000"/>
            </a:spcAft>
            <a:buChar char="•"/>
          </a:pPr>
          <a:r>
            <a:rPr lang="en-US" sz="2500" kern="1200" dirty="0"/>
            <a:t>Device Interop (5G-MAG) in planning</a:t>
          </a:r>
        </a:p>
      </dsp:txBody>
      <dsp:txXfrm rot="-5400000">
        <a:off x="4027361" y="3709097"/>
        <a:ext cx="7115739" cy="813574"/>
      </dsp:txXfrm>
    </dsp:sp>
    <dsp:sp modelId="{75CA3D0B-E6B1-452E-9467-05251933C35F}">
      <dsp:nvSpPr>
        <dsp:cNvPr id="0" name=""/>
        <dsp:cNvSpPr/>
      </dsp:nvSpPr>
      <dsp:spPr>
        <a:xfrm>
          <a:off x="0" y="3552386"/>
          <a:ext cx="4027360" cy="1126997"/>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Testing and Interop</a:t>
          </a:r>
        </a:p>
      </dsp:txBody>
      <dsp:txXfrm>
        <a:off x="55015" y="3607401"/>
        <a:ext cx="3917330" cy="101696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64F774-3DA4-43F1-9F94-CC6471A1899B}">
      <dsp:nvSpPr>
        <dsp:cNvPr id="0" name=""/>
        <dsp:cNvSpPr/>
      </dsp:nvSpPr>
      <dsp:spPr>
        <a:xfrm rot="5400000">
          <a:off x="-425812" y="1420458"/>
          <a:ext cx="2218901" cy="267430"/>
        </a:xfrm>
        <a:prstGeom prst="rect">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C25CF88-5CBE-4148-8034-0A6A56AB4124}">
      <dsp:nvSpPr>
        <dsp:cNvPr id="0" name=""/>
        <dsp:cNvSpPr/>
      </dsp:nvSpPr>
      <dsp:spPr>
        <a:xfrm>
          <a:off x="84505" y="4177"/>
          <a:ext cx="2971449" cy="1782869"/>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he core idea about handhelds for 5G Broadcast is the full integration of the modem with commercially large scale SOCs, such as those available in flagship devices from large OEMs. This makes </a:t>
          </a:r>
          <a:r>
            <a:rPr kumimoji="0" lang="en-US" sz="1400" b="1"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 Broadcast a modem feature</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lang="en-US" sz="1400" kern="1200" dirty="0"/>
        </a:p>
      </dsp:txBody>
      <dsp:txXfrm>
        <a:off x="136723" y="56395"/>
        <a:ext cx="2867013" cy="1678433"/>
      </dsp:txXfrm>
    </dsp:sp>
    <dsp:sp modelId="{4DD5D522-3BCD-4540-B8C6-B6D4883DF1C5}">
      <dsp:nvSpPr>
        <dsp:cNvPr id="0" name=""/>
        <dsp:cNvSpPr/>
      </dsp:nvSpPr>
      <dsp:spPr>
        <a:xfrm rot="5400000">
          <a:off x="-425812" y="3649045"/>
          <a:ext cx="2218901" cy="267430"/>
        </a:xfrm>
        <a:prstGeom prst="rect">
          <a:avLst/>
        </a:prstGeom>
        <a:solidFill>
          <a:schemeClr val="accent2">
            <a:hueOff val="-295472"/>
            <a:satOff val="-6843"/>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377818-515F-446A-BAEC-7BF1BB2C3954}">
      <dsp:nvSpPr>
        <dsp:cNvPr id="0" name=""/>
        <dsp:cNvSpPr/>
      </dsp:nvSpPr>
      <dsp:spPr>
        <a:xfrm>
          <a:off x="84505" y="2232764"/>
          <a:ext cx="2971449" cy="1782869"/>
        </a:xfrm>
        <a:prstGeom prst="roundRect">
          <a:avLst>
            <a:gd name="adj" fmla="val 10000"/>
          </a:avLst>
        </a:prstGeom>
        <a:solidFill>
          <a:schemeClr val="accent2">
            <a:hueOff val="-258538"/>
            <a:satOff val="-5988"/>
            <a:lumOff val="-343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3GPP defines many features in each Release and a modem can only support a small subset, so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features</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nd their detailed parameters)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are selected by commercial needs </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and implementation complexity, area costs, etc. </a:t>
          </a:r>
          <a:endParaRPr kumimoji="0" lang="en-US" sz="14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136723" y="2284982"/>
        <a:ext cx="2867013" cy="1678433"/>
      </dsp:txXfrm>
    </dsp:sp>
    <dsp:sp modelId="{003AE034-038E-44A6-A789-D9FC8053BAFE}">
      <dsp:nvSpPr>
        <dsp:cNvPr id="0" name=""/>
        <dsp:cNvSpPr/>
      </dsp:nvSpPr>
      <dsp:spPr>
        <a:xfrm>
          <a:off x="688481" y="4763339"/>
          <a:ext cx="3942342" cy="267430"/>
        </a:xfrm>
        <a:prstGeom prst="rect">
          <a:avLst/>
        </a:prstGeom>
        <a:solidFill>
          <a:schemeClr val="accent2">
            <a:hueOff val="-590944"/>
            <a:satOff val="-13686"/>
            <a:lumOff val="-784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DFFB650-5E3D-411B-A7C5-DB6CDA83B7AF}">
      <dsp:nvSpPr>
        <dsp:cNvPr id="0" name=""/>
        <dsp:cNvSpPr/>
      </dsp:nvSpPr>
      <dsp:spPr>
        <a:xfrm>
          <a:off x="84505" y="4461351"/>
          <a:ext cx="2971449" cy="1782869"/>
        </a:xfrm>
        <a:prstGeom prst="roundRect">
          <a:avLst>
            <a:gd name="adj" fmla="val 10000"/>
          </a:avLst>
        </a:prstGeom>
        <a:solidFill>
          <a:schemeClr val="accent2">
            <a:hueOff val="-517076"/>
            <a:satOff val="-11975"/>
            <a:lumOff val="-686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 Broadcast is defined such that the latter (implementation costs) are minimized by making the technology </a:t>
          </a:r>
          <a:r>
            <a:rPr kumimoji="0" lang="en-US" sz="1400" b="1"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hardware-compatible with existing SoCs</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kumimoji="0" lang="en-US" sz="14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136723" y="4513569"/>
        <a:ext cx="2867013" cy="1678433"/>
      </dsp:txXfrm>
    </dsp:sp>
    <dsp:sp modelId="{B32D2186-26B7-49C3-87E3-A04B344BD735}">
      <dsp:nvSpPr>
        <dsp:cNvPr id="0" name=""/>
        <dsp:cNvSpPr/>
      </dsp:nvSpPr>
      <dsp:spPr>
        <a:xfrm rot="16200000">
          <a:off x="3526215" y="3649045"/>
          <a:ext cx="2218901" cy="267430"/>
        </a:xfrm>
        <a:prstGeom prst="rect">
          <a:avLst/>
        </a:prstGeom>
        <a:solidFill>
          <a:schemeClr val="accent2">
            <a:hueOff val="-886417"/>
            <a:satOff val="-20529"/>
            <a:lumOff val="-1176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7FEFFDA-F0FF-4248-8E56-B2C565C42EF6}">
      <dsp:nvSpPr>
        <dsp:cNvPr id="0" name=""/>
        <dsp:cNvSpPr/>
      </dsp:nvSpPr>
      <dsp:spPr>
        <a:xfrm>
          <a:off x="4036533" y="4461351"/>
          <a:ext cx="2971449" cy="1782869"/>
        </a:xfrm>
        <a:prstGeom prst="roundRect">
          <a:avLst>
            <a:gd name="adj" fmla="val 10000"/>
          </a:avLst>
        </a:prstGeom>
        <a:solidFill>
          <a:schemeClr val="accent2">
            <a:hueOff val="-775615"/>
            <a:satOff val="-17963"/>
            <a:lumOff val="-10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he features to be added beyond what is already in the modem are primarily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receive-only", new frequency bands, new carrier bandwidths, concurrency with unicast, otherwise re-use</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a:t>
          </a:r>
          <a:endParaRPr kumimoji="0" lang="en-US" sz="14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4088751" y="4513569"/>
        <a:ext cx="2867013" cy="1678433"/>
      </dsp:txXfrm>
    </dsp:sp>
    <dsp:sp modelId="{AD28C696-A664-4B93-8474-1271A2945BCC}">
      <dsp:nvSpPr>
        <dsp:cNvPr id="0" name=""/>
        <dsp:cNvSpPr/>
      </dsp:nvSpPr>
      <dsp:spPr>
        <a:xfrm rot="16200000">
          <a:off x="3526215" y="1420458"/>
          <a:ext cx="2218901" cy="267430"/>
        </a:xfrm>
        <a:prstGeom prst="rect">
          <a:avLst/>
        </a:prstGeom>
        <a:solidFill>
          <a:schemeClr val="accent2">
            <a:hueOff val="-1181889"/>
            <a:satOff val="-27372"/>
            <a:lumOff val="-1568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59A891D-2475-4C92-9241-9B5DFE372351}">
      <dsp:nvSpPr>
        <dsp:cNvPr id="0" name=""/>
        <dsp:cNvSpPr/>
      </dsp:nvSpPr>
      <dsp:spPr>
        <a:xfrm>
          <a:off x="4036533" y="2232764"/>
          <a:ext cx="2971449" cy="1782869"/>
        </a:xfrm>
        <a:prstGeom prst="roundRect">
          <a:avLst>
            <a:gd name="adj" fmla="val 10000"/>
          </a:avLst>
        </a:prstGeom>
        <a:solidFill>
          <a:schemeClr val="accent2">
            <a:hueOff val="-1034153"/>
            <a:satOff val="-23950"/>
            <a:lumOff val="-1372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Microsoft Sans Serif" panose="020B0604020202020204" pitchFamily="34" charset="0"/>
              <a:ea typeface="Microsoft Sans Serif" panose="020B0604020202020204" pitchFamily="34" charset="0"/>
              <a:cs typeface="Microsoft Sans Serif" panose="020B0604020202020204" pitchFamily="34" charset="0"/>
            </a:rPr>
            <a:t>Acknowledging solidified plans from BNOs to start services in 2027, </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GB is a seriously considered feature (a "contender") for upcoming modems and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coping of the feature has started </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identifying exact implementation requirements and costs).</a:t>
          </a:r>
          <a:endParaRPr kumimoji="0" lang="en-US" sz="14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4088751" y="2284982"/>
        <a:ext cx="2867013" cy="1678433"/>
      </dsp:txXfrm>
    </dsp:sp>
    <dsp:sp modelId="{9C670752-98F3-459F-BF4A-8D12CE95A93C}">
      <dsp:nvSpPr>
        <dsp:cNvPr id="0" name=""/>
        <dsp:cNvSpPr/>
      </dsp:nvSpPr>
      <dsp:spPr>
        <a:xfrm>
          <a:off x="4640508" y="306165"/>
          <a:ext cx="3942342" cy="267430"/>
        </a:xfrm>
        <a:prstGeom prst="rect">
          <a:avLst/>
        </a:prstGeom>
        <a:solidFill>
          <a:schemeClr val="accent2">
            <a:hueOff val="-1477361"/>
            <a:satOff val="-34215"/>
            <a:lumOff val="-1960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2FAA643-2175-451B-B0B3-FCDE5DD084E9}">
      <dsp:nvSpPr>
        <dsp:cNvPr id="0" name=""/>
        <dsp:cNvSpPr/>
      </dsp:nvSpPr>
      <dsp:spPr>
        <a:xfrm>
          <a:off x="4036533" y="4177"/>
          <a:ext cx="2971449" cy="1782869"/>
        </a:xfrm>
        <a:prstGeom prst="roundRect">
          <a:avLst>
            <a:gd name="adj" fmla="val 10000"/>
          </a:avLst>
        </a:prstGeom>
        <a:solidFill>
          <a:schemeClr val="accent2">
            <a:hueOff val="-1292691"/>
            <a:satOff val="-29938"/>
            <a:lumOff val="-171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tart of scoping is a result from consolidating business opportunities around the world. Moving forward, the process will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continue by consolidating implementation requirements and business opportunities </a:t>
          </a: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 in particular for OEMs to support the feature on their devices. </a:t>
          </a:r>
          <a:endParaRPr kumimoji="0" lang="en-US" sz="14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4088751" y="56395"/>
        <a:ext cx="2867013" cy="1678433"/>
      </dsp:txXfrm>
    </dsp:sp>
    <dsp:sp modelId="{FF95AD77-2631-444D-A95B-26372ECCA71C}">
      <dsp:nvSpPr>
        <dsp:cNvPr id="0" name=""/>
        <dsp:cNvSpPr/>
      </dsp:nvSpPr>
      <dsp:spPr>
        <a:xfrm rot="5400000">
          <a:off x="7478242" y="1420458"/>
          <a:ext cx="2218901" cy="267430"/>
        </a:xfrm>
        <a:prstGeom prst="rect">
          <a:avLst/>
        </a:prstGeom>
        <a:solidFill>
          <a:schemeClr val="accent2">
            <a:hueOff val="-1772833"/>
            <a:satOff val="-41058"/>
            <a:lumOff val="-2352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1EB28D9-D921-4E76-8682-6A0EFE839E4F}">
      <dsp:nvSpPr>
        <dsp:cNvPr id="0" name=""/>
        <dsp:cNvSpPr/>
      </dsp:nvSpPr>
      <dsp:spPr>
        <a:xfrm>
          <a:off x="7988560" y="4177"/>
          <a:ext cx="2971449" cy="1782869"/>
        </a:xfrm>
        <a:prstGeom prst="roundRect">
          <a:avLst>
            <a:gd name="adj" fmla="val 10000"/>
          </a:avLst>
        </a:prstGeom>
        <a:solidFill>
          <a:schemeClr val="accent2">
            <a:hueOff val="-1551229"/>
            <a:satOff val="-35926"/>
            <a:lumOff val="-20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We are on track on making 5G Broadcast a reality and attractive to Service Providers and OEMs.  </a:t>
          </a:r>
          <a:r>
            <a:rPr kumimoji="0" lang="en-US" sz="1400" b="0" i="0" u="none" strike="noStrike" kern="1200" cap="none" spc="0" normalizeH="0" baseline="0" noProof="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Standards/Engineering focus now on implementation support of scoped features: test transmitters, test cases, etc.</a:t>
          </a:r>
          <a:endParaRPr kumimoji="0" lang="en-US" sz="1400" b="0" i="0" u="none" strike="noStrike" kern="1200" cap="none" spc="0" normalizeH="0" baseline="0" noProof="0" dirty="0">
            <a:ln/>
            <a:solidFill>
              <a:srgbClr val="FFFF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8040778" y="56395"/>
        <a:ext cx="2867013" cy="1678433"/>
      </dsp:txXfrm>
    </dsp:sp>
    <dsp:sp modelId="{6AC74C17-4678-4232-BBDE-AEB4078522A9}">
      <dsp:nvSpPr>
        <dsp:cNvPr id="0" name=""/>
        <dsp:cNvSpPr/>
      </dsp:nvSpPr>
      <dsp:spPr>
        <a:xfrm rot="5400000">
          <a:off x="7478242" y="3649045"/>
          <a:ext cx="2218901" cy="267430"/>
        </a:xfrm>
        <a:prstGeom prst="rect">
          <a:avLst/>
        </a:prstGeom>
        <a:solidFill>
          <a:schemeClr val="accent2">
            <a:hueOff val="-2068305"/>
            <a:satOff val="-47901"/>
            <a:lumOff val="-2745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8C9198-E3D9-4F5E-948C-F8DB93219873}">
      <dsp:nvSpPr>
        <dsp:cNvPr id="0" name=""/>
        <dsp:cNvSpPr/>
      </dsp:nvSpPr>
      <dsp:spPr>
        <a:xfrm>
          <a:off x="7988560" y="2232764"/>
          <a:ext cx="2971449" cy="1782869"/>
        </a:xfrm>
        <a:prstGeom prst="roundRect">
          <a:avLst>
            <a:gd name="adj" fmla="val 10000"/>
          </a:avLst>
        </a:prstGeom>
        <a:solidFill>
          <a:schemeClr val="accent2">
            <a:hueOff val="-1809767"/>
            <a:satOff val="-41913"/>
            <a:lumOff val="-24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Anticipating leading Android OEMs to be in market with H1/2028 models</a:t>
          </a:r>
          <a:r>
            <a:rPr lang="en-US" sz="1500" kern="1200">
              <a:latin typeface="Microsoft Sans Serif" panose="020B0604020202020204" pitchFamily="34" charset="0"/>
              <a:ea typeface="Microsoft Sans Serif" panose="020B0604020202020204" pitchFamily="34" charset="0"/>
              <a:cs typeface="Microsoft Sans Serif" panose="020B0604020202020204" pitchFamily="34" charset="0"/>
            </a:rPr>
            <a:t>, Qualcomm plans to support OEMs to meet their commercialization goals.</a:t>
          </a:r>
          <a:endParaRPr lang="en-US" sz="1500" kern="1200" dirty="0">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8040778" y="2284982"/>
        <a:ext cx="2867013" cy="1678433"/>
      </dsp:txXfrm>
    </dsp:sp>
    <dsp:sp modelId="{E4071922-FA39-4936-BC6C-6F9869F94C93}">
      <dsp:nvSpPr>
        <dsp:cNvPr id="0" name=""/>
        <dsp:cNvSpPr/>
      </dsp:nvSpPr>
      <dsp:spPr>
        <a:xfrm>
          <a:off x="7988560" y="4461351"/>
          <a:ext cx="2971449" cy="1782869"/>
        </a:xfrm>
        <a:prstGeom prst="roundRect">
          <a:avLst>
            <a:gd name="adj" fmla="val 10000"/>
          </a:avLst>
        </a:prstGeom>
        <a:solidFill>
          <a:schemeClr val="accent2">
            <a:hueOff val="-2068305"/>
            <a:satOff val="-47901"/>
            <a:lumOff val="-274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latin typeface="Microsoft Sans Serif" panose="020B0604020202020204" pitchFamily="34" charset="0"/>
              <a:ea typeface="Microsoft Sans Serif" panose="020B0604020202020204" pitchFamily="34" charset="0"/>
              <a:cs typeface="Microsoft Sans Serif" panose="020B0604020202020204" pitchFamily="34" charset="0"/>
            </a:rPr>
            <a:t>Typically, a major feature like 5GB arrives to flagship devices </a:t>
          </a:r>
          <a:r>
            <a:rPr lang="en-US" sz="1500" kern="120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and waterfalls to lower tiers gradually. </a:t>
          </a:r>
          <a:r>
            <a:rPr lang="en-US" sz="1500" kern="1200">
              <a:latin typeface="Microsoft Sans Serif" panose="020B0604020202020204" pitchFamily="34" charset="0"/>
              <a:ea typeface="Microsoft Sans Serif" panose="020B0604020202020204" pitchFamily="34" charset="0"/>
              <a:cs typeface="Microsoft Sans Serif" panose="020B0604020202020204" pitchFamily="34" charset="0"/>
            </a:rPr>
            <a:t>Anticipating SOCs for other form factors such as CPE, compute, automotive to follow in a waterfall fashion</a:t>
          </a:r>
          <a:endParaRPr kumimoji="0" lang="en-US" sz="1500" b="0" i="0" u="none" strike="noStrike" kern="1200" cap="none" spc="0" normalizeH="0" baseline="0" noProof="0" dirty="0">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dsp:txBody>
      <dsp:txXfrm>
        <a:off x="8040778" y="4513569"/>
        <a:ext cx="2867013" cy="16784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22BB65-F251-4ABB-A108-C4E55911CC05}">
      <dsp:nvSpPr>
        <dsp:cNvPr id="0" name=""/>
        <dsp:cNvSpPr/>
      </dsp:nvSpPr>
      <dsp:spPr>
        <a:xfrm>
          <a:off x="478945" y="330343"/>
          <a:ext cx="5138108" cy="5138108"/>
        </a:xfrm>
        <a:prstGeom prst="blockArc">
          <a:avLst>
            <a:gd name="adj1" fmla="val 14657143"/>
            <a:gd name="adj2" fmla="val 16200000"/>
            <a:gd name="adj3" fmla="val 1980"/>
          </a:avLst>
        </a:prstGeom>
        <a:solidFill>
          <a:schemeClr val="accent5">
            <a:hueOff val="-100611"/>
            <a:satOff val="4205"/>
            <a:lumOff val="36863"/>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A7C0CA58-7154-46D5-8D5A-11B68A199506}">
      <dsp:nvSpPr>
        <dsp:cNvPr id="0" name=""/>
        <dsp:cNvSpPr/>
      </dsp:nvSpPr>
      <dsp:spPr>
        <a:xfrm>
          <a:off x="478945" y="330343"/>
          <a:ext cx="5138108" cy="5138108"/>
        </a:xfrm>
        <a:prstGeom prst="blockArc">
          <a:avLst>
            <a:gd name="adj1" fmla="val 13114286"/>
            <a:gd name="adj2" fmla="val 14657143"/>
            <a:gd name="adj3" fmla="val 1980"/>
          </a:avLst>
        </a:prstGeom>
        <a:solidFill>
          <a:schemeClr val="accent5">
            <a:hueOff val="-92872"/>
            <a:satOff val="3882"/>
            <a:lumOff val="34027"/>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60895B7A-17F9-4D0D-83DF-B868705BE951}">
      <dsp:nvSpPr>
        <dsp:cNvPr id="0" name=""/>
        <dsp:cNvSpPr/>
      </dsp:nvSpPr>
      <dsp:spPr>
        <a:xfrm>
          <a:off x="478945" y="330343"/>
          <a:ext cx="5138108" cy="5138108"/>
        </a:xfrm>
        <a:prstGeom prst="blockArc">
          <a:avLst>
            <a:gd name="adj1" fmla="val 11571429"/>
            <a:gd name="adj2" fmla="val 13114286"/>
            <a:gd name="adj3" fmla="val 1980"/>
          </a:avLst>
        </a:prstGeom>
        <a:solidFill>
          <a:schemeClr val="accent5">
            <a:hueOff val="-85132"/>
            <a:satOff val="3558"/>
            <a:lumOff val="31192"/>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06D6267A-311E-4D58-9A2B-26F0F3C35B27}">
      <dsp:nvSpPr>
        <dsp:cNvPr id="0" name=""/>
        <dsp:cNvSpPr/>
      </dsp:nvSpPr>
      <dsp:spPr>
        <a:xfrm>
          <a:off x="478945" y="330343"/>
          <a:ext cx="5138108" cy="5138108"/>
        </a:xfrm>
        <a:prstGeom prst="blockArc">
          <a:avLst>
            <a:gd name="adj1" fmla="val 10028571"/>
            <a:gd name="adj2" fmla="val 11571429"/>
            <a:gd name="adj3" fmla="val 1980"/>
          </a:avLst>
        </a:prstGeom>
        <a:solidFill>
          <a:schemeClr val="accent5">
            <a:hueOff val="-77393"/>
            <a:satOff val="3235"/>
            <a:lumOff val="28356"/>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65022EC3-4C95-4ADA-9C72-F5965DC965C3}">
      <dsp:nvSpPr>
        <dsp:cNvPr id="0" name=""/>
        <dsp:cNvSpPr/>
      </dsp:nvSpPr>
      <dsp:spPr>
        <a:xfrm>
          <a:off x="478945" y="330343"/>
          <a:ext cx="5138108" cy="5138108"/>
        </a:xfrm>
        <a:prstGeom prst="blockArc">
          <a:avLst>
            <a:gd name="adj1" fmla="val 8485714"/>
            <a:gd name="adj2" fmla="val 10028571"/>
            <a:gd name="adj3" fmla="val 1980"/>
          </a:avLst>
        </a:prstGeom>
        <a:solidFill>
          <a:schemeClr val="accent5">
            <a:hueOff val="-69654"/>
            <a:satOff val="2911"/>
            <a:lumOff val="25521"/>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573C8265-63E9-4D08-9F0C-AFA9C2F1E571}">
      <dsp:nvSpPr>
        <dsp:cNvPr id="0" name=""/>
        <dsp:cNvSpPr/>
      </dsp:nvSpPr>
      <dsp:spPr>
        <a:xfrm>
          <a:off x="478945" y="330343"/>
          <a:ext cx="5138108" cy="5138108"/>
        </a:xfrm>
        <a:prstGeom prst="blockArc">
          <a:avLst>
            <a:gd name="adj1" fmla="val 6942857"/>
            <a:gd name="adj2" fmla="val 8485714"/>
            <a:gd name="adj3" fmla="val 1980"/>
          </a:avLst>
        </a:prstGeom>
        <a:solidFill>
          <a:schemeClr val="accent5">
            <a:hueOff val="-61914"/>
            <a:satOff val="2588"/>
            <a:lumOff val="22685"/>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6F0A78B7-260C-4DD1-A6E3-B1633D1B59B1}">
      <dsp:nvSpPr>
        <dsp:cNvPr id="0" name=""/>
        <dsp:cNvSpPr/>
      </dsp:nvSpPr>
      <dsp:spPr>
        <a:xfrm>
          <a:off x="478945" y="330343"/>
          <a:ext cx="5138108" cy="5138108"/>
        </a:xfrm>
        <a:prstGeom prst="blockArc">
          <a:avLst>
            <a:gd name="adj1" fmla="val 5400000"/>
            <a:gd name="adj2" fmla="val 6942857"/>
            <a:gd name="adj3" fmla="val 1980"/>
          </a:avLst>
        </a:prstGeom>
        <a:solidFill>
          <a:schemeClr val="accent5">
            <a:hueOff val="-54175"/>
            <a:satOff val="2264"/>
            <a:lumOff val="19849"/>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4A8B3D41-0AD4-4593-AEC4-611D52E13778}">
      <dsp:nvSpPr>
        <dsp:cNvPr id="0" name=""/>
        <dsp:cNvSpPr/>
      </dsp:nvSpPr>
      <dsp:spPr>
        <a:xfrm>
          <a:off x="478945" y="330343"/>
          <a:ext cx="5138108" cy="5138108"/>
        </a:xfrm>
        <a:prstGeom prst="blockArc">
          <a:avLst>
            <a:gd name="adj1" fmla="val 3857143"/>
            <a:gd name="adj2" fmla="val 5400000"/>
            <a:gd name="adj3" fmla="val 1980"/>
          </a:avLst>
        </a:prstGeom>
        <a:solidFill>
          <a:schemeClr val="accent5">
            <a:hueOff val="-46436"/>
            <a:satOff val="1941"/>
            <a:lumOff val="17014"/>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767E8259-4A6B-4638-A093-6ADCB2A1B1CB}">
      <dsp:nvSpPr>
        <dsp:cNvPr id="0" name=""/>
        <dsp:cNvSpPr/>
      </dsp:nvSpPr>
      <dsp:spPr>
        <a:xfrm>
          <a:off x="478945" y="330343"/>
          <a:ext cx="5138108" cy="5138108"/>
        </a:xfrm>
        <a:prstGeom prst="blockArc">
          <a:avLst>
            <a:gd name="adj1" fmla="val 2314286"/>
            <a:gd name="adj2" fmla="val 3857143"/>
            <a:gd name="adj3" fmla="val 1980"/>
          </a:avLst>
        </a:prstGeom>
        <a:solidFill>
          <a:schemeClr val="accent5">
            <a:hueOff val="-38697"/>
            <a:satOff val="1617"/>
            <a:lumOff val="14178"/>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CB4E3C0F-5261-44D9-B643-3C25856E1E37}">
      <dsp:nvSpPr>
        <dsp:cNvPr id="0" name=""/>
        <dsp:cNvSpPr/>
      </dsp:nvSpPr>
      <dsp:spPr>
        <a:xfrm>
          <a:off x="478945" y="330343"/>
          <a:ext cx="5138108" cy="5138108"/>
        </a:xfrm>
        <a:prstGeom prst="blockArc">
          <a:avLst>
            <a:gd name="adj1" fmla="val 771429"/>
            <a:gd name="adj2" fmla="val 2314286"/>
            <a:gd name="adj3" fmla="val 1980"/>
          </a:avLst>
        </a:prstGeom>
        <a:solidFill>
          <a:schemeClr val="accent5">
            <a:hueOff val="-30957"/>
            <a:satOff val="1294"/>
            <a:lumOff val="11342"/>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936E2180-3AEF-4716-B4B7-38E522D4FBDE}">
      <dsp:nvSpPr>
        <dsp:cNvPr id="0" name=""/>
        <dsp:cNvSpPr/>
      </dsp:nvSpPr>
      <dsp:spPr>
        <a:xfrm>
          <a:off x="478945" y="330343"/>
          <a:ext cx="5138108" cy="5138108"/>
        </a:xfrm>
        <a:prstGeom prst="blockArc">
          <a:avLst>
            <a:gd name="adj1" fmla="val 20828571"/>
            <a:gd name="adj2" fmla="val 771429"/>
            <a:gd name="adj3" fmla="val 1980"/>
          </a:avLst>
        </a:prstGeom>
        <a:solidFill>
          <a:schemeClr val="accent5">
            <a:hueOff val="-23218"/>
            <a:satOff val="970"/>
            <a:lumOff val="8507"/>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23BB1C50-3441-45BE-B4CB-E71A0EF398A5}">
      <dsp:nvSpPr>
        <dsp:cNvPr id="0" name=""/>
        <dsp:cNvSpPr/>
      </dsp:nvSpPr>
      <dsp:spPr>
        <a:xfrm>
          <a:off x="478945" y="330343"/>
          <a:ext cx="5138108" cy="5138108"/>
        </a:xfrm>
        <a:prstGeom prst="blockArc">
          <a:avLst>
            <a:gd name="adj1" fmla="val 19285714"/>
            <a:gd name="adj2" fmla="val 20828571"/>
            <a:gd name="adj3" fmla="val 1980"/>
          </a:avLst>
        </a:prstGeom>
        <a:solidFill>
          <a:schemeClr val="accent5">
            <a:hueOff val="-15479"/>
            <a:satOff val="647"/>
            <a:lumOff val="5671"/>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67853794-6C9B-4E44-9756-BA7FC458736E}">
      <dsp:nvSpPr>
        <dsp:cNvPr id="0" name=""/>
        <dsp:cNvSpPr/>
      </dsp:nvSpPr>
      <dsp:spPr>
        <a:xfrm>
          <a:off x="478945" y="330343"/>
          <a:ext cx="5138108" cy="5138108"/>
        </a:xfrm>
        <a:prstGeom prst="blockArc">
          <a:avLst>
            <a:gd name="adj1" fmla="val 17742857"/>
            <a:gd name="adj2" fmla="val 19285714"/>
            <a:gd name="adj3" fmla="val 1980"/>
          </a:avLst>
        </a:prstGeom>
        <a:solidFill>
          <a:schemeClr val="accent5">
            <a:hueOff val="-7739"/>
            <a:satOff val="323"/>
            <a:lumOff val="2836"/>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69755653-C243-4C6B-B7F5-F41EA794695D}">
      <dsp:nvSpPr>
        <dsp:cNvPr id="0" name=""/>
        <dsp:cNvSpPr/>
      </dsp:nvSpPr>
      <dsp:spPr>
        <a:xfrm>
          <a:off x="478945" y="330343"/>
          <a:ext cx="5138108" cy="5138108"/>
        </a:xfrm>
        <a:prstGeom prst="blockArc">
          <a:avLst>
            <a:gd name="adj1" fmla="val 16200000"/>
            <a:gd name="adj2" fmla="val 17742857"/>
            <a:gd name="adj3" fmla="val 1980"/>
          </a:avLst>
        </a:prstGeom>
        <a:solidFill>
          <a:schemeClr val="accent5">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sp>
    <dsp:sp modelId="{122402CD-CE9F-462F-B64A-01A632D6D8E2}">
      <dsp:nvSpPr>
        <dsp:cNvPr id="0" name=""/>
        <dsp:cNvSpPr/>
      </dsp:nvSpPr>
      <dsp:spPr>
        <a:xfrm>
          <a:off x="1171173" y="1371981"/>
          <a:ext cx="3753652" cy="3054831"/>
        </a:xfrm>
        <a:prstGeom prst="ellipse">
          <a:avLst/>
        </a:prstGeom>
        <a:solidFill>
          <a:schemeClr val="accent4">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de-DE" sz="3200" kern="1200" dirty="0">
              <a:latin typeface="Aptos" panose="020B0004020202020204" pitchFamily="34" charset="0"/>
            </a:rPr>
            <a:t>3GPP SA4 </a:t>
          </a:r>
          <a:r>
            <a:rPr lang="de-DE" sz="3200" kern="1200" dirty="0" err="1">
              <a:latin typeface="Aptos" panose="020B0004020202020204" pitchFamily="34" charset="0"/>
            </a:rPr>
            <a:t>Advanced</a:t>
          </a:r>
          <a:r>
            <a:rPr lang="de-DE" sz="3200" kern="1200" dirty="0">
              <a:latin typeface="Aptos" panose="020B0004020202020204" pitchFamily="34" charset="0"/>
            </a:rPr>
            <a:t> Media </a:t>
          </a:r>
          <a:r>
            <a:rPr lang="de-DE" sz="3200" kern="1200" dirty="0" err="1">
              <a:latin typeface="Aptos" panose="020B0004020202020204" pitchFamily="34" charset="0"/>
            </a:rPr>
            <a:t>Delivery</a:t>
          </a:r>
          <a:endParaRPr lang="en-US" sz="3200" kern="1200" dirty="0">
            <a:latin typeface="Aptos" panose="020B0004020202020204" pitchFamily="34" charset="0"/>
          </a:endParaRPr>
        </a:p>
      </dsp:txBody>
      <dsp:txXfrm>
        <a:off x="1720883" y="1819351"/>
        <a:ext cx="2654232" cy="2160091"/>
      </dsp:txXfrm>
    </dsp:sp>
    <dsp:sp modelId="{2B777D6B-77AC-4184-B96C-DC0F2D4E3A64}">
      <dsp:nvSpPr>
        <dsp:cNvPr id="0" name=""/>
        <dsp:cNvSpPr/>
      </dsp:nvSpPr>
      <dsp:spPr>
        <a:xfrm>
          <a:off x="2694830" y="2602"/>
          <a:ext cx="706338" cy="706338"/>
        </a:xfrm>
        <a:prstGeom prst="ellipse">
          <a:avLst/>
        </a:prstGeom>
        <a:solidFill>
          <a:schemeClr val="accent5">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Font typeface="Arial" panose="020B0604020202020204" pitchFamily="34" charset="0"/>
            <a:buNone/>
          </a:pPr>
          <a:r>
            <a:rPr lang="en-US" sz="500" b="0" i="0" kern="1200" dirty="0">
              <a:solidFill>
                <a:srgbClr val="FFFF00"/>
              </a:solidFill>
              <a:effectLst/>
              <a:latin typeface="Aptos" panose="020B0004020202020204" pitchFamily="34" charset="0"/>
            </a:rPr>
            <a:t>Common Client Metadata.</a:t>
          </a:r>
          <a:endParaRPr lang="en-US" sz="500" kern="1200" dirty="0">
            <a:solidFill>
              <a:srgbClr val="FFFF00"/>
            </a:solidFill>
            <a:latin typeface="Aptos" panose="020B0004020202020204" pitchFamily="34" charset="0"/>
          </a:endParaRPr>
        </a:p>
      </dsp:txBody>
      <dsp:txXfrm>
        <a:off x="2798271" y="106043"/>
        <a:ext cx="499456" cy="499456"/>
      </dsp:txXfrm>
    </dsp:sp>
    <dsp:sp modelId="{2405F48B-0B63-4953-A1EE-C9C6C64403CC}">
      <dsp:nvSpPr>
        <dsp:cNvPr id="0" name=""/>
        <dsp:cNvSpPr/>
      </dsp:nvSpPr>
      <dsp:spPr>
        <a:xfrm>
          <a:off x="3798468" y="254500"/>
          <a:ext cx="706338" cy="706338"/>
        </a:xfrm>
        <a:prstGeom prst="ellipse">
          <a:avLst/>
        </a:prstGeom>
        <a:solidFill>
          <a:schemeClr val="accent5">
            <a:hueOff val="-7739"/>
            <a:satOff val="323"/>
            <a:lumOff val="283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effectLst/>
              <a:latin typeface="Aptos" panose="020B0004020202020204" pitchFamily="34" charset="0"/>
            </a:rPr>
            <a:t>Common Server-and Network-Assisted Streaming.</a:t>
          </a:r>
        </a:p>
      </dsp:txBody>
      <dsp:txXfrm>
        <a:off x="3901909" y="357941"/>
        <a:ext cx="499456" cy="499456"/>
      </dsp:txXfrm>
    </dsp:sp>
    <dsp:sp modelId="{691E99FF-CC11-4D5C-9DA9-202BB2A62064}">
      <dsp:nvSpPr>
        <dsp:cNvPr id="0" name=""/>
        <dsp:cNvSpPr/>
      </dsp:nvSpPr>
      <dsp:spPr>
        <a:xfrm>
          <a:off x="4683517" y="960303"/>
          <a:ext cx="706338" cy="706338"/>
        </a:xfrm>
        <a:prstGeom prst="ellipse">
          <a:avLst/>
        </a:prstGeom>
        <a:solidFill>
          <a:schemeClr val="accent5">
            <a:hueOff val="-15479"/>
            <a:satOff val="647"/>
            <a:lumOff val="5671"/>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Multi-Access Media Delivery.</a:t>
          </a:r>
        </a:p>
      </dsp:txBody>
      <dsp:txXfrm>
        <a:off x="4786958" y="1063744"/>
        <a:ext cx="499456" cy="499456"/>
      </dsp:txXfrm>
    </dsp:sp>
    <dsp:sp modelId="{ED40BCE8-1BE8-4EB7-BACA-5A75FB9C3DD3}">
      <dsp:nvSpPr>
        <dsp:cNvPr id="0" name=""/>
        <dsp:cNvSpPr/>
      </dsp:nvSpPr>
      <dsp:spPr>
        <a:xfrm>
          <a:off x="5174682" y="1980218"/>
          <a:ext cx="706338" cy="706338"/>
        </a:xfrm>
        <a:prstGeom prst="ellipse">
          <a:avLst/>
        </a:prstGeom>
        <a:solidFill>
          <a:schemeClr val="accent5">
            <a:hueOff val="-23218"/>
            <a:satOff val="970"/>
            <a:lumOff val="850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Media Delivery from multiple service endpoints/location.</a:t>
          </a:r>
        </a:p>
      </dsp:txBody>
      <dsp:txXfrm>
        <a:off x="5278123" y="2083659"/>
        <a:ext cx="499456" cy="499456"/>
      </dsp:txXfrm>
    </dsp:sp>
    <dsp:sp modelId="{392B8B47-4A30-4D2E-B693-2CC19EFB9B90}">
      <dsp:nvSpPr>
        <dsp:cNvPr id="0" name=""/>
        <dsp:cNvSpPr/>
      </dsp:nvSpPr>
      <dsp:spPr>
        <a:xfrm>
          <a:off x="5174682" y="3112238"/>
          <a:ext cx="706338" cy="706338"/>
        </a:xfrm>
        <a:prstGeom prst="ellipse">
          <a:avLst/>
        </a:prstGeom>
        <a:solidFill>
          <a:schemeClr val="accent5">
            <a:hueOff val="-30957"/>
            <a:satOff val="1294"/>
            <a:lumOff val="11342"/>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effectLst/>
              <a:latin typeface="Aptos" panose="020B0004020202020204" pitchFamily="34" charset="0"/>
            </a:rPr>
            <a:t>Modem Usage Optimized Media Streaming.</a:t>
          </a:r>
        </a:p>
      </dsp:txBody>
      <dsp:txXfrm>
        <a:off x="5278123" y="3215679"/>
        <a:ext cx="499456" cy="499456"/>
      </dsp:txXfrm>
    </dsp:sp>
    <dsp:sp modelId="{99EA62B6-191C-4677-9C54-ACD8BAAF663D}">
      <dsp:nvSpPr>
        <dsp:cNvPr id="0" name=""/>
        <dsp:cNvSpPr/>
      </dsp:nvSpPr>
      <dsp:spPr>
        <a:xfrm>
          <a:off x="4683517" y="4132153"/>
          <a:ext cx="706338" cy="706338"/>
        </a:xfrm>
        <a:prstGeom prst="ellipse">
          <a:avLst/>
        </a:prstGeom>
        <a:solidFill>
          <a:schemeClr val="accent5">
            <a:hueOff val="-38697"/>
            <a:satOff val="1617"/>
            <a:lumOff val="1417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effectLst/>
              <a:latin typeface="Aptos" panose="020B0004020202020204" pitchFamily="34" charset="0"/>
            </a:rPr>
            <a:t>DASH/HLS Interoperability.</a:t>
          </a:r>
        </a:p>
      </dsp:txBody>
      <dsp:txXfrm>
        <a:off x="4786958" y="4235594"/>
        <a:ext cx="499456" cy="499456"/>
      </dsp:txXfrm>
    </dsp:sp>
    <dsp:sp modelId="{EC3C7CC4-1755-4DF7-9BF1-B74DEB669158}">
      <dsp:nvSpPr>
        <dsp:cNvPr id="0" name=""/>
        <dsp:cNvSpPr/>
      </dsp:nvSpPr>
      <dsp:spPr>
        <a:xfrm>
          <a:off x="3798468" y="4837956"/>
          <a:ext cx="706338" cy="706338"/>
        </a:xfrm>
        <a:prstGeom prst="ellipse">
          <a:avLst/>
        </a:prstGeom>
        <a:solidFill>
          <a:schemeClr val="accent5">
            <a:hueOff val="-46436"/>
            <a:satOff val="1941"/>
            <a:lumOff val="17014"/>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effectLst/>
              <a:latin typeface="Aptos" panose="020B0004020202020204" pitchFamily="34" charset="0"/>
            </a:rPr>
            <a:t>Further harmonization of RTC and Streaming for Advanced Media Delivery.</a:t>
          </a:r>
        </a:p>
      </dsp:txBody>
      <dsp:txXfrm>
        <a:off x="3901909" y="4941397"/>
        <a:ext cx="499456" cy="499456"/>
      </dsp:txXfrm>
    </dsp:sp>
    <dsp:sp modelId="{CA502515-5E75-41FE-B5CD-C050769138E1}">
      <dsp:nvSpPr>
        <dsp:cNvPr id="0" name=""/>
        <dsp:cNvSpPr/>
      </dsp:nvSpPr>
      <dsp:spPr>
        <a:xfrm>
          <a:off x="2694830" y="5089854"/>
          <a:ext cx="706338" cy="706338"/>
        </a:xfrm>
        <a:prstGeom prst="ellipse">
          <a:avLst/>
        </a:prstGeom>
        <a:solidFill>
          <a:schemeClr val="accent5">
            <a:hueOff val="-54175"/>
            <a:satOff val="2264"/>
            <a:lumOff val="19849"/>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Improved QoS support for Media Streaming services.</a:t>
          </a:r>
        </a:p>
      </dsp:txBody>
      <dsp:txXfrm>
        <a:off x="2798271" y="5193295"/>
        <a:ext cx="499456" cy="499456"/>
      </dsp:txXfrm>
    </dsp:sp>
    <dsp:sp modelId="{4A45F8BA-F916-4392-8B78-73BA20648291}">
      <dsp:nvSpPr>
        <dsp:cNvPr id="0" name=""/>
        <dsp:cNvSpPr/>
      </dsp:nvSpPr>
      <dsp:spPr>
        <a:xfrm>
          <a:off x="1591192" y="4837956"/>
          <a:ext cx="706338" cy="706338"/>
        </a:xfrm>
        <a:prstGeom prst="ellipse">
          <a:avLst/>
        </a:prstGeom>
        <a:solidFill>
          <a:schemeClr val="accent5">
            <a:hueOff val="-61914"/>
            <a:satOff val="2588"/>
            <a:lumOff val="22685"/>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effectLst/>
              <a:latin typeface="Aptos" panose="020B0004020202020204" pitchFamily="34" charset="0"/>
            </a:rPr>
            <a:t>QUIC-based segmented media delivery.</a:t>
          </a:r>
        </a:p>
      </dsp:txBody>
      <dsp:txXfrm>
        <a:off x="1694633" y="4941397"/>
        <a:ext cx="499456" cy="499456"/>
      </dsp:txXfrm>
    </dsp:sp>
    <dsp:sp modelId="{04EAECF9-C818-4695-B879-7657008E213B}">
      <dsp:nvSpPr>
        <dsp:cNvPr id="0" name=""/>
        <dsp:cNvSpPr/>
      </dsp:nvSpPr>
      <dsp:spPr>
        <a:xfrm>
          <a:off x="706143" y="4132153"/>
          <a:ext cx="706338" cy="706338"/>
        </a:xfrm>
        <a:prstGeom prst="ellipse">
          <a:avLst/>
        </a:prstGeom>
        <a:solidFill>
          <a:schemeClr val="accent5">
            <a:hueOff val="-69654"/>
            <a:satOff val="2911"/>
            <a:lumOff val="25521"/>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dirty="0">
              <a:solidFill>
                <a:schemeClr val="bg1"/>
              </a:solidFill>
              <a:effectLst/>
              <a:latin typeface="Aptos" panose="020B0004020202020204" pitchFamily="34" charset="0"/>
            </a:rPr>
            <a:t>In-band </a:t>
          </a:r>
          <a:r>
            <a:rPr lang="en-US" sz="500" b="0" i="0" kern="1200" dirty="0" err="1">
              <a:solidFill>
                <a:schemeClr val="bg1"/>
              </a:solidFill>
              <a:effectLst/>
              <a:latin typeface="Aptos" panose="020B0004020202020204" pitchFamily="34" charset="0"/>
            </a:rPr>
            <a:t>signalling</a:t>
          </a:r>
          <a:r>
            <a:rPr lang="en-US" sz="500" b="0" i="0" kern="1200" dirty="0">
              <a:solidFill>
                <a:schemeClr val="bg1"/>
              </a:solidFill>
              <a:effectLst/>
              <a:latin typeface="Aptos" panose="020B0004020202020204" pitchFamily="34" charset="0"/>
            </a:rPr>
            <a:t> of QoS for 5G Media Streaming.</a:t>
          </a:r>
        </a:p>
      </dsp:txBody>
      <dsp:txXfrm>
        <a:off x="809584" y="4235594"/>
        <a:ext cx="499456" cy="499456"/>
      </dsp:txXfrm>
    </dsp:sp>
    <dsp:sp modelId="{365E998B-3129-473F-8C7A-011C4D9A3CE2}">
      <dsp:nvSpPr>
        <dsp:cNvPr id="0" name=""/>
        <dsp:cNvSpPr/>
      </dsp:nvSpPr>
      <dsp:spPr>
        <a:xfrm>
          <a:off x="214978" y="3112238"/>
          <a:ext cx="706338" cy="706338"/>
        </a:xfrm>
        <a:prstGeom prst="ellipse">
          <a:avLst/>
        </a:prstGeom>
        <a:solidFill>
          <a:schemeClr val="accent5">
            <a:hueOff val="-77393"/>
            <a:satOff val="3235"/>
            <a:lumOff val="2835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Dynamic content generation from multiple sources.</a:t>
          </a:r>
        </a:p>
      </dsp:txBody>
      <dsp:txXfrm>
        <a:off x="318419" y="3215679"/>
        <a:ext cx="499456" cy="499456"/>
      </dsp:txXfrm>
    </dsp:sp>
    <dsp:sp modelId="{2F4AB0A0-5F79-492E-AC5E-7451F4A5C5DD}">
      <dsp:nvSpPr>
        <dsp:cNvPr id="0" name=""/>
        <dsp:cNvSpPr/>
      </dsp:nvSpPr>
      <dsp:spPr>
        <a:xfrm>
          <a:off x="214978" y="1980218"/>
          <a:ext cx="706338" cy="706338"/>
        </a:xfrm>
        <a:prstGeom prst="ellipse">
          <a:avLst/>
        </a:prstGeom>
        <a:solidFill>
          <a:schemeClr val="accent5">
            <a:hueOff val="-85132"/>
            <a:satOff val="3558"/>
            <a:lumOff val="31192"/>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In-session Unicast Repair for MBS Object Distribution.</a:t>
          </a:r>
        </a:p>
      </dsp:txBody>
      <dsp:txXfrm>
        <a:off x="318419" y="2083659"/>
        <a:ext cx="499456" cy="499456"/>
      </dsp:txXfrm>
    </dsp:sp>
    <dsp:sp modelId="{89150AC0-A4D9-4E34-ACFA-6D7ACE743DF2}">
      <dsp:nvSpPr>
        <dsp:cNvPr id="0" name=""/>
        <dsp:cNvSpPr/>
      </dsp:nvSpPr>
      <dsp:spPr>
        <a:xfrm>
          <a:off x="706143" y="960303"/>
          <a:ext cx="706338" cy="706338"/>
        </a:xfrm>
        <a:prstGeom prst="ellipse">
          <a:avLst/>
        </a:prstGeom>
        <a:solidFill>
          <a:schemeClr val="accent5">
            <a:hueOff val="-92872"/>
            <a:satOff val="3882"/>
            <a:lumOff val="3402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MBS User Service and Delivery Protocols for </a:t>
          </a:r>
          <a:r>
            <a:rPr lang="en-US" sz="500" b="0" i="0" kern="1200" dirty="0" err="1">
              <a:solidFill>
                <a:srgbClr val="FFFF00"/>
              </a:solidFill>
              <a:effectLst/>
              <a:latin typeface="Aptos" panose="020B0004020202020204" pitchFamily="34" charset="0"/>
            </a:rPr>
            <a:t>eMBMS</a:t>
          </a:r>
          <a:r>
            <a:rPr lang="en-US" sz="500" b="0" i="0" kern="1200" dirty="0">
              <a:solidFill>
                <a:srgbClr val="FFFF00"/>
              </a:solidFill>
              <a:effectLst/>
              <a:latin typeface="Aptos" panose="020B0004020202020204" pitchFamily="34" charset="0"/>
            </a:rPr>
            <a:t>.</a:t>
          </a:r>
        </a:p>
      </dsp:txBody>
      <dsp:txXfrm>
        <a:off x="809584" y="1063744"/>
        <a:ext cx="499456" cy="499456"/>
      </dsp:txXfrm>
    </dsp:sp>
    <dsp:sp modelId="{A1F3A035-556C-403D-8118-BF12C9A78801}">
      <dsp:nvSpPr>
        <dsp:cNvPr id="0" name=""/>
        <dsp:cNvSpPr/>
      </dsp:nvSpPr>
      <dsp:spPr>
        <a:xfrm>
          <a:off x="1591192" y="254500"/>
          <a:ext cx="706338" cy="706338"/>
        </a:xfrm>
        <a:prstGeom prst="ellipse">
          <a:avLst/>
        </a:prstGeom>
        <a:solidFill>
          <a:schemeClr val="accent5">
            <a:hueOff val="-100611"/>
            <a:satOff val="4205"/>
            <a:lumOff val="36863"/>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b="0" i="0" kern="1200">
              <a:solidFill>
                <a:srgbClr val="FFFF00"/>
              </a:solidFill>
              <a:effectLst/>
              <a:latin typeface="Aptos" panose="020B0004020202020204" pitchFamily="34" charset="0"/>
            </a:rPr>
            <a:t>Selected MBMS Functionalities not supported in MBS.</a:t>
          </a:r>
        </a:p>
      </dsp:txBody>
      <dsp:txXfrm>
        <a:off x="1694633" y="357941"/>
        <a:ext cx="499456" cy="4994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2E16BD-0BA4-4DF2-A9C5-12F7AFC416D2}">
      <dsp:nvSpPr>
        <dsp:cNvPr id="0" name=""/>
        <dsp:cNvSpPr/>
      </dsp:nvSpPr>
      <dsp:spPr>
        <a:xfrm rot="5400000">
          <a:off x="-185519" y="185948"/>
          <a:ext cx="1236796" cy="865757"/>
        </a:xfrm>
        <a:prstGeom prst="chevron">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t>FS_AMD</a:t>
          </a:r>
          <a:endParaRPr lang="en-US" sz="1200" kern="1200" dirty="0"/>
        </a:p>
      </dsp:txBody>
      <dsp:txXfrm rot="-5400000">
        <a:off x="1" y="433308"/>
        <a:ext cx="865757" cy="371039"/>
      </dsp:txXfrm>
    </dsp:sp>
    <dsp:sp modelId="{5C4E6077-0207-4899-9ADF-32677C78650E}">
      <dsp:nvSpPr>
        <dsp:cNvPr id="0" name=""/>
        <dsp:cNvSpPr/>
      </dsp:nvSpPr>
      <dsp:spPr>
        <a:xfrm rot="5400000">
          <a:off x="2771077" y="-1805413"/>
          <a:ext cx="803918" cy="4614558"/>
        </a:xfrm>
        <a:prstGeom prst="round2Same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Study </a:t>
          </a:r>
          <a:r>
            <a:rPr lang="de-DE" sz="1500" kern="1200" dirty="0" err="1"/>
            <a:t>completed</a:t>
          </a:r>
          <a:r>
            <a:rPr lang="de-DE" sz="1500" kern="1200" dirty="0"/>
            <a:t> in </a:t>
          </a:r>
          <a:r>
            <a:rPr lang="de-DE" sz="1500" kern="1200" dirty="0" err="1"/>
            <a:t>Dec</a:t>
          </a:r>
          <a:r>
            <a:rPr lang="de-DE" sz="1500" kern="1200" dirty="0"/>
            <a:t> ‘25 (</a:t>
          </a:r>
          <a:r>
            <a:rPr lang="de-DE" sz="1500" kern="1200" dirty="0" err="1"/>
            <a:t>stage</a:t>
          </a:r>
          <a:r>
            <a:rPr lang="de-DE" sz="1500" kern="1200" dirty="0"/>
            <a:t> 2) and Mar ‘25</a:t>
          </a:r>
          <a:endParaRPr lang="en-US" sz="1500" kern="1200" dirty="0"/>
        </a:p>
        <a:p>
          <a:pPr marL="114300" lvl="1" indent="-114300" algn="l" defTabSz="666750">
            <a:lnSpc>
              <a:spcPct val="90000"/>
            </a:lnSpc>
            <a:spcBef>
              <a:spcPct val="0"/>
            </a:spcBef>
            <a:spcAft>
              <a:spcPct val="15000"/>
            </a:spcAft>
            <a:buChar char="•"/>
          </a:pPr>
          <a:r>
            <a:rPr lang="de-DE" sz="1500" kern="1200" dirty="0" err="1"/>
            <a:t>Identified</a:t>
          </a:r>
          <a:r>
            <a:rPr lang="de-DE" sz="1500" kern="1200" dirty="0"/>
            <a:t> normative </a:t>
          </a:r>
          <a:r>
            <a:rPr lang="de-DE" sz="1500" kern="1200" dirty="0" err="1"/>
            <a:t>work</a:t>
          </a:r>
          <a:endParaRPr lang="en-US" sz="1500" kern="1200" dirty="0"/>
        </a:p>
        <a:p>
          <a:pPr marL="114300" lvl="1" indent="-114300" algn="l" defTabSz="666750">
            <a:lnSpc>
              <a:spcPct val="90000"/>
            </a:lnSpc>
            <a:spcBef>
              <a:spcPct val="0"/>
            </a:spcBef>
            <a:spcAft>
              <a:spcPct val="15000"/>
            </a:spcAft>
            <a:buChar char="•"/>
          </a:pPr>
          <a:r>
            <a:rPr lang="de-DE" sz="1500" kern="1200" dirty="0"/>
            <a:t>More </a:t>
          </a:r>
          <a:r>
            <a:rPr lang="de-DE" sz="1500" kern="1200" dirty="0" err="1"/>
            <a:t>study</a:t>
          </a:r>
          <a:r>
            <a:rPr lang="de-DE" sz="1500" kern="1200" dirty="0"/>
            <a:t> </a:t>
          </a:r>
          <a:r>
            <a:rPr lang="de-DE" sz="1500" kern="1200" dirty="0" err="1"/>
            <a:t>topics</a:t>
          </a:r>
          <a:r>
            <a:rPr lang="de-DE" sz="1500" kern="1200" dirty="0"/>
            <a:t> </a:t>
          </a:r>
          <a:r>
            <a:rPr lang="de-DE" sz="1500" kern="1200" dirty="0" err="1"/>
            <a:t>for</a:t>
          </a:r>
          <a:r>
            <a:rPr lang="de-DE" sz="1500" kern="1200" dirty="0"/>
            <a:t> </a:t>
          </a:r>
          <a:r>
            <a:rPr lang="de-DE" sz="1500" kern="1200" dirty="0" err="1"/>
            <a:t>future</a:t>
          </a:r>
          <a:r>
            <a:rPr lang="de-DE" sz="1500" kern="1200" dirty="0"/>
            <a:t> Releases</a:t>
          </a:r>
          <a:endParaRPr lang="en-US" sz="1500" kern="1200" dirty="0"/>
        </a:p>
      </dsp:txBody>
      <dsp:txXfrm rot="-5400000">
        <a:off x="865757" y="139151"/>
        <a:ext cx="4575314" cy="725430"/>
      </dsp:txXfrm>
    </dsp:sp>
    <dsp:sp modelId="{66499D3D-61BC-46B9-A38B-963658C17359}">
      <dsp:nvSpPr>
        <dsp:cNvPr id="0" name=""/>
        <dsp:cNvSpPr/>
      </dsp:nvSpPr>
      <dsp:spPr>
        <a:xfrm rot="5400000">
          <a:off x="-185519" y="1222650"/>
          <a:ext cx="1236796" cy="865757"/>
        </a:xfrm>
        <a:prstGeom prst="chevron">
          <a:avLst/>
        </a:prstGeom>
        <a:solidFill>
          <a:schemeClr val="accent2">
            <a:hueOff val="-1034153"/>
            <a:satOff val="-23950"/>
            <a:lumOff val="-13725"/>
            <a:alphaOff val="0"/>
          </a:schemeClr>
        </a:solidFill>
        <a:ln w="10795" cap="flat" cmpd="sng" algn="ctr">
          <a:solidFill>
            <a:schemeClr val="accent2">
              <a:hueOff val="-1034153"/>
              <a:satOff val="-23950"/>
              <a:lumOff val="-1372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t>AMD-ARCH-MED</a:t>
          </a:r>
          <a:endParaRPr lang="en-US" sz="1200" kern="1200" dirty="0"/>
        </a:p>
      </dsp:txBody>
      <dsp:txXfrm rot="-5400000">
        <a:off x="1" y="1470010"/>
        <a:ext cx="865757" cy="371039"/>
      </dsp:txXfrm>
    </dsp:sp>
    <dsp:sp modelId="{1851884D-A709-46EC-9729-297A024B271D}">
      <dsp:nvSpPr>
        <dsp:cNvPr id="0" name=""/>
        <dsp:cNvSpPr/>
      </dsp:nvSpPr>
      <dsp:spPr>
        <a:xfrm rot="5400000">
          <a:off x="2771077" y="-868189"/>
          <a:ext cx="803918" cy="4614558"/>
        </a:xfrm>
        <a:prstGeom prst="round2SameRect">
          <a:avLst/>
        </a:prstGeom>
        <a:solidFill>
          <a:schemeClr val="lt1">
            <a:alpha val="90000"/>
            <a:hueOff val="0"/>
            <a:satOff val="0"/>
            <a:lumOff val="0"/>
            <a:alphaOff val="0"/>
          </a:schemeClr>
        </a:solidFill>
        <a:ln w="10795" cap="flat" cmpd="sng" algn="ctr">
          <a:solidFill>
            <a:schemeClr val="accent2">
              <a:hueOff val="-1034153"/>
              <a:satOff val="-23950"/>
              <a:lumOff val="-137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Stage-2 </a:t>
          </a:r>
          <a:r>
            <a:rPr lang="de-DE" sz="1500" kern="1200" dirty="0" err="1"/>
            <a:t>work</a:t>
          </a:r>
          <a:r>
            <a:rPr lang="de-DE" sz="1500" kern="1200" dirty="0"/>
            <a:t> </a:t>
          </a:r>
          <a:r>
            <a:rPr lang="de-DE" sz="1500" kern="1200" dirty="0" err="1"/>
            <a:t>for</a:t>
          </a:r>
          <a:r>
            <a:rPr lang="de-DE" sz="1500" kern="1200" dirty="0"/>
            <a:t> Streaming and MBS</a:t>
          </a:r>
          <a:endParaRPr lang="en-US" sz="1500" kern="1200" dirty="0"/>
        </a:p>
        <a:p>
          <a:pPr marL="114300" lvl="1" indent="-114300" algn="l" defTabSz="666750">
            <a:lnSpc>
              <a:spcPct val="90000"/>
            </a:lnSpc>
            <a:spcBef>
              <a:spcPct val="0"/>
            </a:spcBef>
            <a:spcAft>
              <a:spcPct val="15000"/>
            </a:spcAft>
            <a:buChar char="•"/>
          </a:pPr>
          <a:r>
            <a:rPr lang="de-DE" sz="1500" kern="1200" dirty="0" err="1"/>
            <a:t>Completed</a:t>
          </a:r>
          <a:r>
            <a:rPr lang="de-DE" sz="1500" kern="1200" dirty="0"/>
            <a:t> also in Mar 25</a:t>
          </a:r>
          <a:endParaRPr lang="en-US" sz="1500" kern="1200" dirty="0"/>
        </a:p>
      </dsp:txBody>
      <dsp:txXfrm rot="-5400000">
        <a:off x="865757" y="1076375"/>
        <a:ext cx="4575314" cy="725430"/>
      </dsp:txXfrm>
    </dsp:sp>
    <dsp:sp modelId="{D8FF1319-0D38-4688-B0DB-781F1B7E99B1}">
      <dsp:nvSpPr>
        <dsp:cNvPr id="0" name=""/>
        <dsp:cNvSpPr/>
      </dsp:nvSpPr>
      <dsp:spPr>
        <a:xfrm rot="5400000">
          <a:off x="-185519" y="2259352"/>
          <a:ext cx="1236796" cy="865757"/>
        </a:xfrm>
        <a:prstGeom prst="chevron">
          <a:avLst/>
        </a:prstGeom>
        <a:solidFill>
          <a:schemeClr val="accent2">
            <a:hueOff val="-2068305"/>
            <a:satOff val="-47901"/>
            <a:lumOff val="-27451"/>
            <a:alphaOff val="0"/>
          </a:schemeClr>
        </a:solidFill>
        <a:ln w="10795" cap="flat" cmpd="sng" algn="ctr">
          <a:solidFill>
            <a:schemeClr val="accent2">
              <a:hueOff val="-2068305"/>
              <a:satOff val="-47901"/>
              <a:lumOff val="-2745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t>AMD_PRO-MED</a:t>
          </a:r>
          <a:endParaRPr lang="en-US" sz="1200" kern="1200" dirty="0"/>
        </a:p>
      </dsp:txBody>
      <dsp:txXfrm rot="-5400000">
        <a:off x="1" y="2506712"/>
        <a:ext cx="865757" cy="371039"/>
      </dsp:txXfrm>
    </dsp:sp>
    <dsp:sp modelId="{474F8B4E-E047-4394-B004-12E90A12C510}">
      <dsp:nvSpPr>
        <dsp:cNvPr id="0" name=""/>
        <dsp:cNvSpPr/>
      </dsp:nvSpPr>
      <dsp:spPr>
        <a:xfrm rot="5400000">
          <a:off x="2771077" y="168512"/>
          <a:ext cx="803918" cy="4614558"/>
        </a:xfrm>
        <a:prstGeom prst="round2SameRect">
          <a:avLst/>
        </a:prstGeom>
        <a:solidFill>
          <a:schemeClr val="lt1">
            <a:alpha val="90000"/>
            <a:hueOff val="0"/>
            <a:satOff val="0"/>
            <a:lumOff val="0"/>
            <a:alphaOff val="0"/>
          </a:schemeClr>
        </a:solidFill>
        <a:ln w="10795" cap="flat" cmpd="sng" algn="ctr">
          <a:solidFill>
            <a:schemeClr val="accent2">
              <a:hueOff val="-2068305"/>
              <a:satOff val="-47901"/>
              <a:lumOff val="-2745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Stage-3 Protocol </a:t>
          </a:r>
          <a:r>
            <a:rPr lang="de-DE" sz="1500" kern="1200" dirty="0" err="1"/>
            <a:t>work</a:t>
          </a:r>
          <a:r>
            <a:rPr lang="de-DE" sz="1500" kern="1200" dirty="0"/>
            <a:t> </a:t>
          </a:r>
          <a:r>
            <a:rPr lang="de-DE" sz="1500" kern="1200" dirty="0" err="1"/>
            <a:t>ongoing</a:t>
          </a:r>
          <a:endParaRPr lang="en-US" sz="1500" kern="1200" dirty="0"/>
        </a:p>
        <a:p>
          <a:pPr marL="114300" lvl="1" indent="-114300" algn="l" defTabSz="666750">
            <a:lnSpc>
              <a:spcPct val="90000"/>
            </a:lnSpc>
            <a:spcBef>
              <a:spcPct val="0"/>
            </a:spcBef>
            <a:spcAft>
              <a:spcPct val="15000"/>
            </a:spcAft>
            <a:buChar char="•"/>
          </a:pPr>
          <a:r>
            <a:rPr lang="de-DE" sz="1500" kern="1200" dirty="0" err="1"/>
            <a:t>Completion</a:t>
          </a:r>
          <a:r>
            <a:rPr lang="de-DE" sz="1500" kern="1200" dirty="0"/>
            <a:t> </a:t>
          </a:r>
          <a:r>
            <a:rPr lang="de-DE" sz="1500" kern="1200" dirty="0" err="1"/>
            <a:t>expected</a:t>
          </a:r>
          <a:r>
            <a:rPr lang="de-DE" sz="1500" kern="1200" dirty="0"/>
            <a:t> </a:t>
          </a:r>
          <a:r>
            <a:rPr lang="de-DE" sz="1500" kern="1200" dirty="0" err="1"/>
            <a:t>by</a:t>
          </a:r>
          <a:r>
            <a:rPr lang="de-DE" sz="1500" kern="1200" dirty="0"/>
            <a:t> Sep 25, open API </a:t>
          </a:r>
          <a:r>
            <a:rPr lang="de-DE" sz="1500" kern="1200" dirty="0" err="1"/>
            <a:t>Dec</a:t>
          </a:r>
          <a:r>
            <a:rPr lang="de-DE" sz="1500" kern="1200" dirty="0"/>
            <a:t> 25</a:t>
          </a:r>
          <a:endParaRPr lang="en-US" sz="1500" kern="1200" dirty="0"/>
        </a:p>
      </dsp:txBody>
      <dsp:txXfrm rot="-5400000">
        <a:off x="865757" y="2113076"/>
        <a:ext cx="4575314" cy="72543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7161BF-B23B-4394-A96E-F4360C62819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2EFA4A7-9429-4DF7-ABF5-D9E5B2540E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AD32F0-874C-4AAC-9514-AAD3E6FF80D6}" type="datetimeFigureOut">
              <a:rPr lang="en-US" smtClean="0"/>
              <a:t>9/23/2025</a:t>
            </a:fld>
            <a:endParaRPr lang="en-US"/>
          </a:p>
        </p:txBody>
      </p:sp>
      <p:sp>
        <p:nvSpPr>
          <p:cNvPr id="4" name="Footer Placeholder 3">
            <a:extLst>
              <a:ext uri="{FF2B5EF4-FFF2-40B4-BE49-F238E27FC236}">
                <a16:creationId xmlns:a16="http://schemas.microsoft.com/office/drawing/2014/main" id="{7FFAA4EB-3327-4214-8C66-D022262D92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59F6045-FEC1-483F-916F-4A70D359C0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6F42476-7A7B-40F5-8A25-2A09BD3C8867}" type="slidenum">
              <a:rPr lang="en-US" smtClean="0"/>
              <a:t>‹#›</a:t>
            </a:fld>
            <a:endParaRPr lang="en-US"/>
          </a:p>
        </p:txBody>
      </p:sp>
    </p:spTree>
    <p:extLst>
      <p:ext uri="{BB962C8B-B14F-4D97-AF65-F5344CB8AC3E}">
        <p14:creationId xmlns:p14="http://schemas.microsoft.com/office/powerpoint/2010/main" val="25039673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6D1935-2548-4788-81DD-641A298E824F}" type="datetimeFigureOut">
              <a:rPr lang="de-DE" smtClean="0"/>
              <a:t>23.09.2025</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5E7E4-6857-4F03-A780-9887AA86825E}" type="slidenum">
              <a:rPr lang="de-DE" smtClean="0"/>
              <a:t>‹#›</a:t>
            </a:fld>
            <a:endParaRPr lang="de-DE"/>
          </a:p>
        </p:txBody>
      </p:sp>
    </p:spTree>
    <p:extLst>
      <p:ext uri="{BB962C8B-B14F-4D97-AF65-F5344CB8AC3E}">
        <p14:creationId xmlns:p14="http://schemas.microsoft.com/office/powerpoint/2010/main" val="1576483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BB0B3-964C-4CDE-9D3D-0BF955B8C425}" type="slidenum">
              <a:rPr kumimoji="0" lang="en-US"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4583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t>In Sept 2023 3GPP defined receive only Band 108 and 107 as broadcast bands which encompass all broadcast UHF channels utilized in Europe and elsewhere</a:t>
            </a:r>
          </a:p>
          <a:p>
            <a:pPr>
              <a:buNone/>
            </a:pPr>
            <a:r>
              <a:rPr lang="en-US" dirty="0"/>
              <a:t>And recently 3GPP defined additional sub bands with the thought that these </a:t>
            </a:r>
            <a:r>
              <a:rPr lang="en-US" dirty="0" err="1"/>
              <a:t>subbands</a:t>
            </a:r>
            <a:r>
              <a:rPr lang="en-US" dirty="0"/>
              <a:t> could help OEMs target certain regions, in the process expediting implementation of such </a:t>
            </a:r>
            <a:r>
              <a:rPr lang="en-US" dirty="0" err="1"/>
              <a:t>subband</a:t>
            </a:r>
            <a:r>
              <a:rPr lang="en-US" dirty="0"/>
              <a:t> in a mobile device. </a:t>
            </a:r>
          </a:p>
          <a:p>
            <a:pPr>
              <a:buNone/>
            </a:pPr>
            <a:r>
              <a:rPr lang="en-US" b="1" dirty="0"/>
              <a:t>NEXT</a:t>
            </a:r>
          </a:p>
          <a:p>
            <a:pPr>
              <a:buNone/>
            </a:pPr>
            <a:r>
              <a:rPr lang="en-US" dirty="0"/>
              <a:t>It is likely you came across and even worked on some of these test platforms.  </a:t>
            </a:r>
          </a:p>
          <a:p>
            <a:pPr>
              <a:buNone/>
            </a:pPr>
            <a:r>
              <a:rPr lang="en-US" dirty="0"/>
              <a:t>First we have Qualcomm reference designs which are called QRD</a:t>
            </a:r>
          </a:p>
          <a:p>
            <a:pPr>
              <a:buNone/>
            </a:pPr>
            <a:r>
              <a:rPr lang="en-US" dirty="0"/>
              <a:t>We have both mobile and CPE form factors with these devices. These are our standard development platforms where we have more control on HW and SW aspects. </a:t>
            </a:r>
          </a:p>
          <a:p>
            <a:pPr>
              <a:buNone/>
            </a:pPr>
            <a:r>
              <a:rPr lang="en-US" dirty="0"/>
              <a:t>Since we have control on the RF front end we were able to modify the design to add support for higher 500Mhz band on these devices. </a:t>
            </a:r>
          </a:p>
          <a:p>
            <a:pPr>
              <a:buNone/>
            </a:pPr>
            <a:r>
              <a:rPr lang="en-US" b="1" dirty="0"/>
              <a:t>NEXT</a:t>
            </a:r>
            <a:endParaRPr lang="en-US" dirty="0"/>
          </a:p>
          <a:p>
            <a:pPr>
              <a:buNone/>
            </a:pPr>
            <a:r>
              <a:rPr lang="en-US" dirty="0"/>
              <a:t>As the number of partners interested in trialing 5G Broadcast grew we needed to find an alternative to get more devices that could be used for development. For that reason we looked at unlocked </a:t>
            </a:r>
            <a:r>
              <a:rPr lang="en-US" dirty="0" err="1"/>
              <a:t>onePlus</a:t>
            </a:r>
            <a:r>
              <a:rPr lang="en-US" dirty="0"/>
              <a:t> devices that had band71 support which overlaps with Band 107. We received permission from OnePlus and authorize two partners ORS and Rohde Schwarz to  enable and distribute OnePlus devices to broadcast partners who could use Band71 for trials. Thanks to this program we were able to get development devices to many partners which we couldn’t help otherwise. </a:t>
            </a:r>
          </a:p>
          <a:p>
            <a:pPr>
              <a:buNone/>
            </a:pPr>
            <a:endParaRPr lang="en-US" dirty="0"/>
          </a:p>
          <a:p>
            <a:pPr>
              <a:buNone/>
            </a:pPr>
            <a:r>
              <a:rPr lang="en-US" dirty="0"/>
              <a:t> in summary we have QCOM official reference designs which we build in very small quantities with custom parts. </a:t>
            </a:r>
          </a:p>
          <a:p>
            <a:pPr>
              <a:buNone/>
            </a:pPr>
            <a:r>
              <a:rPr lang="en-US" dirty="0"/>
              <a:t>We use these devices to develop and demonstrate a brand new such as </a:t>
            </a:r>
            <a:r>
              <a:rPr lang="en-US" dirty="0" err="1"/>
              <a:t>unicast+broadcast</a:t>
            </a:r>
            <a:r>
              <a:rPr lang="en-US" dirty="0"/>
              <a:t> concurrency which would be missing on CRD devices or OEM devices. </a:t>
            </a:r>
          </a:p>
          <a:p>
            <a:pPr>
              <a:buNone/>
            </a:pPr>
            <a:r>
              <a:rPr lang="en-US" dirty="0"/>
              <a:t>Because of the scarcity of QRD devices  we prefer using these devices when CRD devices are not viable to use for the targeted frequency band. </a:t>
            </a:r>
          </a:p>
          <a:p>
            <a:pPr>
              <a:buNone/>
            </a:pPr>
            <a:endParaRPr lang="en-US" dirty="0"/>
          </a:p>
          <a:p>
            <a:pPr>
              <a:buNone/>
            </a:pPr>
            <a:r>
              <a:rPr lang="en-US" dirty="0"/>
              <a:t>Anywhere else we could use band71 we prefer using CRD devices or OEM models I showed in previous slide as it provides better logistics. </a:t>
            </a:r>
          </a:p>
          <a:p>
            <a:pPr>
              <a:buNone/>
            </a:pPr>
            <a:br>
              <a:rPr lang="en-US" dirty="0"/>
            </a:br>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1200" b="0" i="0" u="none" strike="noStrike" kern="1200" cap="none" spc="0" normalizeH="0" baseline="0" noProof="0" smtClean="0">
                <a:ln>
                  <a:noFill/>
                </a:ln>
                <a:solidFill>
                  <a:srgbClr val="0E2C3A"/>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srgbClr val="0E2C3A"/>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474345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21</a:t>
            </a:fld>
            <a:endParaRPr lang="de-DE"/>
          </a:p>
        </p:txBody>
      </p:sp>
    </p:spTree>
    <p:extLst>
      <p:ext uri="{BB962C8B-B14F-4D97-AF65-F5344CB8AC3E}">
        <p14:creationId xmlns:p14="http://schemas.microsoft.com/office/powerpoint/2010/main" val="1656405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22</a:t>
            </a:fld>
            <a:endParaRPr lang="de-DE"/>
          </a:p>
        </p:txBody>
      </p:sp>
    </p:spTree>
    <p:extLst>
      <p:ext uri="{BB962C8B-B14F-4D97-AF65-F5344CB8AC3E}">
        <p14:creationId xmlns:p14="http://schemas.microsoft.com/office/powerpoint/2010/main" val="1661376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Motivation</a:t>
            </a:r>
          </a:p>
          <a:p>
            <a:pPr lvl="1"/>
            <a:r>
              <a:rPr lang="en-US"/>
              <a:t>However, when introducing a new broadcast technology, the co-existence with and the migration from existing broadcast technologies is one of the most challenging efforts – also taking into account spectrum scarcity, the need to support legacy receivers, and regulatory constraints. </a:t>
            </a:r>
          </a:p>
          <a:p>
            <a:pPr lvl="1"/>
            <a:r>
              <a:rPr lang="en-US"/>
              <a:t>Secondly, in the modern world of apps and software-based service layers, there exists a huge opportunity to share service layers across transport technologies including stationary and cellular unicast delivery, providing a unified and enhanced user experience. As 5G broadcast is decoupled from a specific service layer, unique and exciting co-existence scenarios exist. </a:t>
            </a:r>
          </a:p>
          <a:p>
            <a:pPr lvl="1"/>
            <a:r>
              <a:rPr lang="en-US"/>
              <a:t>A third aspect is the deployment of 5G Broadcast jointly with unicast, including initial discussions on spectrum and technology requirements.</a:t>
            </a:r>
          </a:p>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23</a:t>
            </a:fld>
            <a:endParaRPr lang="de-DE"/>
          </a:p>
        </p:txBody>
      </p:sp>
    </p:spTree>
    <p:extLst>
      <p:ext uri="{BB962C8B-B14F-4D97-AF65-F5344CB8AC3E}">
        <p14:creationId xmlns:p14="http://schemas.microsoft.com/office/powerpoint/2010/main" val="2338588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41</a:t>
            </a:fld>
            <a:endParaRPr lang="de-DE"/>
          </a:p>
        </p:txBody>
      </p:sp>
    </p:spTree>
    <p:extLst>
      <p:ext uri="{BB962C8B-B14F-4D97-AF65-F5344CB8AC3E}">
        <p14:creationId xmlns:p14="http://schemas.microsoft.com/office/powerpoint/2010/main" val="2432375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8.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8.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8.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8.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9.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9.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9.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9.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9.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7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0.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79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10.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0.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20.png"/></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20.png"/></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0.xml"/><Relationship Id="rId5" Type="http://schemas.openxmlformats.org/officeDocument/2006/relationships/image" Target="../media/image41.svg"/><Relationship Id="rId4" Type="http://schemas.openxmlformats.org/officeDocument/2006/relationships/image" Target="../media/image3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10.xml"/><Relationship Id="rId6" Type="http://schemas.openxmlformats.org/officeDocument/2006/relationships/image" Target="../media/image46.png"/><Relationship Id="rId11" Type="http://schemas.microsoft.com/office/2007/relationships/hdphoto" Target="../media/hdphoto2.wdp"/><Relationship Id="rId5" Type="http://schemas.openxmlformats.org/officeDocument/2006/relationships/image" Target="../media/image45.svg"/><Relationship Id="rId10" Type="http://schemas.openxmlformats.org/officeDocument/2006/relationships/image" Target="../media/image48.png"/><Relationship Id="rId4" Type="http://schemas.openxmlformats.org/officeDocument/2006/relationships/image" Target="../media/image44.png"/><Relationship Id="rId9" Type="http://schemas.openxmlformats.org/officeDocument/2006/relationships/image" Target="../media/image30.svg"/></Relationships>
</file>

<file path=ppt/slideLayouts/_rels/slideLayout80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10.xml"/><Relationship Id="rId6" Type="http://schemas.openxmlformats.org/officeDocument/2006/relationships/image" Target="../media/image46.png"/><Relationship Id="rId11" Type="http://schemas.microsoft.com/office/2007/relationships/hdphoto" Target="../media/hdphoto2.wdp"/><Relationship Id="rId5" Type="http://schemas.openxmlformats.org/officeDocument/2006/relationships/image" Target="../media/image45.svg"/><Relationship Id="rId10" Type="http://schemas.openxmlformats.org/officeDocument/2006/relationships/image" Target="../media/image48.png"/><Relationship Id="rId4" Type="http://schemas.openxmlformats.org/officeDocument/2006/relationships/image" Target="../media/image44.png"/><Relationship Id="rId9" Type="http://schemas.openxmlformats.org/officeDocument/2006/relationships/image" Target="../media/image24.svg"/></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1.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1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5.xml.rels><?xml version="1.0" encoding="UTF-8" standalone="yes"?>
<Relationships xmlns="http://schemas.openxmlformats.org/package/2006/relationships"><Relationship Id="rId3" Type="http://schemas.openxmlformats.org/officeDocument/2006/relationships/hyperlink" Target="mailto:gimenez@5g-mag.com" TargetMode="External"/><Relationship Id="rId7" Type="http://schemas.openxmlformats.org/officeDocument/2006/relationships/image" Target="../media/image51.svg"/><Relationship Id="rId2" Type="http://schemas.openxmlformats.org/officeDocument/2006/relationships/hyperlink" Target="mailto:markvoort@5g-mag.com" TargetMode="External"/><Relationship Id="rId1" Type="http://schemas.openxmlformats.org/officeDocument/2006/relationships/slideMaster" Target="../slideMasters/slideMaster11.xml"/><Relationship Id="rId6" Type="http://schemas.openxmlformats.org/officeDocument/2006/relationships/image" Target="../media/image50.png"/><Relationship Id="rId5" Type="http://schemas.openxmlformats.org/officeDocument/2006/relationships/hyperlink" Target="https://5g-mag.github.io/" TargetMode="External"/><Relationship Id="rId4" Type="http://schemas.openxmlformats.org/officeDocument/2006/relationships/hyperlink" Target="http://www.5g-mag.com/" TargetMode="External"/></Relationships>
</file>

<file path=ppt/slideLayouts/_rels/slideLayout846.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1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3.png"/><Relationship Id="rId7" Type="http://schemas.openxmlformats.org/officeDocument/2006/relationships/image" Target="../media/image55.jpg"/><Relationship Id="rId2" Type="http://schemas.openxmlformats.org/officeDocument/2006/relationships/slideMaster" Target="../slideMasters/slideMaster12.xml"/><Relationship Id="rId1" Type="http://schemas.openxmlformats.org/officeDocument/2006/relationships/tags" Target="../tags/tag2.xml"/><Relationship Id="rId6" Type="http://schemas.openxmlformats.org/officeDocument/2006/relationships/image" Target="../media/image52.emf"/><Relationship Id="rId5" Type="http://schemas.openxmlformats.org/officeDocument/2006/relationships/oleObject" Target="../embeddings/oleObject2.bin"/><Relationship Id="rId4" Type="http://schemas.openxmlformats.org/officeDocument/2006/relationships/image" Target="../media/image54.svg"/></Relationships>
</file>

<file path=ppt/slideLayouts/_rels/slideLayout8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3.xml"/><Relationship Id="rId6" Type="http://schemas.openxmlformats.org/officeDocument/2006/relationships/image" Target="../media/image58.png"/><Relationship Id="rId5" Type="http://schemas.openxmlformats.org/officeDocument/2006/relationships/image" Target="../media/image57.jpg"/><Relationship Id="rId4" Type="http://schemas.openxmlformats.org/officeDocument/2006/relationships/image" Target="../media/image52.emf"/></Relationships>
</file>

<file path=ppt/slideLayouts/_rels/slideLayout8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4.xml"/><Relationship Id="rId6" Type="http://schemas.openxmlformats.org/officeDocument/2006/relationships/image" Target="../media/image58.png"/><Relationship Id="rId5" Type="http://schemas.openxmlformats.org/officeDocument/2006/relationships/image" Target="../media/image59.jpeg"/><Relationship Id="rId4" Type="http://schemas.openxmlformats.org/officeDocument/2006/relationships/image" Target="../media/image52.emf"/></Relationships>
</file>

<file path=ppt/slideLayouts/_rels/slideLayout8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58.png"/><Relationship Id="rId5" Type="http://schemas.openxmlformats.org/officeDocument/2006/relationships/image" Target="../media/image55.jpg"/><Relationship Id="rId4" Type="http://schemas.openxmlformats.org/officeDocument/2006/relationships/image" Target="../media/image52.emf"/></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2.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7.jpg"/><Relationship Id="rId1" Type="http://schemas.openxmlformats.org/officeDocument/2006/relationships/slideMaster" Target="../slideMasters/slideMaster12.xml"/></Relationships>
</file>

<file path=ppt/slideLayouts/_rels/slideLayout871.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13.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5.xml.rels><?xml version="1.0" encoding="UTF-8" standalone="yes"?>
<Relationships xmlns="http://schemas.openxmlformats.org/package/2006/relationships"><Relationship Id="rId3" Type="http://schemas.openxmlformats.org/officeDocument/2006/relationships/hyperlink" Target="mailto:gimenez@5g-mag.com" TargetMode="External"/><Relationship Id="rId7" Type="http://schemas.openxmlformats.org/officeDocument/2006/relationships/image" Target="../media/image51.svg"/><Relationship Id="rId2" Type="http://schemas.openxmlformats.org/officeDocument/2006/relationships/hyperlink" Target="mailto:markvoort@5g-mag.com" TargetMode="External"/><Relationship Id="rId1" Type="http://schemas.openxmlformats.org/officeDocument/2006/relationships/slideMaster" Target="../slideMasters/slideMaster13.xml"/><Relationship Id="rId6" Type="http://schemas.openxmlformats.org/officeDocument/2006/relationships/image" Target="../media/image50.png"/><Relationship Id="rId5" Type="http://schemas.openxmlformats.org/officeDocument/2006/relationships/hyperlink" Target="https://5g-mag.github.io/" TargetMode="External"/><Relationship Id="rId4" Type="http://schemas.openxmlformats.org/officeDocument/2006/relationships/hyperlink" Target="http://www.5g-mag.com/" TargetMode="External"/></Relationships>
</file>

<file path=ppt/slideLayouts/_rels/slideLayout876.xml.rels><?xml version="1.0" encoding="UTF-8" standalone="yes"?>
<Relationships xmlns="http://schemas.openxmlformats.org/package/2006/relationships"><Relationship Id="rId3" Type="http://schemas.openxmlformats.org/officeDocument/2006/relationships/hyperlink" Target="https://5g-mag.github.io/" TargetMode="External"/><Relationship Id="rId2" Type="http://schemas.openxmlformats.org/officeDocument/2006/relationships/hyperlink" Target="http://www.5g-mag.com/" TargetMode="External"/><Relationship Id="rId1" Type="http://schemas.openxmlformats.org/officeDocument/2006/relationships/slideMaster" Target="../slideMasters/slideMaster13.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6377F854-B030-1E1F-537A-F62E5E18D68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25523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0473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1487330"/>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endParaRPr lang="en-US" dirty="0"/>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79459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40000"/>
                    <a:lumOff val="60000"/>
                  </a:srgbClr>
                </a:solidFill>
                <a:effectLst/>
                <a:uLnTx/>
                <a:uFillTx/>
                <a:latin typeface="Microsoft Sans Serif"/>
                <a:ea typeface="+mn-ea"/>
                <a:cs typeface="+mn-cs"/>
              </a:rPr>
              <a:t>5G Broadcast Conference</a:t>
            </a:r>
          </a:p>
        </p:txBody>
      </p:sp>
    </p:spTree>
    <p:extLst>
      <p:ext uri="{BB962C8B-B14F-4D97-AF65-F5344CB8AC3E}">
        <p14:creationId xmlns:p14="http://schemas.microsoft.com/office/powerpoint/2010/main" val="115933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Blank_Grey">
    <p:bg>
      <p:bgPr>
        <a:solidFill>
          <a:srgbClr val="EFF1F5"/>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38A5DA2-E1FA-00EF-0AFD-DE21046BAF6B}"/>
              </a:ext>
            </a:extLst>
          </p:cNvPr>
          <p:cNvSpPr>
            <a:spLocks noGrp="1"/>
          </p:cNvSpPr>
          <p:nvPr>
            <p:ph type="ftr" sz="quarter" idx="10"/>
          </p:nvPr>
        </p:nvSpPr>
        <p:spPr>
          <a:xfrm>
            <a:off x="515938" y="6669768"/>
            <a:ext cx="6359648" cy="118174"/>
          </a:xfrm>
        </p:spPr>
        <p:txBody>
          <a:bodyPr/>
          <a:lstStyle>
            <a:lvl1pPr>
              <a:defRPr>
                <a:solidFill>
                  <a:schemeClr val="accent6">
                    <a:lumMod val="50000"/>
                  </a:schemeClr>
                </a:solidFill>
              </a:defRPr>
            </a:lvl1pPr>
          </a:lstStyle>
          <a:p>
            <a:r>
              <a:rPr lang="en-CA"/>
              <a:t>5G Broadcast Conference</a:t>
            </a:r>
          </a:p>
        </p:txBody>
      </p:sp>
      <p:sp>
        <p:nvSpPr>
          <p:cNvPr id="3" name="TextBox 2">
            <a:extLst>
              <a:ext uri="{FF2B5EF4-FFF2-40B4-BE49-F238E27FC236}">
                <a16:creationId xmlns:a16="http://schemas.microsoft.com/office/drawing/2014/main" id="{7B756E7D-68E6-A6E1-2CB2-40D99C8F1CAA}"/>
              </a:ext>
            </a:extLst>
          </p:cNvPr>
          <p:cNvSpPr txBox="1"/>
          <p:nvPr userDrawn="1"/>
        </p:nvSpPr>
        <p:spPr>
          <a:xfrm>
            <a:off x="11676063" y="6630012"/>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
        <p:nvSpPr>
          <p:cNvPr id="4" name="TextBox 3">
            <a:extLst>
              <a:ext uri="{FF2B5EF4-FFF2-40B4-BE49-F238E27FC236}">
                <a16:creationId xmlns:a16="http://schemas.microsoft.com/office/drawing/2014/main" id="{12D9A902-6CA1-0255-3256-D2D0596CA794}"/>
              </a:ext>
            </a:extLst>
          </p:cNvPr>
          <p:cNvSpPr txBox="1"/>
          <p:nvPr userDrawn="1"/>
        </p:nvSpPr>
        <p:spPr>
          <a:xfrm>
            <a:off x="6773075" y="6669371"/>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accent6">
                    <a:lumMod val="50000"/>
                  </a:schemeClr>
                </a:solidFill>
                <a:latin typeface="+mn-lt"/>
                <a:ea typeface="+mn-ea"/>
                <a:cs typeface="+mn-cs"/>
              </a:rPr>
              <a:t>Confidential – Qualcomm Technologies, Inc. and/or its affiliated companies – May Contain Trade Secrets</a:t>
            </a:r>
          </a:p>
        </p:txBody>
      </p:sp>
    </p:spTree>
    <p:extLst>
      <p:ext uri="{BB962C8B-B14F-4D97-AF65-F5344CB8AC3E}">
        <p14:creationId xmlns:p14="http://schemas.microsoft.com/office/powerpoint/2010/main" val="1993623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268638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Content_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495300" y="272097"/>
            <a:ext cx="11187112" cy="732508"/>
          </a:xfrm>
        </p:spPr>
        <p:txBody>
          <a:bodyPr/>
          <a:lstStyle>
            <a:lvl1pPr>
              <a:lnSpc>
                <a:spcPct val="85000"/>
              </a:lnSpc>
              <a:defRPr>
                <a:solidFill>
                  <a:schemeClr val="accent1"/>
                </a:solidFill>
              </a:defRPr>
            </a:lvl1pPr>
          </a:lstStyle>
          <a:p>
            <a:r>
              <a:rPr lang="en-US"/>
              <a:t>Title + Content layout</a:t>
            </a:r>
            <a:br>
              <a:rPr lang="en-US"/>
            </a:br>
            <a:r>
              <a:rPr lang="en-US"/>
              <a:t>Title 2 lines maximum</a:t>
            </a:r>
            <a:endParaRPr lang="en-CA"/>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p:txBody>
          <a:bodyPr/>
          <a:lstStyle>
            <a:lvl1pPr>
              <a:defRPr>
                <a:solidFill>
                  <a:schemeClr val="accent6">
                    <a:lumMod val="50000"/>
                  </a:schemeClr>
                </a:solidFill>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8" y="1820860"/>
            <a:ext cx="11160127"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9" y="1387475"/>
            <a:ext cx="11160125" cy="233911"/>
          </a:xfrm>
        </p:spPr>
        <p:txBody>
          <a:bodyPr>
            <a:spAutoFit/>
          </a:bodyPr>
          <a:lstStyle>
            <a:lvl1pPr marL="0" indent="0">
              <a:buNone/>
              <a:defRPr lang="en-US" sz="1600" kern="1200" dirty="0">
                <a:solidFill>
                  <a:schemeClr val="dk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7497"/>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377"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377"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
        <p:nvSpPr>
          <p:cNvPr id="7" name="TextBox 6">
            <a:extLst>
              <a:ext uri="{FF2B5EF4-FFF2-40B4-BE49-F238E27FC236}">
                <a16:creationId xmlns:a16="http://schemas.microsoft.com/office/drawing/2014/main" id="{B8D9ACE2-2765-F3B0-D6F0-6EEB06E3BF04}"/>
              </a:ext>
            </a:extLst>
          </p:cNvPr>
          <p:cNvSpPr txBox="1"/>
          <p:nvPr userDrawn="1"/>
        </p:nvSpPr>
        <p:spPr>
          <a:xfrm>
            <a:off x="6773076" y="6396526"/>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accent6">
                    <a:lumMod val="50000"/>
                  </a:schemeClr>
                </a:solidFill>
                <a:latin typeface="+mn-lt"/>
                <a:ea typeface="+mn-ea"/>
                <a:cs typeface="+mn-cs"/>
              </a:rPr>
              <a:t>Confidential – Qualcomm Technologies, Inc. and/or its affiliated companies – May Contain Trade Secrets</a:t>
            </a:r>
          </a:p>
        </p:txBody>
      </p:sp>
    </p:spTree>
    <p:extLst>
      <p:ext uri="{BB962C8B-B14F-4D97-AF65-F5344CB8AC3E}">
        <p14:creationId xmlns:p14="http://schemas.microsoft.com/office/powerpoint/2010/main" val="3518777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7568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49478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91057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279339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392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5934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89269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6071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87894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86536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8447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8958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8348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82119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61357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1303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21472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29627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76756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0563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5G Broadcast Conference</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302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615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7043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0846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681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769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7594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74318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0294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8566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26429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7743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9569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63061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25792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4388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348025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1717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52705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6661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67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0929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20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12108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467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2387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8153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02433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0485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037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494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8903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7670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8952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14558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8112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911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52357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0188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198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39675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7967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359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322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12586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90874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5186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7752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6135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12950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71589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22887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04596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218822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59124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2236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72586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9258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85603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4382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3121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67119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2457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70518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5770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31435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88766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8133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8167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1575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1" hasCustomPrompt="1"/>
          </p:nvPr>
        </p:nvSpPr>
        <p:spPr>
          <a:xfrm>
            <a:off x="285792" y="1208599"/>
            <a:ext cx="11654367" cy="5866221"/>
          </a:xfrm>
          <a:prstGeom prst="rect">
            <a:avLst/>
          </a:prstGeom>
        </p:spPr>
        <p:txBody>
          <a:bodyPr/>
          <a:lstStyle>
            <a:lvl1pPr>
              <a:lnSpc>
                <a:spcPct val="120000"/>
              </a:lnSpc>
              <a:defRPr baseline="0">
                <a:solidFill>
                  <a:schemeClr val="tx1">
                    <a:lumMod val="75000"/>
                    <a:lumOff val="25000"/>
                  </a:schemeClr>
                </a:solidFill>
              </a:defRPr>
            </a:lvl1pPr>
            <a:lvl2pPr>
              <a:lnSpc>
                <a:spcPct val="120000"/>
              </a:lnSpc>
              <a:defRPr>
                <a:solidFill>
                  <a:schemeClr val="tx1">
                    <a:lumMod val="75000"/>
                    <a:lumOff val="25000"/>
                  </a:schemeClr>
                </a:solidFill>
              </a:defRPr>
            </a:lvl2pPr>
            <a:lvl3pPr marL="572916" indent="-239641">
              <a:lnSpc>
                <a:spcPct val="120000"/>
              </a:lnSpc>
              <a:defRPr>
                <a:solidFill>
                  <a:schemeClr val="tx1">
                    <a:lumMod val="75000"/>
                    <a:lumOff val="25000"/>
                  </a:schemeClr>
                </a:solidFill>
              </a:defRPr>
            </a:lvl3pPr>
            <a:lvl4pPr marL="853819" indent="-230119">
              <a:lnSpc>
                <a:spcPct val="120000"/>
              </a:lnSpc>
              <a:defRPr>
                <a:solidFill>
                  <a:schemeClr val="tx1">
                    <a:lumMod val="75000"/>
                    <a:lumOff val="25000"/>
                  </a:schemeClr>
                </a:solidFill>
              </a:defRPr>
            </a:lvl4pPr>
            <a:lvl5pPr marL="1144245" indent="-247576">
              <a:lnSpc>
                <a:spcPct val="120000"/>
              </a:lnSpc>
              <a:defRPr>
                <a:solidFill>
                  <a:schemeClr val="tx1">
                    <a:lumMod val="75000"/>
                    <a:lumOff val="25000"/>
                  </a:schemeClr>
                </a:solidFill>
              </a:defRPr>
            </a:lvl5pPr>
            <a:lvl6pPr>
              <a:lnSpc>
                <a:spcPct val="120000"/>
              </a:lnSpc>
              <a:defRPr>
                <a:solidFill>
                  <a:schemeClr val="tx1">
                    <a:lumMod val="75000"/>
                    <a:lumOff val="25000"/>
                  </a:schemeClr>
                </a:solidFill>
              </a:defRPr>
            </a:lvl6pPr>
            <a:lvl7pPr>
              <a:lnSpc>
                <a:spcPct val="120000"/>
              </a:lnSpc>
              <a:defRPr>
                <a:solidFill>
                  <a:schemeClr val="tx1">
                    <a:lumMod val="75000"/>
                    <a:lumOff val="25000"/>
                  </a:schemeClr>
                </a:solidFill>
              </a:defRPr>
            </a:lvl7pPr>
            <a:lvl8pPr marL="642745" indent="-214249">
              <a:lnSpc>
                <a:spcPct val="120000"/>
              </a:lnSpc>
              <a:defRPr>
                <a:solidFill>
                  <a:schemeClr val="tx1">
                    <a:lumMod val="75000"/>
                    <a:lumOff val="25000"/>
                  </a:schemeClr>
                </a:solidFill>
              </a:defRPr>
            </a:lvl8pPr>
            <a:lvl9pPr marL="557046" indent="-128549">
              <a:lnSpc>
                <a:spcPct val="120000"/>
              </a:lnSpc>
              <a:defRPr>
                <a:solidFill>
                  <a:schemeClr val="tx1">
                    <a:lumMod val="75000"/>
                    <a:lumOff val="25000"/>
                  </a:schemeClr>
                </a:solidFill>
              </a:defRPr>
            </a:lvl9pPr>
          </a:lstStyle>
          <a:p>
            <a:pPr lvl="0"/>
            <a:r>
              <a:rPr lang="en-US"/>
              <a:t>Click to add text (for a bullet list, use Level 2) or click one of the content icons to add content of that type.</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7"/>
            <a:r>
              <a:rPr lang="en-US"/>
              <a:t>Eighth</a:t>
            </a:r>
          </a:p>
          <a:p>
            <a:pPr lvl="7"/>
            <a:r>
              <a:rPr lang="en-US"/>
              <a:t>Eighth</a:t>
            </a:r>
          </a:p>
          <a:p>
            <a:pPr lvl="7"/>
            <a:r>
              <a:rPr lang="en-US"/>
              <a:t>Eighth</a:t>
            </a:r>
          </a:p>
          <a:p>
            <a:pPr lvl="8"/>
            <a:r>
              <a:rPr lang="en-US"/>
              <a:t>Ninth</a:t>
            </a:r>
          </a:p>
          <a:p>
            <a:pPr lvl="8"/>
            <a:r>
              <a:rPr lang="en-US"/>
              <a:t>Ninth</a:t>
            </a:r>
          </a:p>
        </p:txBody>
      </p:sp>
      <p:sp>
        <p:nvSpPr>
          <p:cNvPr id="2" name="Title 1"/>
          <p:cNvSpPr>
            <a:spLocks noGrp="1"/>
          </p:cNvSpPr>
          <p:nvPr>
            <p:ph type="title"/>
          </p:nvPr>
        </p:nvSpPr>
        <p:spPr>
          <a:xfrm>
            <a:off x="289639" y="416092"/>
            <a:ext cx="11650520" cy="525850"/>
          </a:xfrm>
          <a:prstGeom prst="rect">
            <a:avLst/>
          </a:prstGeom>
        </p:spPr>
        <p:txBody>
          <a:bodyPr/>
          <a:lstStyle>
            <a:lvl1pPr>
              <a:defRPr b="1">
                <a:solidFill>
                  <a:schemeClr val="tx1">
                    <a:lumMod val="65000"/>
                    <a:lumOff val="35000"/>
                  </a:schemeClr>
                </a:solidFill>
              </a:defRPr>
            </a:lvl1pPr>
          </a:lstStyle>
          <a:p>
            <a:r>
              <a:rPr lang="en-US"/>
              <a:t>Click to edit Master title style</a:t>
            </a:r>
          </a:p>
        </p:txBody>
      </p:sp>
      <p:sp>
        <p:nvSpPr>
          <p:cNvPr id="5" name="Footer Placeholder 4" descr="Footer"/>
          <p:cNvSpPr>
            <a:spLocks noGrp="1"/>
          </p:cNvSpPr>
          <p:nvPr>
            <p:ph type="ftr" sz="quarter" idx="12"/>
          </p:nvPr>
        </p:nvSpPr>
        <p:spPr>
          <a:xfrm>
            <a:off x="119533" y="6478292"/>
            <a:ext cx="632137" cy="232476"/>
          </a:xfrm>
          <a:prstGeom prst="rect">
            <a:avLst/>
          </a:prstGeom>
        </p:spPr>
        <p:txBody>
          <a:bodyPr/>
          <a:lstStyle/>
          <a:p>
            <a:r>
              <a:rPr lang="en-US"/>
              <a:t>5G Broadcast Conference</a:t>
            </a:r>
          </a:p>
        </p:txBody>
      </p:sp>
    </p:spTree>
    <p:extLst>
      <p:ext uri="{BB962C8B-B14F-4D97-AF65-F5344CB8AC3E}">
        <p14:creationId xmlns:p14="http://schemas.microsoft.com/office/powerpoint/2010/main" val="17632153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5G Broadcast Conference</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2340094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227149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243232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287377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5295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Light Blue_Blank">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t>5G Broadcast Conference</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266405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416319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Shelf Midnight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71185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cSld name="Abschnitts-&#10;überschrift">
    <p:spTree>
      <p:nvGrpSpPr>
        <p:cNvPr id="1" name=""/>
        <p:cNvGrpSpPr/>
        <p:nvPr/>
      </p:nvGrpSpPr>
      <p:grpSpPr>
        <a:xfrm>
          <a:off x="0" y="0"/>
          <a:ext cx="0" cy="0"/>
          <a:chOff x="0" y="0"/>
          <a:chExt cx="0" cy="0"/>
        </a:xfrm>
      </p:grpSpPr>
      <p:sp>
        <p:nvSpPr>
          <p:cNvPr id="5" name="Bildplatzhalter 1">
            <a:extLst>
              <a:ext uri="{FF2B5EF4-FFF2-40B4-BE49-F238E27FC236}">
                <a16:creationId xmlns:a16="http://schemas.microsoft.com/office/drawing/2014/main" id="{3A8C094D-2D0E-47CC-A990-E35B829AB4AA}"/>
              </a:ext>
            </a:extLst>
          </p:cNvPr>
          <p:cNvSpPr>
            <a:spLocks noGrp="1"/>
          </p:cNvSpPr>
          <p:nvPr>
            <p:ph type="pic" sz="quarter" idx="2" hasCustomPrompt="1"/>
          </p:nvPr>
        </p:nvSpPr>
        <p:spPr>
          <a:xfrm>
            <a:off x="0" y="0"/>
            <a:ext cx="12192000" cy="6858000"/>
          </a:xfrm>
        </p:spPr>
        <p:txBody>
          <a:bodyPr anchor="t"/>
          <a:lstStyle>
            <a:lvl1pPr marL="0" indent="0" algn="ctr">
              <a:buNone/>
              <a:defRPr/>
            </a:lvl1pPr>
          </a:lstStyle>
          <a:p>
            <a:br>
              <a:rPr lang="de-DE"/>
            </a:br>
            <a:br>
              <a:rPr lang="de-DE"/>
            </a:br>
            <a:br>
              <a:rPr lang="de-DE"/>
            </a:br>
            <a:br>
              <a:rPr lang="de-DE"/>
            </a:br>
            <a:br>
              <a:rPr lang="de-DE"/>
            </a:br>
            <a:r>
              <a:rPr lang="de-DE"/>
              <a:t>Bild durch Klicken auf das Symbol hinzufügen</a:t>
            </a:r>
            <a:br>
              <a:rPr lang="de-DE"/>
            </a:br>
            <a:r>
              <a:rPr lang="de-DE"/>
              <a:t>Bitte folgenden Sie der Verknüpfung in Ihrem Bilderverzeichnis,</a:t>
            </a:r>
            <a:br>
              <a:rPr lang="de-DE"/>
            </a:br>
            <a:r>
              <a:rPr lang="de-DE"/>
              <a:t>nutzen Sie nur lizenzierte Bilder</a:t>
            </a:r>
          </a:p>
        </p:txBody>
      </p:sp>
      <p:sp>
        <p:nvSpPr>
          <p:cNvPr id="7" name="Titel 1"/>
          <p:cNvSpPr>
            <a:spLocks noGrp="1" noMove="1" noResize="1"/>
          </p:cNvSpPr>
          <p:nvPr>
            <p:ph type="title" hasCustomPrompt="1"/>
          </p:nvPr>
        </p:nvSpPr>
        <p:spPr>
          <a:xfrm>
            <a:off x="480000" y="4704000"/>
            <a:ext cx="11328000" cy="1972766"/>
          </a:xfrm>
          <a:blipFill>
            <a:blip r:embed="rId2"/>
            <a:stretch>
              <a:fillRect/>
            </a:stretch>
          </a:blipFill>
        </p:spPr>
        <p:txBody>
          <a:bodyPr lIns="144000" tIns="360000" rIns="144000" bIns="288000" anchor="t"/>
          <a:lstStyle>
            <a:lvl1pPr>
              <a:defRPr>
                <a:solidFill>
                  <a:schemeClr val="bg1"/>
                </a:solidFill>
              </a:defRPr>
            </a:lvl1pPr>
          </a:lstStyle>
          <a:p>
            <a:r>
              <a:rPr lang="de-DE"/>
              <a:t>Zwischentitel (27 pt, max. 2-zeilig)</a:t>
            </a:r>
            <a:br>
              <a:rPr lang="de-DE"/>
            </a:br>
            <a:r>
              <a:rPr lang="de-DE"/>
              <a:t>- Ändern Sie die Größe des Platzhaltes NICHT! -</a:t>
            </a:r>
            <a:br>
              <a:rPr lang="de-DE"/>
            </a:br>
            <a:endParaRPr lang="de-DE"/>
          </a:p>
        </p:txBody>
      </p:sp>
      <p:sp>
        <p:nvSpPr>
          <p:cNvPr id="20" name="Marktsegment 1">
            <a:extLst>
              <a:ext uri="{FF2B5EF4-FFF2-40B4-BE49-F238E27FC236}">
                <a16:creationId xmlns:a16="http://schemas.microsoft.com/office/drawing/2014/main" id="{3DC57BFA-5ECC-427D-BB61-A54DE82484AA}"/>
              </a:ext>
            </a:extLst>
          </p:cNvPr>
          <p:cNvSpPr>
            <a:spLocks noGrp="1"/>
          </p:cNvSpPr>
          <p:nvPr>
            <p:ph type="body" sz="quarter" idx="9" hasCustomPrompt="1"/>
          </p:nvPr>
        </p:nvSpPr>
        <p:spPr>
          <a:xfrm>
            <a:off x="480000" y="4872000"/>
            <a:ext cx="4224000" cy="273600"/>
          </a:xfrm>
        </p:spPr>
        <p:txBody>
          <a:bodyPr wrap="none" lIns="144000">
            <a:noAutofit/>
          </a:bodyPr>
          <a:lstStyle>
            <a:lvl1pPr marL="0" indent="0">
              <a:buNone/>
              <a:defRPr sz="1733" spc="107"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de-DE"/>
              <a:t>Text 13 pt, z.B. Marktsegmentbezeichnung</a:t>
            </a:r>
          </a:p>
        </p:txBody>
      </p:sp>
    </p:spTree>
    <p:extLst>
      <p:ext uri="{BB962C8B-B14F-4D97-AF65-F5344CB8AC3E}">
        <p14:creationId xmlns:p14="http://schemas.microsoft.com/office/powerpoint/2010/main" val="5152239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126072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1487330"/>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826108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Off-White_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5" name="Title 3">
            <a:extLst>
              <a:ext uri="{FF2B5EF4-FFF2-40B4-BE49-F238E27FC236}">
                <a16:creationId xmlns:a16="http://schemas.microsoft.com/office/drawing/2014/main" id="{4B5845B0-2784-4142-BE67-A2438DF860FB}"/>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12613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66060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0A7309CB-3B44-EB85-1AD7-BB5F5DF5F6E9}"/>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21519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04A89CF-52C1-C41F-D449-47AC5A56B655}"/>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110774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66345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7817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342539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528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5000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6129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535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7035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02154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3072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59851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4187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35467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67754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7250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0770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00409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264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309251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10489691" cy="118174"/>
          </a:xfrm>
        </p:spPr>
        <p:txBody>
          <a:bodyPr/>
          <a:lstStyle>
            <a:lvl1pPr>
              <a:defRPr>
                <a:solidFill>
                  <a:schemeClr val="accent5">
                    <a:lumMod val="60000"/>
                    <a:lumOff val="40000"/>
                  </a:schemeClr>
                </a:solidFill>
              </a:defRPr>
            </a:lvl1pPr>
          </a:lstStyle>
          <a:p>
            <a:r>
              <a:rPr lang="en-US"/>
              <a:t>5G Broadcast Conference</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7634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6818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96654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60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0268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5351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51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97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23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530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856600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42791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4033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292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545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16760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15054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333094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0244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9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352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568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5777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97407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7573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6851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2381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1623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92571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3790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7592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089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3764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2192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750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10488168" cy="118174"/>
          </a:xfrm>
        </p:spPr>
        <p:txBody>
          <a:bodyPr/>
          <a:lstStyle>
            <a:lvl1pPr>
              <a:defRPr>
                <a:solidFill>
                  <a:schemeClr val="accent5">
                    <a:lumMod val="60000"/>
                    <a:lumOff val="40000"/>
                  </a:schemeClr>
                </a:solidFill>
              </a:defRPr>
            </a:lvl1pPr>
          </a:lstStyle>
          <a:p>
            <a:r>
              <a:rPr lang="en-US"/>
              <a:t>5G Broadcast Conference</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7157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0125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1151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74502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6719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3568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799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08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9619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02763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04948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6087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14569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13753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13069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260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7000">
                  <a:schemeClr val="accent1">
                    <a:lumMod val="50000"/>
                  </a:schemeClr>
                </a:gs>
                <a:gs pos="42000">
                  <a:schemeClr val="accent1">
                    <a:alpha val="0"/>
                  </a:schemeClr>
                </a:gs>
                <a:gs pos="100000">
                  <a:schemeClr val="accent1">
                    <a:lumMod val="50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89261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11841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flip="none" rotWithShape="1">
              <a:gsLst>
                <a:gs pos="50000">
                  <a:srgbClr val="328E9E">
                    <a:alpha val="0"/>
                  </a:srgb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77714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flip="none" rotWithShape="1">
              <a:gsLst>
                <a:gs pos="50000">
                  <a:schemeClr val="accent6">
                    <a:lumMod val="40000"/>
                    <a:lumOff val="60000"/>
                    <a:alpha val="0"/>
                  </a:schemeClr>
                </a:gs>
                <a:gs pos="100000">
                  <a:schemeClr val="accent5">
                    <a:alpha val="6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9446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84925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51501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1630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10377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45238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9187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83367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763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97132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51427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73044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3870431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9041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399243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90554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20091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Sub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3861327"/>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4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hasCustomPrompt="1"/>
          </p:nvPr>
        </p:nvSpPr>
        <p:spPr bwMode="gray">
          <a:xfrm>
            <a:off x="458797" y="1745389"/>
            <a:ext cx="7415930" cy="1178143"/>
          </a:xfrm>
        </p:spPr>
        <p:txBody>
          <a:bodyPr wrap="square">
            <a:noAutofit/>
          </a:bodyPr>
          <a:lstStyle>
            <a:lvl1pPr>
              <a:lnSpc>
                <a:spcPct val="87000"/>
              </a:lnSpc>
              <a:defRPr sz="6600">
                <a:solidFill>
                  <a:schemeClr val="bg1"/>
                </a:solidFill>
              </a:defRPr>
            </a:lvl1pPr>
          </a:lstStyle>
          <a:p>
            <a:r>
              <a:rPr lang="en-US"/>
              <a:t>Click to edit</a:t>
            </a:r>
            <a:br>
              <a:rPr lang="en-US"/>
            </a:br>
            <a:r>
              <a:rPr lang="en-US"/>
              <a:t>Master title style</a:t>
            </a:r>
          </a:p>
        </p:txBody>
      </p:sp>
      <p:sp>
        <p:nvSpPr>
          <p:cNvPr id="14" name="Subtitle">
            <a:extLst>
              <a:ext uri="{FF2B5EF4-FFF2-40B4-BE49-F238E27FC236}">
                <a16:creationId xmlns:a16="http://schemas.microsoft.com/office/drawing/2014/main" id="{37788769-96A5-4B71-A470-651FFA1AC7FB}"/>
              </a:ext>
            </a:extLst>
          </p:cNvPr>
          <p:cNvSpPr>
            <a:spLocks noGrp="1"/>
          </p:cNvSpPr>
          <p:nvPr>
            <p:ph type="subTitle" idx="1"/>
          </p:nvPr>
        </p:nvSpPr>
        <p:spPr>
          <a:xfrm>
            <a:off x="494189" y="2875476"/>
            <a:ext cx="8012986" cy="650050"/>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44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234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2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Photo Title and Subtitle">
    <p:bg>
      <p:bgPr>
        <a:solidFill>
          <a:schemeClr val="tx2"/>
        </a:solidFill>
        <a:effectLst/>
      </p:bgPr>
    </p:bg>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4BA59F8A-A3A3-4BA6-B28E-208F4AE307B0}"/>
              </a:ext>
            </a:extLst>
          </p:cNvPr>
          <p:cNvSpPr>
            <a:spLocks noGrp="1"/>
          </p:cNvSpPr>
          <p:nvPr>
            <p:ph type="ftr" sz="quarter" idx="13"/>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10" name="Text Placeholder 7">
            <a:extLst>
              <a:ext uri="{FF2B5EF4-FFF2-40B4-BE49-F238E27FC236}">
                <a16:creationId xmlns:a16="http://schemas.microsoft.com/office/drawing/2014/main" id="{6465B147-6B3C-4AD8-9E73-2975E626437F}"/>
              </a:ext>
            </a:extLst>
          </p:cNvPr>
          <p:cNvSpPr>
            <a:spLocks noGrp="1"/>
          </p:cNvSpPr>
          <p:nvPr>
            <p:ph type="body" sz="quarter" idx="11" hasCustomPrompt="1"/>
          </p:nvPr>
        </p:nvSpPr>
        <p:spPr bwMode="gray">
          <a:xfrm>
            <a:off x="5157216" y="402336"/>
            <a:ext cx="775853" cy="221599"/>
          </a:xfrm>
          <a:prstGeom prst="rect">
            <a:avLst/>
          </a:prstGeom>
        </p:spPr>
        <p:txBody>
          <a:bodyPr wrap="none">
            <a:spAutoFit/>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1" name="Text Placeholder 5">
            <a:extLst>
              <a:ext uri="{FF2B5EF4-FFF2-40B4-BE49-F238E27FC236}">
                <a16:creationId xmlns:a16="http://schemas.microsoft.com/office/drawing/2014/main" id="{9E31960A-B009-4EE8-B4C4-4AD468AC7930}"/>
              </a:ext>
            </a:extLst>
          </p:cNvPr>
          <p:cNvSpPr>
            <a:spLocks noGrp="1"/>
          </p:cNvSpPr>
          <p:nvPr>
            <p:ph type="body" sz="quarter" idx="14" hasCustomPrompt="1"/>
          </p:nvPr>
        </p:nvSpPr>
        <p:spPr bwMode="gray">
          <a:xfrm>
            <a:off x="3694815" y="402336"/>
            <a:ext cx="432811" cy="221599"/>
          </a:xfrm>
          <a:prstGeom prst="rect">
            <a:avLst/>
          </a:prstGeom>
        </p:spPr>
        <p:txBody>
          <a:bodyPr wrap="none">
            <a:spAutoFit/>
          </a:bodyPr>
          <a:lstStyle>
            <a:lvl1pPr marL="0" indent="0" algn="l">
              <a:lnSpc>
                <a:spcPct val="90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2" name="Text Placeholder 48">
            <a:extLst>
              <a:ext uri="{FF2B5EF4-FFF2-40B4-BE49-F238E27FC236}">
                <a16:creationId xmlns:a16="http://schemas.microsoft.com/office/drawing/2014/main" id="{F01271CB-35A6-41BE-8BE3-BD6DF6DD8A1E}"/>
              </a:ext>
            </a:extLst>
          </p:cNvPr>
          <p:cNvSpPr>
            <a:spLocks noGrp="1"/>
          </p:cNvSpPr>
          <p:nvPr>
            <p:ph type="body" sz="quarter" idx="15" hasCustomPrompt="1"/>
          </p:nvPr>
        </p:nvSpPr>
        <p:spPr bwMode="gray">
          <a:xfrm>
            <a:off x="7068198" y="402336"/>
            <a:ext cx="1155766" cy="241285"/>
          </a:xfrm>
          <a:prstGeom prst="rect">
            <a:avLst/>
          </a:prstGeom>
        </p:spPr>
        <p:txBody>
          <a:bodyPr wrap="none">
            <a:spAutoFit/>
          </a:bodyPr>
          <a:lstStyle>
            <a:lvl1pPr marL="0" marR="0" indent="0" algn="l"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qualcomm</a:t>
            </a:r>
          </a:p>
        </p:txBody>
      </p:sp>
      <p:sp>
        <p:nvSpPr>
          <p:cNvPr id="13" name="Freeform 5">
            <a:extLst>
              <a:ext uri="{FF2B5EF4-FFF2-40B4-BE49-F238E27FC236}">
                <a16:creationId xmlns:a16="http://schemas.microsoft.com/office/drawing/2014/main" id="{F462AC1C-05E0-4FC4-A052-87AEF62212E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ext Placeholder 7">
            <a:extLst>
              <a:ext uri="{FF2B5EF4-FFF2-40B4-BE49-F238E27FC236}">
                <a16:creationId xmlns:a16="http://schemas.microsoft.com/office/drawing/2014/main" id="{1CB99C33-573C-4CAA-9DB5-114509F49F08}"/>
              </a:ext>
            </a:extLst>
          </p:cNvPr>
          <p:cNvSpPr>
            <a:spLocks noGrp="1"/>
          </p:cNvSpPr>
          <p:nvPr>
            <p:ph type="body" sz="quarter" idx="10" hasCustomPrompt="1"/>
          </p:nvPr>
        </p:nvSpPr>
        <p:spPr bwMode="gray">
          <a:xfrm>
            <a:off x="495299" y="5273565"/>
            <a:ext cx="10489690" cy="961930"/>
          </a:xfrm>
          <a:prstGeom prst="rect">
            <a:avLst/>
          </a:prstGeom>
        </p:spPr>
        <p:txBody>
          <a:bodyPr>
            <a:noAutofit/>
          </a:bodyPr>
          <a:lstStyle>
            <a:lvl1pPr marL="0" indent="0">
              <a:lnSpc>
                <a:spcPct val="90000"/>
              </a:lnSpc>
              <a:spcBef>
                <a:spcPts val="600"/>
              </a:spcBef>
              <a:spcAft>
                <a:spcPts val="0"/>
              </a:spcAft>
              <a:buFont typeface="Microsoft Sans Serif" panose="020B0604020202020204" pitchFamily="34" charset="0"/>
              <a:buChar char="​"/>
              <a:defRPr sz="2000" b="1" spc="30" baseline="0">
                <a:solidFill>
                  <a:schemeClr val="bg1"/>
                </a:solidFill>
              </a:defRPr>
            </a:lvl1pPr>
            <a:lvl2pPr marL="0" indent="0">
              <a:lnSpc>
                <a:spcPct val="90000"/>
              </a:lnSpc>
              <a:spcBef>
                <a:spcPts val="600"/>
              </a:spcBef>
              <a:spcAft>
                <a:spcPts val="0"/>
              </a:spcAft>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15" name="Title 2">
            <a:extLst>
              <a:ext uri="{FF2B5EF4-FFF2-40B4-BE49-F238E27FC236}">
                <a16:creationId xmlns:a16="http://schemas.microsoft.com/office/drawing/2014/main" id="{2A3062B5-001F-4409-93B7-7ACE1BF9D75A}"/>
              </a:ext>
            </a:extLst>
          </p:cNvPr>
          <p:cNvSpPr>
            <a:spLocks noGrp="1"/>
          </p:cNvSpPr>
          <p:nvPr>
            <p:ph type="title" hasCustomPrompt="1"/>
          </p:nvPr>
        </p:nvSpPr>
        <p:spPr bwMode="gray">
          <a:xfrm>
            <a:off x="458796" y="2907916"/>
            <a:ext cx="10526193" cy="1329595"/>
          </a:xfrm>
        </p:spPr>
        <p:txBody>
          <a:bodyPr wrap="square">
            <a:spAutoFit/>
          </a:bodyPr>
          <a:lstStyle>
            <a:lvl1pPr>
              <a:lnSpc>
                <a:spcPct val="80000"/>
              </a:lnSpc>
              <a:defRPr sz="5400">
                <a:solidFill>
                  <a:schemeClr val="bg1"/>
                </a:solidFill>
              </a:defRPr>
            </a:lvl1pPr>
          </a:lstStyle>
          <a:p>
            <a:r>
              <a:rPr lang="en-US"/>
              <a:t>Click to edit</a:t>
            </a:r>
            <a:br>
              <a:rPr lang="en-US"/>
            </a:br>
            <a:r>
              <a:rPr lang="en-US"/>
              <a:t>Master title style</a:t>
            </a:r>
          </a:p>
        </p:txBody>
      </p:sp>
      <p:sp>
        <p:nvSpPr>
          <p:cNvPr id="16" name="Subtitle">
            <a:extLst>
              <a:ext uri="{FF2B5EF4-FFF2-40B4-BE49-F238E27FC236}">
                <a16:creationId xmlns:a16="http://schemas.microsoft.com/office/drawing/2014/main" id="{644320C7-01AC-4F65-8C9A-0E1ACFB23610}"/>
              </a:ext>
            </a:extLst>
          </p:cNvPr>
          <p:cNvSpPr>
            <a:spLocks noGrp="1"/>
          </p:cNvSpPr>
          <p:nvPr>
            <p:ph type="subTitle" idx="1"/>
          </p:nvPr>
        </p:nvSpPr>
        <p:spPr>
          <a:xfrm>
            <a:off x="494190" y="4237511"/>
            <a:ext cx="10489690" cy="35458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24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8348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Nickel_Larger Title Only">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4" name="Title 3">
            <a:extLst>
              <a:ext uri="{FF2B5EF4-FFF2-40B4-BE49-F238E27FC236}">
                <a16:creationId xmlns:a16="http://schemas.microsoft.com/office/drawing/2014/main" id="{8C0A3E13-1739-47C7-932F-96C38CB48DA7}"/>
              </a:ext>
            </a:extLst>
          </p:cNvPr>
          <p:cNvSpPr>
            <a:spLocks noGrp="1"/>
          </p:cNvSpPr>
          <p:nvPr>
            <p:ph type="title"/>
          </p:nvPr>
        </p:nvSpPr>
        <p:spPr>
          <a:xfrm>
            <a:off x="495300" y="476985"/>
            <a:ext cx="11187112" cy="568745"/>
          </a:xfrm>
        </p:spPr>
        <p:txBody>
          <a:bodyPr anchor="t" anchorCtr="0"/>
          <a:lstStyle>
            <a:lvl1pPr>
              <a:defRPr sz="4400"/>
            </a:lvl1pPr>
          </a:lstStyle>
          <a:p>
            <a:r>
              <a:rPr lang="en-US"/>
              <a:t>Click to edit Master title style</a:t>
            </a:r>
          </a:p>
        </p:txBody>
      </p:sp>
    </p:spTree>
    <p:extLst>
      <p:ext uri="{BB962C8B-B14F-4D97-AF65-F5344CB8AC3E}">
        <p14:creationId xmlns:p14="http://schemas.microsoft.com/office/powerpoint/2010/main" val="63718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Off-White_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4" name="Title 3">
            <a:extLst>
              <a:ext uri="{FF2B5EF4-FFF2-40B4-BE49-F238E27FC236}">
                <a16:creationId xmlns:a16="http://schemas.microsoft.com/office/drawing/2014/main" id="{8C0A3E13-1739-47C7-932F-96C38CB48DA7}"/>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300760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Nickel_Blank">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Tree>
    <p:extLst>
      <p:ext uri="{BB962C8B-B14F-4D97-AF65-F5344CB8AC3E}">
        <p14:creationId xmlns:p14="http://schemas.microsoft.com/office/powerpoint/2010/main" val="247109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Off-White_Title and Sub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5" name="Title 3">
            <a:extLst>
              <a:ext uri="{FF2B5EF4-FFF2-40B4-BE49-F238E27FC236}">
                <a16:creationId xmlns:a16="http://schemas.microsoft.com/office/drawing/2014/main" id="{BBE77DDD-1CE8-4E5E-BE53-778A7A4736BD}"/>
              </a:ext>
            </a:extLst>
          </p:cNvPr>
          <p:cNvSpPr>
            <a:spLocks noGrp="1"/>
          </p:cNvSpPr>
          <p:nvPr>
            <p:ph type="title"/>
          </p:nvPr>
        </p:nvSpPr>
        <p:spPr>
          <a:xfrm>
            <a:off x="495300" y="549415"/>
            <a:ext cx="11187112" cy="455189"/>
          </a:xfrm>
        </p:spPr>
        <p:txBody>
          <a:bodyPr/>
          <a:lstStyle/>
          <a:p>
            <a:r>
              <a:rPr lang="en-US"/>
              <a:t>Click to edit Master title style</a:t>
            </a:r>
          </a:p>
        </p:txBody>
      </p:sp>
      <p:sp>
        <p:nvSpPr>
          <p:cNvPr id="6" name="Subtitle">
            <a:extLst>
              <a:ext uri="{FF2B5EF4-FFF2-40B4-BE49-F238E27FC236}">
                <a16:creationId xmlns:a16="http://schemas.microsoft.com/office/drawing/2014/main" id="{22173670-6BFB-4BDA-89AB-D4C206FB4A41}"/>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400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Off-White_Bla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Tree>
    <p:extLst>
      <p:ext uri="{BB962C8B-B14F-4D97-AF65-F5344CB8AC3E}">
        <p14:creationId xmlns:p14="http://schemas.microsoft.com/office/powerpoint/2010/main" val="189167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ight Nickel_Blank">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Tree>
    <p:extLst>
      <p:ext uri="{BB962C8B-B14F-4D97-AF65-F5344CB8AC3E}">
        <p14:creationId xmlns:p14="http://schemas.microsoft.com/office/powerpoint/2010/main" val="185673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Tree>
    <p:extLst>
      <p:ext uri="{BB962C8B-B14F-4D97-AF65-F5344CB8AC3E}">
        <p14:creationId xmlns:p14="http://schemas.microsoft.com/office/powerpoint/2010/main" val="81250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5G Broadcast Conference</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76338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lue_Blank">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390476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Light Blue_Blank">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t>5G Broadcast Conference</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195768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Gun Metal_Blank">
    <p:bg>
      <p:bgPr>
        <a:solidFill>
          <a:schemeClr val="accent5"/>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spcAft>
                <a:spcPts val="0"/>
              </a:spcAft>
              <a:defRPr/>
            </a:pPr>
            <a:r>
              <a:rPr lang="en-US"/>
              <a:t>5G Broadcast Conference</a:t>
            </a:r>
          </a:p>
        </p:txBody>
      </p:sp>
      <p:sp>
        <p:nvSpPr>
          <p:cNvPr id="4" name="TextBox 3">
            <a:extLst>
              <a:ext uri="{FF2B5EF4-FFF2-40B4-BE49-F238E27FC236}">
                <a16:creationId xmlns:a16="http://schemas.microsoft.com/office/drawing/2014/main" id="{24570DB2-C64B-4F9F-8D05-563F9ADD3A24}"/>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85908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Midnight_Blank">
    <p:bg>
      <p:bgPr>
        <a:solidFill>
          <a:schemeClr val="tx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161391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Midnight_Title only">
    <p:bg>
      <p:bgPr>
        <a:solidFill>
          <a:schemeClr val="tx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6" name="Title 3">
            <a:extLst>
              <a:ext uri="{FF2B5EF4-FFF2-40B4-BE49-F238E27FC236}">
                <a16:creationId xmlns:a16="http://schemas.microsoft.com/office/drawing/2014/main" id="{FBD62BE9-DDFD-42E2-9237-A89550547FD6}"/>
              </a:ext>
            </a:extLst>
          </p:cNvPr>
          <p:cNvSpPr>
            <a:spLocks noGrp="1"/>
          </p:cNvSpPr>
          <p:nvPr>
            <p:ph type="title"/>
          </p:nvPr>
        </p:nvSpPr>
        <p:spPr>
          <a:xfrm>
            <a:off x="495300" y="567521"/>
            <a:ext cx="11187112" cy="455189"/>
          </a:xfrm>
        </p:spPr>
        <p:txBody>
          <a:bodyPr anchor="t" anchorCtr="0"/>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9893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helf Light Blue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solidFill>
                  <a:schemeClr val="accent2">
                    <a:lumMod val="40000"/>
                    <a:lumOff val="60000"/>
                  </a:schemeClr>
                </a:solidFill>
              </a:rPr>
              <a:t>5G Broadcast Conference</a:t>
            </a:r>
          </a:p>
        </p:txBody>
      </p:sp>
    </p:spTree>
    <p:extLst>
      <p:ext uri="{BB962C8B-B14F-4D97-AF65-F5344CB8AC3E}">
        <p14:creationId xmlns:p14="http://schemas.microsoft.com/office/powerpoint/2010/main" val="169075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helf Light Blue_Bottom 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solidFill>
                  <a:schemeClr val="accent2">
                    <a:lumMod val="40000"/>
                    <a:lumOff val="60000"/>
                  </a:schemeClr>
                </a:solidFill>
              </a:rPr>
              <a:t>5G Broadcast Conference</a:t>
            </a:r>
          </a:p>
        </p:txBody>
      </p:sp>
      <p:sp>
        <p:nvSpPr>
          <p:cNvPr id="9" name="Title 2">
            <a:extLst>
              <a:ext uri="{FF2B5EF4-FFF2-40B4-BE49-F238E27FC236}">
                <a16:creationId xmlns:a16="http://schemas.microsoft.com/office/drawing/2014/main" id="{84A52DBA-21C2-42E6-8F17-49F9D5D855FC}"/>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263087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helf Teal_Title, Subtitl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43A54BD-BF06-4D2D-B117-ED765D0F8A02}"/>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3A6B6865-B858-475C-ACC1-245682ED229D}"/>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B6836C62-798F-48D1-BD16-AD6C08EEBAB8}"/>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TextBox 13">
            <a:extLst>
              <a:ext uri="{FF2B5EF4-FFF2-40B4-BE49-F238E27FC236}">
                <a16:creationId xmlns:a16="http://schemas.microsoft.com/office/drawing/2014/main" id="{48A34365-0BF0-4CB7-BC97-4D0D0DCE7DF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4">
                    <a:lumMod val="60000"/>
                    <a:lumOff val="40000"/>
                  </a:schemeClr>
                </a:solidFill>
                <a:latin typeface="+mn-lt"/>
                <a:ea typeface="+mn-ea"/>
                <a:cs typeface="+mn-cs"/>
              </a:defRPr>
            </a:lvl1pPr>
          </a:lstStyle>
          <a:p>
            <a:pPr>
              <a:spcAft>
                <a:spcPts val="0"/>
              </a:spcAft>
              <a:defRPr/>
            </a:pPr>
            <a:r>
              <a:rPr lang="en-US">
                <a:solidFill>
                  <a:schemeClr val="accent4">
                    <a:lumMod val="60000"/>
                    <a:lumOff val="40000"/>
                  </a:schemeClr>
                </a:solidFill>
              </a:rPr>
              <a:t>5G Broadcast Conference</a:t>
            </a:r>
          </a:p>
        </p:txBody>
      </p:sp>
    </p:spTree>
    <p:extLst>
      <p:ext uri="{BB962C8B-B14F-4D97-AF65-F5344CB8AC3E}">
        <p14:creationId xmlns:p14="http://schemas.microsoft.com/office/powerpoint/2010/main" val="188172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helf Teal_Off-white_Title bottom">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43A54BD-BF06-4D2D-B117-ED765D0F8A02}"/>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3A6B6865-B858-475C-ACC1-245682ED229D}"/>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B6836C62-798F-48D1-BD16-AD6C08EEBAB8}"/>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TextBox 13">
            <a:extLst>
              <a:ext uri="{FF2B5EF4-FFF2-40B4-BE49-F238E27FC236}">
                <a16:creationId xmlns:a16="http://schemas.microsoft.com/office/drawing/2014/main" id="{48A34365-0BF0-4CB7-BC97-4D0D0DCE7DF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4">
                    <a:lumMod val="60000"/>
                    <a:lumOff val="40000"/>
                  </a:schemeClr>
                </a:solidFill>
                <a:latin typeface="+mn-lt"/>
                <a:ea typeface="+mn-ea"/>
                <a:cs typeface="+mn-cs"/>
              </a:defRPr>
            </a:lvl1pPr>
          </a:lstStyle>
          <a:p>
            <a:pPr>
              <a:spcAft>
                <a:spcPts val="0"/>
              </a:spcAft>
              <a:defRPr/>
            </a:pPr>
            <a:r>
              <a:rPr lang="en-US">
                <a:solidFill>
                  <a:schemeClr val="accent4">
                    <a:lumMod val="60000"/>
                    <a:lumOff val="40000"/>
                  </a:schemeClr>
                </a:solidFill>
              </a:rPr>
              <a:t>5G Broadcast Conference</a:t>
            </a:r>
          </a:p>
        </p:txBody>
      </p:sp>
      <p:sp>
        <p:nvSpPr>
          <p:cNvPr id="12" name="Title 2">
            <a:extLst>
              <a:ext uri="{FF2B5EF4-FFF2-40B4-BE49-F238E27FC236}">
                <a16:creationId xmlns:a16="http://schemas.microsoft.com/office/drawing/2014/main" id="{58FD37CF-5D94-4906-BAAB-3197C292959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49481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3" name="TextBox 2">
            <a:extLst>
              <a:ext uri="{FF2B5EF4-FFF2-40B4-BE49-F238E27FC236}">
                <a16:creationId xmlns:a16="http://schemas.microsoft.com/office/drawing/2014/main" id="{7FE17C8A-F4D9-2A7D-CF89-8A7DE13571AF}"/>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75829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395653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helf Midnight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80790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helf Midnight_Off-white_Title, Subtitl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79840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helf Midnight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122275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helf Midnight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153859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helf Midnight_Off-white_Title Bottom">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DD7BF16-2406-43BE-A609-3D7C8BBFDE19}"/>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16251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helf Midnight_Off-white_Blank_Bottom Title and Subtitl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74755"/>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13476"/>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2403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helf Gun Metal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5G Broadcast Conference</a:t>
            </a:r>
          </a:p>
        </p:txBody>
      </p:sp>
    </p:spTree>
    <p:extLst>
      <p:ext uri="{BB962C8B-B14F-4D97-AF65-F5344CB8AC3E}">
        <p14:creationId xmlns:p14="http://schemas.microsoft.com/office/powerpoint/2010/main" val="23186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helf Gun Metal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5G Broadcast Conference</a:t>
            </a:r>
          </a:p>
        </p:txBody>
      </p:sp>
    </p:spTree>
    <p:extLst>
      <p:ext uri="{BB962C8B-B14F-4D97-AF65-F5344CB8AC3E}">
        <p14:creationId xmlns:p14="http://schemas.microsoft.com/office/powerpoint/2010/main" val="45709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helf Gun Metal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5G Broadcast Conference</a:t>
            </a:r>
          </a:p>
        </p:txBody>
      </p:sp>
    </p:spTree>
    <p:extLst>
      <p:ext uri="{BB962C8B-B14F-4D97-AF65-F5344CB8AC3E}">
        <p14:creationId xmlns:p14="http://schemas.microsoft.com/office/powerpoint/2010/main" val="3889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helf Light Blue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4532752-343E-47B0-8C61-D4E5BF508058}"/>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9313DA6A-7F0E-4314-BEDB-5933C3E333FD}"/>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ED1FF388-00D9-4B7B-8721-3924E3006ACE}"/>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763D138E-F1B0-470B-8C72-47C93C5D87A2}"/>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6" name="TextBox 15">
            <a:extLst>
              <a:ext uri="{FF2B5EF4-FFF2-40B4-BE49-F238E27FC236}">
                <a16:creationId xmlns:a16="http://schemas.microsoft.com/office/drawing/2014/main" id="{32116187-0279-43B6-BD55-C336E0A85659}"/>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8" name="Title 3">
            <a:extLst>
              <a:ext uri="{FF2B5EF4-FFF2-40B4-BE49-F238E27FC236}">
                <a16:creationId xmlns:a16="http://schemas.microsoft.com/office/drawing/2014/main" id="{42B117B6-494A-40B2-9F75-1D8FAE5D8300}"/>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256477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5166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helf Blue_Title botto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44514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Light Nickel, Shelf Blue_Title bottom">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138024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Light Nickel, Shelf Blue_Title top, Bottom Text and Subtitle">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8" name="Text Placeholder 29">
            <a:extLst>
              <a:ext uri="{FF2B5EF4-FFF2-40B4-BE49-F238E27FC236}">
                <a16:creationId xmlns:a16="http://schemas.microsoft.com/office/drawing/2014/main" id="{AB9D4AFE-F769-4A03-8378-754D2BEE7987}"/>
              </a:ext>
            </a:extLst>
          </p:cNvPr>
          <p:cNvSpPr>
            <a:spLocks noGrp="1"/>
          </p:cNvSpPr>
          <p:nvPr>
            <p:ph type="body" sz="quarter" idx="15"/>
          </p:nvPr>
        </p:nvSpPr>
        <p:spPr bwMode="gray">
          <a:xfrm>
            <a:off x="495299" y="5614764"/>
            <a:ext cx="11186159" cy="383503"/>
          </a:xfrm>
          <a:prstGeom prst="rect">
            <a:avLst/>
          </a:prstGeom>
        </p:spPr>
        <p:txBody>
          <a:bodyPr anchor="ctr">
            <a:spAutoFit/>
          </a:bodyPr>
          <a:lstStyle>
            <a:lvl1pPr marL="0" indent="0" algn="ctr">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Subtitle">
            <a:extLst>
              <a:ext uri="{FF2B5EF4-FFF2-40B4-BE49-F238E27FC236}">
                <a16:creationId xmlns:a16="http://schemas.microsoft.com/office/drawing/2014/main" id="{259341E1-F38C-44A9-AD52-4C1FF1C0B663}"/>
              </a:ext>
            </a:extLst>
          </p:cNvPr>
          <p:cNvSpPr>
            <a:spLocks noGrp="1"/>
          </p:cNvSpPr>
          <p:nvPr>
            <p:ph type="subTitle" idx="1"/>
          </p:nvPr>
        </p:nvSpPr>
        <p:spPr>
          <a:xfrm>
            <a:off x="494189" y="6013476"/>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itle 3">
            <a:extLst>
              <a:ext uri="{FF2B5EF4-FFF2-40B4-BE49-F238E27FC236}">
                <a16:creationId xmlns:a16="http://schemas.microsoft.com/office/drawing/2014/main" id="{B87E6FB7-AE4A-4C5E-BCE0-9A052DAABB6D}"/>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399422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helf Blue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22384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ight Nickel, Shelf Blue_blank">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5G Broadcast Conference</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171189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3304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ifty Fifty Blue Bla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5956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utaway 1/4 Left Nicke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0"/>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Tree>
    <p:extLst>
      <p:ext uri="{BB962C8B-B14F-4D97-AF65-F5344CB8AC3E}">
        <p14:creationId xmlns:p14="http://schemas.microsoft.com/office/powerpoint/2010/main" val="421444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utaway 1/4 Left Teal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1" name="Title 1">
            <a:extLst>
              <a:ext uri="{FF2B5EF4-FFF2-40B4-BE49-F238E27FC236}">
                <a16:creationId xmlns:a16="http://schemas.microsoft.com/office/drawing/2014/main" id="{4188C21F-01DC-4D64-BBD6-81D2BB9B0547}"/>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9115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utaway 1/4 Left Gun Metal_Title, Sutitle, Cop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240588"/>
            <a:ext cx="3212965" cy="4160211"/>
          </a:xfrm>
          <a:prstGeom prst="rect">
            <a:avLst/>
          </a:prstGeom>
        </p:spPr>
        <p:txBody>
          <a:bodyPr/>
          <a:lstStyle>
            <a:lvl1pPr marL="0" indent="0">
              <a:lnSpc>
                <a:spcPct val="90000"/>
              </a:lnSpc>
              <a:spcBef>
                <a:spcPts val="1800"/>
              </a:spcBef>
              <a:buClr>
                <a:schemeClr val="bg1"/>
              </a:buClr>
              <a:buNone/>
              <a:defRPr sz="1600">
                <a:solidFill>
                  <a:schemeClr val="bg1"/>
                </a:solidFill>
              </a:defRPr>
            </a:lvl1pPr>
            <a:lvl2pPr marL="114300" indent="-114300">
              <a:lnSpc>
                <a:spcPct val="90000"/>
              </a:lnSpc>
              <a:spcBef>
                <a:spcPts val="600"/>
              </a:spcBef>
              <a:buClr>
                <a:schemeClr val="bg1"/>
              </a:buClr>
              <a:defRPr sz="1200">
                <a:solidFill>
                  <a:schemeClr val="bg1"/>
                </a:solidFill>
              </a:defRPr>
            </a:lvl2pPr>
            <a:lvl3pPr marL="227013" indent="-114300">
              <a:lnSpc>
                <a:spcPct val="90000"/>
              </a:lnSpc>
              <a:spcBef>
                <a:spcPts val="600"/>
              </a:spcBef>
              <a:buClr>
                <a:schemeClr val="bg1"/>
              </a:buClr>
              <a:defRPr sz="1200">
                <a:solidFill>
                  <a:schemeClr val="bg1"/>
                </a:solidFill>
              </a:defRPr>
            </a:lvl3pPr>
            <a:lvl4pPr marL="344488" indent="-114300">
              <a:lnSpc>
                <a:spcPct val="90000"/>
              </a:lnSpc>
              <a:spcBef>
                <a:spcPts val="600"/>
              </a:spcBef>
              <a:buClr>
                <a:schemeClr val="bg1"/>
              </a:buClr>
              <a:defRPr sz="1200">
                <a:solidFill>
                  <a:schemeClr val="bg1"/>
                </a:solidFill>
              </a:defRPr>
            </a:lvl4pPr>
            <a:lvl5pPr>
              <a:lnSpc>
                <a:spcPct val="90000"/>
              </a:lnSpc>
              <a:buNone/>
              <a:defRPr sz="2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1561279"/>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74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Tree>
    <p:extLst>
      <p:ext uri="{BB962C8B-B14F-4D97-AF65-F5344CB8AC3E}">
        <p14:creationId xmlns:p14="http://schemas.microsoft.com/office/powerpoint/2010/main" val="106393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utaway 1/4 Left Teal_Title, Sutit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83D7523-C043-49CA-B5D0-3AB35FA94215}"/>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Single Corner Rounded 6">
            <a:extLst>
              <a:ext uri="{FF2B5EF4-FFF2-40B4-BE49-F238E27FC236}">
                <a16:creationId xmlns:a16="http://schemas.microsoft.com/office/drawing/2014/main" id="{3E8B7454-B2E6-45DE-8187-5F8EE3106B6B}"/>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Footer Placeholder 2">
            <a:extLst>
              <a:ext uri="{FF2B5EF4-FFF2-40B4-BE49-F238E27FC236}">
                <a16:creationId xmlns:a16="http://schemas.microsoft.com/office/drawing/2014/main" id="{F8AD0C50-26CB-493A-AC25-6AF9B2900E85}"/>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2382815"/>
            <a:ext cx="3211008" cy="1178143"/>
          </a:xfrm>
        </p:spPr>
        <p:txBody>
          <a:bodyPr wrap="square" anchor="b" anchorCtr="0">
            <a:spAutoFit/>
          </a:bodyPr>
          <a:lstStyle>
            <a:lvl1pPr>
              <a:lnSpc>
                <a:spcPct val="87000"/>
              </a:lnSpc>
              <a:defRPr sz="44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3639650"/>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228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utaway 1/4 Left Gun Metal_Smaller_Title, Su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2596976"/>
            <a:ext cx="3211008" cy="963982"/>
          </a:xfrm>
        </p:spPr>
        <p:txBody>
          <a:bodyPr wrap="square" anchor="b" anchorCtr="0">
            <a:spAutoFit/>
          </a:bodyPr>
          <a:lstStyle>
            <a:lvl1pPr>
              <a:lnSpc>
                <a:spcPct val="87000"/>
              </a:lnSpc>
              <a:defRPr sz="36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3639650"/>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0497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5007">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utaway 1/4 Left Gun Metal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itle 1">
            <a:extLst>
              <a:ext uri="{FF2B5EF4-FFF2-40B4-BE49-F238E27FC236}">
                <a16:creationId xmlns:a16="http://schemas.microsoft.com/office/drawing/2014/main" id="{48160D1B-D47B-4A1D-A155-B5DDBCC16A9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262845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taway 1/4 Left Midnight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1">
            <a:extLst>
              <a:ext uri="{FF2B5EF4-FFF2-40B4-BE49-F238E27FC236}">
                <a16:creationId xmlns:a16="http://schemas.microsoft.com/office/drawing/2014/main" id="{A4BB2DA5-E242-4293-87CE-393B4500B2E4}"/>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27499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utaway 1/4 Left Midnight_Mid 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1">
            <a:extLst>
              <a:ext uri="{FF2B5EF4-FFF2-40B4-BE49-F238E27FC236}">
                <a16:creationId xmlns:a16="http://schemas.microsoft.com/office/drawing/2014/main" id="{A4BB2DA5-E242-4293-87CE-393B4500B2E4}"/>
              </a:ext>
            </a:extLst>
          </p:cNvPr>
          <p:cNvSpPr>
            <a:spLocks noGrp="1"/>
          </p:cNvSpPr>
          <p:nvPr>
            <p:ph type="title"/>
          </p:nvPr>
        </p:nvSpPr>
        <p:spPr bwMode="gray">
          <a:xfrm>
            <a:off x="495299" y="1983092"/>
            <a:ext cx="3211008" cy="2891817"/>
          </a:xfrm>
        </p:spPr>
        <p:txBody>
          <a:bodyPr wrap="square" anchor="ctr" anchorCtr="0">
            <a:spAutoFit/>
          </a:bodyPr>
          <a:lstStyle>
            <a:lvl1pPr>
              <a:lnSpc>
                <a:spcPct val="87000"/>
              </a:lnSpc>
              <a:defRPr sz="5400">
                <a:solidFill>
                  <a:schemeClr val="bg1"/>
                </a:solidFill>
              </a:defRPr>
            </a:lvl1pPr>
          </a:lstStyle>
          <a:p>
            <a:r>
              <a:rPr lang="en-US"/>
              <a:t>Click to edit Master title</a:t>
            </a:r>
          </a:p>
        </p:txBody>
      </p:sp>
    </p:spTree>
    <p:extLst>
      <p:ext uri="{BB962C8B-B14F-4D97-AF65-F5344CB8AC3E}">
        <p14:creationId xmlns:p14="http://schemas.microsoft.com/office/powerpoint/2010/main" val="145063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taway 1/4 Left Blue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solidFill>
                  <a:schemeClr val="accent2">
                    <a:lumMod val="60000"/>
                    <a:lumOff val="40000"/>
                  </a:schemeClr>
                </a:solidFill>
              </a:rPr>
              <a:t>5G Broadcast Conference</a:t>
            </a:r>
          </a:p>
        </p:txBody>
      </p:sp>
      <p:sp>
        <p:nvSpPr>
          <p:cNvPr id="11" name="Title 1">
            <a:extLst>
              <a:ext uri="{FF2B5EF4-FFF2-40B4-BE49-F238E27FC236}">
                <a16:creationId xmlns:a16="http://schemas.microsoft.com/office/drawing/2014/main" id="{48160D1B-D47B-4A1D-A155-B5DDBCC16A9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38697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utaway 1/4 Left Blue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solidFill>
                  <a:schemeClr val="accent2">
                    <a:lumMod val="60000"/>
                    <a:lumOff val="40000"/>
                  </a:schemeClr>
                </a:solidFill>
              </a:rPr>
              <a:t>5G Broadcast Conference</a:t>
            </a:r>
          </a:p>
        </p:txBody>
      </p:sp>
    </p:spTree>
    <p:extLst>
      <p:ext uri="{BB962C8B-B14F-4D97-AF65-F5344CB8AC3E}">
        <p14:creationId xmlns:p14="http://schemas.microsoft.com/office/powerpoint/2010/main" val="21517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252179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utaway 1/4 Left Midnight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Tree>
    <p:extLst>
      <p:ext uri="{BB962C8B-B14F-4D97-AF65-F5344CB8AC3E}">
        <p14:creationId xmlns:p14="http://schemas.microsoft.com/office/powerpoint/2010/main" val="413199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utaway right Midnight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B407A7-8AB2-4AB2-B357-6EC60759002E}"/>
              </a:ext>
            </a:extLst>
          </p:cNvPr>
          <p:cNvSpPr/>
          <p:nvPr userDrawn="1"/>
        </p:nvSpPr>
        <p:spPr bwMode="gray">
          <a:xfrm>
            <a:off x="8458200" y="0"/>
            <a:ext cx="3733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6" name="Rectangle 5">
            <a:extLst>
              <a:ext uri="{FF2B5EF4-FFF2-40B4-BE49-F238E27FC236}">
                <a16:creationId xmlns:a16="http://schemas.microsoft.com/office/drawing/2014/main" id="{B90F8B1D-5015-418C-AEDC-38860BFFC0B8}"/>
              </a:ext>
            </a:extLst>
          </p:cNvPr>
          <p:cNvSpPr/>
          <p:nvPr userDrawn="1"/>
        </p:nvSpPr>
        <p:spPr bwMode="gray">
          <a:xfrm flipH="1">
            <a:off x="8458200"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7" name="TextBox 6">
            <a:extLst>
              <a:ext uri="{FF2B5EF4-FFF2-40B4-BE49-F238E27FC236}">
                <a16:creationId xmlns:a16="http://schemas.microsoft.com/office/drawing/2014/main" id="{8E3A51F4-266F-4CAA-8365-D1090BE1447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1" name="Footer Placeholder 2">
            <a:extLst>
              <a:ext uri="{FF2B5EF4-FFF2-40B4-BE49-F238E27FC236}">
                <a16:creationId xmlns:a16="http://schemas.microsoft.com/office/drawing/2014/main" id="{C0A83F9E-7310-45D1-88D7-20C444DC455B}"/>
              </a:ext>
            </a:extLst>
          </p:cNvPr>
          <p:cNvSpPr>
            <a:spLocks noGrp="1"/>
          </p:cNvSpPr>
          <p:nvPr>
            <p:ph type="ftr" sz="quarter" idx="16"/>
          </p:nvPr>
        </p:nvSpPr>
        <p:spPr bwMode="gray">
          <a:xfrm>
            <a:off x="8705088" y="6532895"/>
            <a:ext cx="2651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Tree>
    <p:extLst>
      <p:ext uri="{BB962C8B-B14F-4D97-AF65-F5344CB8AC3E}">
        <p14:creationId xmlns:p14="http://schemas.microsoft.com/office/powerpoint/2010/main" val="274606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157618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utaway right larger Midnight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44455B-E2DE-49A2-B14A-21578B667AAE}"/>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Rectangle 8">
            <a:extLst>
              <a:ext uri="{FF2B5EF4-FFF2-40B4-BE49-F238E27FC236}">
                <a16:creationId xmlns:a16="http://schemas.microsoft.com/office/drawing/2014/main" id="{9E4172D8-E79B-49A4-9132-18E743FFFCF3}"/>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Box 11">
            <a:extLst>
              <a:ext uri="{FF2B5EF4-FFF2-40B4-BE49-F238E27FC236}">
                <a16:creationId xmlns:a16="http://schemas.microsoft.com/office/drawing/2014/main" id="{36B870EB-94D2-4DD3-9CFA-A991C7088195}"/>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3" name="Footer Placeholder 2">
            <a:extLst>
              <a:ext uri="{FF2B5EF4-FFF2-40B4-BE49-F238E27FC236}">
                <a16:creationId xmlns:a16="http://schemas.microsoft.com/office/drawing/2014/main" id="{13E623E8-2668-460F-8492-6F71529FBB5D}"/>
              </a:ext>
            </a:extLst>
          </p:cNvPr>
          <p:cNvSpPr>
            <a:spLocks noGrp="1"/>
          </p:cNvSpPr>
          <p:nvPr>
            <p:ph type="ftr" sz="quarter" idx="3"/>
          </p:nvPr>
        </p:nvSpPr>
        <p:spPr>
          <a:xfrm>
            <a:off x="495299" y="6532895"/>
            <a:ext cx="67665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26221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utaway 1/4 Left Teal_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83D7523-C043-49CA-B5D0-3AB35FA94215}"/>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Single Corner Rounded 6">
            <a:extLst>
              <a:ext uri="{FF2B5EF4-FFF2-40B4-BE49-F238E27FC236}">
                <a16:creationId xmlns:a16="http://schemas.microsoft.com/office/drawing/2014/main" id="{3E8B7454-B2E6-45DE-8187-5F8EE3106B6B}"/>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Footer Placeholder 2">
            <a:extLst>
              <a:ext uri="{FF2B5EF4-FFF2-40B4-BE49-F238E27FC236}">
                <a16:creationId xmlns:a16="http://schemas.microsoft.com/office/drawing/2014/main" id="{F8AD0C50-26CB-493A-AC25-6AF9B2900E85}"/>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Tree>
    <p:extLst>
      <p:ext uri="{BB962C8B-B14F-4D97-AF65-F5344CB8AC3E}">
        <p14:creationId xmlns:p14="http://schemas.microsoft.com/office/powerpoint/2010/main" val="38757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3030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4629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80438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88323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4928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56501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966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8288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19814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4019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40345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3170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403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83461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32253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5369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76904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12679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85783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929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14225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5095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5G Broadcast Conference</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405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4184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955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2142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266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054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8860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758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425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491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40492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5834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50940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09343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14233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350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28637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4677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474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5705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9000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373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488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7341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1377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2114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9733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05497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9148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5538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94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7066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7070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0517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5692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0581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0942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5G Broadcast Conference</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294762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297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2712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3897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01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9047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4991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65448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48661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97205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35431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77016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30246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46279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6486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4" name="TextBox 3">
            <a:extLst>
              <a:ext uri="{FF2B5EF4-FFF2-40B4-BE49-F238E27FC236}">
                <a16:creationId xmlns:a16="http://schemas.microsoft.com/office/drawing/2014/main" id="{CC430428-0862-131C-5A1B-9C040B8A6CE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95171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0322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08282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75366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80433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14316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9461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5338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87424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90101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8060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2939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741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0389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3141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83191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7871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13378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24505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9159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22215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128889"/>
            <a:ext cx="3940004" cy="98058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15" name="TextBox 14">
            <a:extLst>
              <a:ext uri="{FF2B5EF4-FFF2-40B4-BE49-F238E27FC236}">
                <a16:creationId xmlns:a16="http://schemas.microsoft.com/office/drawing/2014/main" id="{EA5B5189-69A1-47BC-BD79-D73DFFB29359}"/>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4260FD85-9A18-4996-BED2-E9130B09695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72698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4446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7275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6377F854-B030-1E1F-537A-F62E5E18D68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805296975"/>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0A7309CB-3B44-EB85-1AD7-BB5F5DF5F6E9}"/>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72430199"/>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3" name="TextBox 2">
            <a:extLst>
              <a:ext uri="{FF2B5EF4-FFF2-40B4-BE49-F238E27FC236}">
                <a16:creationId xmlns:a16="http://schemas.microsoft.com/office/drawing/2014/main" id="{7FE17C8A-F4D9-2A7D-CF89-8A7DE13571AF}"/>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49843353"/>
      </p:ext>
    </p:extLst>
  </p:cSld>
  <p:clrMapOvr>
    <a:masterClrMapping/>
  </p:clrMapOvr>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4" name="TextBox 3">
            <a:extLst>
              <a:ext uri="{FF2B5EF4-FFF2-40B4-BE49-F238E27FC236}">
                <a16:creationId xmlns:a16="http://schemas.microsoft.com/office/drawing/2014/main" id="{CC430428-0862-131C-5A1B-9C040B8A6CE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699808727"/>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2E50025-980F-C681-ED48-CF50A3D7D21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43297199"/>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40453B6-C2F5-2063-0C2F-1BD208D06F7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127071310"/>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2496701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5596504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214ACD"/>
                </a:solidFill>
                <a:effectLst>
                  <a:innerShdw blurRad="38100" dist="25400" dir="8100000">
                    <a:prstClr val="black">
                      <a:alpha val="50000"/>
                    </a:prstClr>
                  </a:innerShdw>
                </a:effectLst>
              </a:rPr>
              <a:t>Agenda</a:t>
            </a:r>
          </a:p>
        </p:txBody>
      </p:sp>
    </p:spTree>
    <p:extLst>
      <p:ext uri="{BB962C8B-B14F-4D97-AF65-F5344CB8AC3E}">
        <p14:creationId xmlns:p14="http://schemas.microsoft.com/office/powerpoint/2010/main" val="237602956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46488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501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794134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427344734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81379713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32388654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65657481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26569937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64975193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65920200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4218803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04A89CF-52C1-C41F-D449-47AC5A56B655}"/>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260026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1842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95969794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70474231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32267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092151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10488168" cy="118174"/>
          </a:xfrm>
        </p:spPr>
        <p:txBody>
          <a:bodyPr/>
          <a:lstStyle>
            <a:lvl1pPr>
              <a:defRPr>
                <a:solidFill>
                  <a:schemeClr val="accent5">
                    <a:lumMod val="60000"/>
                    <a:lumOff val="40000"/>
                  </a:schemeClr>
                </a:solidFill>
              </a:defRPr>
            </a:lvl1pPr>
          </a:lstStyle>
          <a:p>
            <a:r>
              <a:rPr lang="en-US"/>
              <a:t>5G Broadcast Conference</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68714172"/>
      </p:ext>
    </p:extLst>
  </p:cSld>
  <p:clrMapOvr>
    <a:masterClrMapping/>
  </p:clrMapOvr>
  <p:extLst>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28500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6582604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418739022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Tree>
    <p:extLst>
      <p:ext uri="{BB962C8B-B14F-4D97-AF65-F5344CB8AC3E}">
        <p14:creationId xmlns:p14="http://schemas.microsoft.com/office/powerpoint/2010/main" val="368043909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36131042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33424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29038996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Tree>
    <p:extLst>
      <p:ext uri="{BB962C8B-B14F-4D97-AF65-F5344CB8AC3E}">
        <p14:creationId xmlns:p14="http://schemas.microsoft.com/office/powerpoint/2010/main" val="157094354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426946848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261346556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209553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110733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395031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750583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240663"/>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7242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86113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265244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9420355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5866386"/>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943592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1774714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43523322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7398996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9568200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7001081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037611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09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0433844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7705636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0578523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412730473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412033821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3305343142"/>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201690532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386768321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Tree>
    <p:extLst>
      <p:ext uri="{BB962C8B-B14F-4D97-AF65-F5344CB8AC3E}">
        <p14:creationId xmlns:p14="http://schemas.microsoft.com/office/powerpoint/2010/main" val="297484631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31482312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251419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157573870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320645912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80161530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45468649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90256608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89173796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90372533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0854269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31734592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56987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37512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58744582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2838342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3115578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8486585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9781517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5911246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1937986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11339177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47955683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317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2E50025-980F-C681-ED48-CF50A3D7D21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27033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1453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99733794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70602996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3833296408"/>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868960613"/>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25634253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272183882"/>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07246781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407162080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11321293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34810106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173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55463027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52864773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3" name="TextBox 2">
            <a:extLst>
              <a:ext uri="{FF2B5EF4-FFF2-40B4-BE49-F238E27FC236}">
                <a16:creationId xmlns:a16="http://schemas.microsoft.com/office/drawing/2014/main" id="{091E9095-698B-0FCE-B311-BA02E4AAD35D}"/>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FE136760-A84B-7DDD-A409-1DB6E5638862}"/>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011699246"/>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612D00FC-BA28-634A-6914-600460CEC862}"/>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30BC86D6-3C04-6E03-2BFC-749B0C71329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254501529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053A03F9-C01F-4015-574F-E35E7BF4A727}"/>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D3245786-770B-F1A6-CCDE-18D0534D955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101522875"/>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BAC9F69D-F705-B66D-7552-C0DC6C6F8F0C}"/>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6551B1DF-2FCE-5E8A-7F80-8DA31197AEF0}"/>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70606248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DC299A15-61E6-C7DD-AF0D-3ABDDDD7D916}"/>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6805A64E-DF6F-F24E-1FF0-BB9DAC53A3CB}"/>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42893635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193191857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26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33350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6269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5G Broadcast Conference</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130637456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
        <p:nvSpPr>
          <p:cNvPr id="23" name="Footer Placeholder 1">
            <a:extLst>
              <a:ext uri="{FF2B5EF4-FFF2-40B4-BE49-F238E27FC236}">
                <a16:creationId xmlns:a16="http://schemas.microsoft.com/office/drawing/2014/main" id="{8BA9C463-E824-4483-87A7-15FF198995A5}"/>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tx1">
                    <a:lumMod val="75000"/>
                    <a:lumOff val="25000"/>
                  </a:schemeClr>
                </a:solidFill>
              </a:defRPr>
            </a:lvl1pPr>
          </a:lstStyle>
          <a:p>
            <a:r>
              <a:rPr lang="en-US"/>
              <a:t>5G Broadcast Conference</a:t>
            </a:r>
            <a:endParaRPr lang="en-US" dirty="0"/>
          </a:p>
        </p:txBody>
      </p:sp>
    </p:spTree>
    <p:extLst>
      <p:ext uri="{BB962C8B-B14F-4D97-AF65-F5344CB8AC3E}">
        <p14:creationId xmlns:p14="http://schemas.microsoft.com/office/powerpoint/2010/main" val="72455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
        <p:nvSpPr>
          <p:cNvPr id="23" name="Footer Placeholder 1">
            <a:extLst>
              <a:ext uri="{FF2B5EF4-FFF2-40B4-BE49-F238E27FC236}">
                <a16:creationId xmlns:a16="http://schemas.microsoft.com/office/drawing/2014/main" id="{EF7F23AF-49A5-43DE-9A18-31495A90524E}"/>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90746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
        <p:nvSpPr>
          <p:cNvPr id="23" name="Footer Placeholder 1">
            <a:extLst>
              <a:ext uri="{FF2B5EF4-FFF2-40B4-BE49-F238E27FC236}">
                <a16:creationId xmlns:a16="http://schemas.microsoft.com/office/drawing/2014/main" id="{F223F20A-4729-4756-A926-28004F74B661}"/>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50617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6" name="Footer Placeholder 1">
            <a:extLst>
              <a:ext uri="{FF2B5EF4-FFF2-40B4-BE49-F238E27FC236}">
                <a16:creationId xmlns:a16="http://schemas.microsoft.com/office/drawing/2014/main" id="{0D473A44-CB08-4FB9-8BFC-9590E49F503D}"/>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99184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ource Placeholder 3">
            <a:extLst>
              <a:ext uri="{FF2B5EF4-FFF2-40B4-BE49-F238E27FC236}">
                <a16:creationId xmlns:a16="http://schemas.microsoft.com/office/drawing/2014/main" id="{3A534A9F-ECC7-400E-B31F-8482749EC652}"/>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3" name="Footer Placeholder 1">
            <a:extLst>
              <a:ext uri="{FF2B5EF4-FFF2-40B4-BE49-F238E27FC236}">
                <a16:creationId xmlns:a16="http://schemas.microsoft.com/office/drawing/2014/main" id="{6A3C7996-4C62-4BBE-B047-4F99A9262882}"/>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51747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7" name="Footer Placeholder 1">
            <a:extLst>
              <a:ext uri="{FF2B5EF4-FFF2-40B4-BE49-F238E27FC236}">
                <a16:creationId xmlns:a16="http://schemas.microsoft.com/office/drawing/2014/main" id="{15E0A53E-9101-4E98-AB51-37763A83B8DD}"/>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52499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ource Placeholder 3">
            <a:extLst>
              <a:ext uri="{FF2B5EF4-FFF2-40B4-BE49-F238E27FC236}">
                <a16:creationId xmlns:a16="http://schemas.microsoft.com/office/drawing/2014/main" id="{407643A8-B24A-47C1-ABE4-4F8ABBA6FE9B}"/>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0" name="Footer Placeholder 1">
            <a:extLst>
              <a:ext uri="{FF2B5EF4-FFF2-40B4-BE49-F238E27FC236}">
                <a16:creationId xmlns:a16="http://schemas.microsoft.com/office/drawing/2014/main" id="{424A3067-451C-46BC-A839-F0B605E1C0B7}"/>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173170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Source Placeholder 3">
            <a:extLst>
              <a:ext uri="{FF2B5EF4-FFF2-40B4-BE49-F238E27FC236}">
                <a16:creationId xmlns:a16="http://schemas.microsoft.com/office/drawing/2014/main" id="{7F58D763-6CFD-4B02-AA54-8FFB63F52CF8}"/>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0" name="Footer Placeholder 1">
            <a:extLst>
              <a:ext uri="{FF2B5EF4-FFF2-40B4-BE49-F238E27FC236}">
                <a16:creationId xmlns:a16="http://schemas.microsoft.com/office/drawing/2014/main" id="{B4A8117D-DFEE-4FA0-AB76-6693E4298567}"/>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425001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CADE0520-83B4-4091-A547-8EE4A7759368}"/>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93980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6922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Source Placeholder 3">
            <a:extLst>
              <a:ext uri="{FF2B5EF4-FFF2-40B4-BE49-F238E27FC236}">
                <a16:creationId xmlns:a16="http://schemas.microsoft.com/office/drawing/2014/main" id="{F3938959-042B-4DC5-84EC-72C329CEF2FB}"/>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924A740A-CE8C-4B57-AA8D-04519E375314}"/>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62127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Source Placeholder 3">
            <a:extLst>
              <a:ext uri="{FF2B5EF4-FFF2-40B4-BE49-F238E27FC236}">
                <a16:creationId xmlns:a16="http://schemas.microsoft.com/office/drawing/2014/main" id="{BFB6C491-3F66-46EE-8B85-2D6203C48B30}"/>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D7BF9349-D53C-4F41-94C9-328A8283037D}"/>
              </a:ext>
            </a:extLst>
          </p:cNvPr>
          <p:cNvSpPr>
            <a:spLocks noGrp="1"/>
          </p:cNvSpPr>
          <p:nvPr>
            <p:ph type="ftr" sz="quarter" idx="3"/>
          </p:nvPr>
        </p:nvSpPr>
        <p:spPr>
          <a:xfrm>
            <a:off x="1277961" y="6608786"/>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04937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Source Placeholder 3">
            <a:extLst>
              <a:ext uri="{FF2B5EF4-FFF2-40B4-BE49-F238E27FC236}">
                <a16:creationId xmlns:a16="http://schemas.microsoft.com/office/drawing/2014/main" id="{6AF10D13-F8DB-413B-A533-8458374305C9}"/>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968182CE-893E-441E-9940-3FAC4DC902E2}"/>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329909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Source Placeholder 3">
            <a:extLst>
              <a:ext uri="{FF2B5EF4-FFF2-40B4-BE49-F238E27FC236}">
                <a16:creationId xmlns:a16="http://schemas.microsoft.com/office/drawing/2014/main" id="{49F2E65F-9F1B-43BC-AE20-60EA2063E781}"/>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28206CD9-8BFC-4429-9355-ECEB7A956055}"/>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38090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Source Placeholder 3">
            <a:extLst>
              <a:ext uri="{FF2B5EF4-FFF2-40B4-BE49-F238E27FC236}">
                <a16:creationId xmlns:a16="http://schemas.microsoft.com/office/drawing/2014/main" id="{462AC461-9885-4DEB-A5B6-CC240C472C64}"/>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5EC89E23-C8E2-488A-8BE7-BFB2358F82D5}"/>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1370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Source Placeholder 3">
            <a:extLst>
              <a:ext uri="{FF2B5EF4-FFF2-40B4-BE49-F238E27FC236}">
                <a16:creationId xmlns:a16="http://schemas.microsoft.com/office/drawing/2014/main" id="{D69D3954-A6BC-4C31-899A-87BD702FF885}"/>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1CD38E87-9C23-4D85-88EB-F2FBFCFE7631}"/>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342270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Source Placeholder 3">
            <a:extLst>
              <a:ext uri="{FF2B5EF4-FFF2-40B4-BE49-F238E27FC236}">
                <a16:creationId xmlns:a16="http://schemas.microsoft.com/office/drawing/2014/main" id="{A55F2F32-3DCC-41F2-87F2-64520C080A4B}"/>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2" name="Footer Placeholder 1">
            <a:extLst>
              <a:ext uri="{FF2B5EF4-FFF2-40B4-BE49-F238E27FC236}">
                <a16:creationId xmlns:a16="http://schemas.microsoft.com/office/drawing/2014/main" id="{8F0F1E0C-BC6F-49F7-A4CD-15BD09291C43}"/>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673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85104F0A-FE74-443F-8EAD-157F4CEFA843}"/>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E6455D5F-E723-499C-94B7-0C6CE7CFC0E7}"/>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310070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B57DB301-0F4A-4872-B4A4-7BFC89CBC839}"/>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09676A53-7924-469C-96CE-74CFF1A42DFE}"/>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33590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0CB79959-E1A9-418E-9FA6-67216C3B667F}"/>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F03BA755-5B18-4932-82FA-F2FEF2C966D0}"/>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66261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387945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5F722D57-698D-41D0-A0C9-6284498B608A}"/>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A8DBD6BC-7EE3-4F85-B2D9-22F90589A829}"/>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31852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ource Placeholder 3">
            <a:extLst>
              <a:ext uri="{FF2B5EF4-FFF2-40B4-BE49-F238E27FC236}">
                <a16:creationId xmlns:a16="http://schemas.microsoft.com/office/drawing/2014/main" id="{690EBD92-166D-43F6-9FB1-B7EA2C713571}"/>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05FBE95B-1E59-44DF-8523-B0407D87F91F}"/>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36403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ource Placeholder 3">
            <a:extLst>
              <a:ext uri="{FF2B5EF4-FFF2-40B4-BE49-F238E27FC236}">
                <a16:creationId xmlns:a16="http://schemas.microsoft.com/office/drawing/2014/main" id="{68FA3629-8CD3-4FB4-8473-EB1B0750C743}"/>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DDD57723-9A35-4499-BF98-CB92A43BE8A6}"/>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16710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ource Placeholder 3">
            <a:extLst>
              <a:ext uri="{FF2B5EF4-FFF2-40B4-BE49-F238E27FC236}">
                <a16:creationId xmlns:a16="http://schemas.microsoft.com/office/drawing/2014/main" id="{7B6D810A-7911-4582-ABB8-2ED8A12FB604}"/>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6F2FAF58-40A0-49F6-BF33-E2D409FC7E14}"/>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678386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ource Placeholder 3">
            <a:extLst>
              <a:ext uri="{FF2B5EF4-FFF2-40B4-BE49-F238E27FC236}">
                <a16:creationId xmlns:a16="http://schemas.microsoft.com/office/drawing/2014/main" id="{939225BF-EFB3-445E-B5EA-2F702F8644DA}"/>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479AC16C-5DE1-4D76-B89F-C8B4341F1534}"/>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14529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p:spPr>
        <p:txBody>
          <a:bodyPr/>
          <a:lstStyle>
            <a:lvl1pPr>
              <a:defRPr lang="en-US" sz="900" dirty="0">
                <a:solidFill>
                  <a:schemeClr val="tx1">
                    <a:lumMod val="75000"/>
                    <a:lumOff val="25000"/>
                  </a:schemeClr>
                </a:solidFill>
              </a:defRPr>
            </a:lvl1pPr>
          </a:lstStyle>
          <a:p>
            <a:pPr marL="0" lvl="0" algn="r"/>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8" name="Source Placeholder 3">
            <a:extLst>
              <a:ext uri="{FF2B5EF4-FFF2-40B4-BE49-F238E27FC236}">
                <a16:creationId xmlns:a16="http://schemas.microsoft.com/office/drawing/2014/main" id="{E14BF209-9FE5-4958-97C4-BD97E88C6AAC}"/>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9" name="Footer Placeholder 1">
            <a:extLst>
              <a:ext uri="{FF2B5EF4-FFF2-40B4-BE49-F238E27FC236}">
                <a16:creationId xmlns:a16="http://schemas.microsoft.com/office/drawing/2014/main" id="{820D0387-56F3-473A-8483-4B40457B2FC8}"/>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277577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8" name="Source Placeholder 3">
            <a:extLst>
              <a:ext uri="{FF2B5EF4-FFF2-40B4-BE49-F238E27FC236}">
                <a16:creationId xmlns:a16="http://schemas.microsoft.com/office/drawing/2014/main" id="{F2079E15-2211-49FA-A07E-CA57FF3B587A}"/>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9" name="Footer Placeholder 1">
            <a:extLst>
              <a:ext uri="{FF2B5EF4-FFF2-40B4-BE49-F238E27FC236}">
                <a16:creationId xmlns:a16="http://schemas.microsoft.com/office/drawing/2014/main" id="{5FD36310-1AC3-491B-B99B-DE3C5E7F8DF0}"/>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8240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8" name="Source Placeholder 3">
            <a:extLst>
              <a:ext uri="{FF2B5EF4-FFF2-40B4-BE49-F238E27FC236}">
                <a16:creationId xmlns:a16="http://schemas.microsoft.com/office/drawing/2014/main" id="{A052BBA2-FDCC-4E34-8F12-BA80DC21A373}"/>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9" name="Footer Placeholder 1">
            <a:extLst>
              <a:ext uri="{FF2B5EF4-FFF2-40B4-BE49-F238E27FC236}">
                <a16:creationId xmlns:a16="http://schemas.microsoft.com/office/drawing/2014/main" id="{CF85FF3E-9E89-4A90-80C7-1983C07C8FD3}"/>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118218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8" name="Source Placeholder 3">
            <a:extLst>
              <a:ext uri="{FF2B5EF4-FFF2-40B4-BE49-F238E27FC236}">
                <a16:creationId xmlns:a16="http://schemas.microsoft.com/office/drawing/2014/main" id="{DD7B47EF-E750-413F-BD32-2318DD5977BB}"/>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9" name="Footer Placeholder 1">
            <a:extLst>
              <a:ext uri="{FF2B5EF4-FFF2-40B4-BE49-F238E27FC236}">
                <a16:creationId xmlns:a16="http://schemas.microsoft.com/office/drawing/2014/main" id="{8FAF8F6C-0FE0-4F3D-9407-6878D1F06637}"/>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53850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Source Placeholder 3">
            <a:extLst>
              <a:ext uri="{FF2B5EF4-FFF2-40B4-BE49-F238E27FC236}">
                <a16:creationId xmlns:a16="http://schemas.microsoft.com/office/drawing/2014/main" id="{F5AA1D31-B637-4814-ADB8-FC51AACFB4BE}"/>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2F816FD1-A72D-4208-8406-C44805BFCECE}"/>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164412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375060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Source Placeholder 3">
            <a:extLst>
              <a:ext uri="{FF2B5EF4-FFF2-40B4-BE49-F238E27FC236}">
                <a16:creationId xmlns:a16="http://schemas.microsoft.com/office/drawing/2014/main" id="{95A1A867-B30A-4DDE-80EE-F1168759680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1" name="Footer Placeholder 1">
            <a:extLst>
              <a:ext uri="{FF2B5EF4-FFF2-40B4-BE49-F238E27FC236}">
                <a16:creationId xmlns:a16="http://schemas.microsoft.com/office/drawing/2014/main" id="{375CAEBA-9D4B-4A6C-94AB-C91ED9322F67}"/>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221594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Source Placeholder 3">
            <a:extLst>
              <a:ext uri="{FF2B5EF4-FFF2-40B4-BE49-F238E27FC236}">
                <a16:creationId xmlns:a16="http://schemas.microsoft.com/office/drawing/2014/main" id="{40191523-DF94-426E-BB35-16EC73482EE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8" name="Footer Placeholder 1">
            <a:extLst>
              <a:ext uri="{FF2B5EF4-FFF2-40B4-BE49-F238E27FC236}">
                <a16:creationId xmlns:a16="http://schemas.microsoft.com/office/drawing/2014/main" id="{BAC0EB48-F3BA-4ECC-9056-B5F8D90E2224}"/>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251587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Source Placeholder 3">
            <a:extLst>
              <a:ext uri="{FF2B5EF4-FFF2-40B4-BE49-F238E27FC236}">
                <a16:creationId xmlns:a16="http://schemas.microsoft.com/office/drawing/2014/main" id="{ED0F0D27-8EF9-45F0-9A19-5C44653D3D4A}"/>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8" name="Footer Placeholder 1">
            <a:extLst>
              <a:ext uri="{FF2B5EF4-FFF2-40B4-BE49-F238E27FC236}">
                <a16:creationId xmlns:a16="http://schemas.microsoft.com/office/drawing/2014/main" id="{7640E6C5-F792-4169-8BB8-D1C786A816D4}"/>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91821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Source Placeholder 3">
            <a:extLst>
              <a:ext uri="{FF2B5EF4-FFF2-40B4-BE49-F238E27FC236}">
                <a16:creationId xmlns:a16="http://schemas.microsoft.com/office/drawing/2014/main" id="{32EF2D8D-CC3D-4D5B-9069-9055B4D9C837}"/>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4" name="Footer Placeholder 1">
            <a:extLst>
              <a:ext uri="{FF2B5EF4-FFF2-40B4-BE49-F238E27FC236}">
                <a16:creationId xmlns:a16="http://schemas.microsoft.com/office/drawing/2014/main" id="{6CC744BA-D4F0-47A8-BE62-FF1665C259A4}"/>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270132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Source Placeholder 3">
            <a:extLst>
              <a:ext uri="{FF2B5EF4-FFF2-40B4-BE49-F238E27FC236}">
                <a16:creationId xmlns:a16="http://schemas.microsoft.com/office/drawing/2014/main" id="{7C34561E-BAAB-4513-9DFA-94AADADE9DD9}"/>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5" name="Footer Placeholder 1">
            <a:extLst>
              <a:ext uri="{FF2B5EF4-FFF2-40B4-BE49-F238E27FC236}">
                <a16:creationId xmlns:a16="http://schemas.microsoft.com/office/drawing/2014/main" id="{6064951D-1F9A-4A78-9E4C-FB881AF577D5}"/>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85899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Source Placeholder 3">
            <a:extLst>
              <a:ext uri="{FF2B5EF4-FFF2-40B4-BE49-F238E27FC236}">
                <a16:creationId xmlns:a16="http://schemas.microsoft.com/office/drawing/2014/main" id="{51208489-B52D-43EB-82BE-7D211DD7E01D}"/>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
        <p:nvSpPr>
          <p:cNvPr id="15" name="Footer Placeholder 1">
            <a:extLst>
              <a:ext uri="{FF2B5EF4-FFF2-40B4-BE49-F238E27FC236}">
                <a16:creationId xmlns:a16="http://schemas.microsoft.com/office/drawing/2014/main" id="{654EFD80-82D8-483B-848B-BB2C9967504C}"/>
              </a:ext>
            </a:extLst>
          </p:cNvPr>
          <p:cNvSpPr>
            <a:spLocks noGrp="1"/>
          </p:cNvSpPr>
          <p:nvPr>
            <p:ph type="ftr" sz="quarter" idx="3"/>
          </p:nvPr>
        </p:nvSpPr>
        <p:spPr>
          <a:xfrm>
            <a:off x="1277961" y="6599455"/>
            <a:ext cx="10223342" cy="138243"/>
          </a:xfrm>
          <a:prstGeom prst="rect">
            <a:avLst/>
          </a:prstGeom>
        </p:spPr>
        <p:txBody>
          <a:bodyPr/>
          <a:lstStyle>
            <a:lvl1pPr>
              <a:defRPr lang="en-US" smtClean="0"/>
            </a:lvl1pPr>
          </a:lstStyle>
          <a:p>
            <a:r>
              <a:rPr lang="en-US"/>
              <a:t>5G Broadcast Conference</a:t>
            </a:r>
            <a:endParaRPr lang="en-US" dirty="0"/>
          </a:p>
        </p:txBody>
      </p:sp>
    </p:spTree>
    <p:extLst>
      <p:ext uri="{BB962C8B-B14F-4D97-AF65-F5344CB8AC3E}">
        <p14:creationId xmlns:p14="http://schemas.microsoft.com/office/powerpoint/2010/main" val="3664736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8" name="Footer Placeholder 1">
            <a:extLst>
              <a:ext uri="{FF2B5EF4-FFF2-40B4-BE49-F238E27FC236}">
                <a16:creationId xmlns:a16="http://schemas.microsoft.com/office/drawing/2014/main" id="{E6CA8E1B-423D-484C-8FEC-D1D3C9A749AB}"/>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96038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8" name="Footer Placeholder 1">
            <a:extLst>
              <a:ext uri="{FF2B5EF4-FFF2-40B4-BE49-F238E27FC236}">
                <a16:creationId xmlns:a16="http://schemas.microsoft.com/office/drawing/2014/main" id="{B3576012-87FF-4CFC-AF3C-723C03E19404}"/>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291712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8" name="Footer Placeholder 1">
            <a:extLst>
              <a:ext uri="{FF2B5EF4-FFF2-40B4-BE49-F238E27FC236}">
                <a16:creationId xmlns:a16="http://schemas.microsoft.com/office/drawing/2014/main" id="{154C57DB-D2CA-46C6-BFB3-E5ACFFDD1F57}"/>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96293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8" name="Footer Placeholder 1">
            <a:extLst>
              <a:ext uri="{FF2B5EF4-FFF2-40B4-BE49-F238E27FC236}">
                <a16:creationId xmlns:a16="http://schemas.microsoft.com/office/drawing/2014/main" id="{A6A67EED-611E-4C6F-B796-63B99B95C8EE}"/>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211892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392132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4" name="TextBox 23">
            <a:extLst>
              <a:ext uri="{FF2B5EF4-FFF2-40B4-BE49-F238E27FC236}">
                <a16:creationId xmlns:a16="http://schemas.microsoft.com/office/drawing/2014/main" id="{A0D1291E-11C9-4F3C-8AF2-C3D3F39CD8C3}"/>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7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BB4C696-1F8D-47AC-BB50-8560CDC5DBC0}"/>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Footer Placeholder 1">
            <a:extLst>
              <a:ext uri="{FF2B5EF4-FFF2-40B4-BE49-F238E27FC236}">
                <a16:creationId xmlns:a16="http://schemas.microsoft.com/office/drawing/2014/main" id="{E8DC74FE-99A1-4A08-A3B6-D034187311A8}"/>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65272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E3D41323-F432-4C3D-BE0B-589E8B9EF662}"/>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7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1883F6C7-89ED-402D-8867-38A5D4811C28}"/>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7" name="Footer Placeholder 1">
            <a:extLst>
              <a:ext uri="{FF2B5EF4-FFF2-40B4-BE49-F238E27FC236}">
                <a16:creationId xmlns:a16="http://schemas.microsoft.com/office/drawing/2014/main" id="{42A77E8D-976B-4B11-8552-69EA2B324507}"/>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00987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D15743D6-A7AC-4C33-8816-AB57AC7D2843}"/>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7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3E12B4F-BF66-45AC-8E00-030AF8945083}"/>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7" name="Footer Placeholder 1">
            <a:extLst>
              <a:ext uri="{FF2B5EF4-FFF2-40B4-BE49-F238E27FC236}">
                <a16:creationId xmlns:a16="http://schemas.microsoft.com/office/drawing/2014/main" id="{955109D8-9602-4FD0-851D-4FED256EF785}"/>
              </a:ext>
            </a:extLst>
          </p:cNvPr>
          <p:cNvSpPr>
            <a:spLocks noGrp="1"/>
          </p:cNvSpPr>
          <p:nvPr>
            <p:ph type="ftr" sz="quarter" idx="3"/>
          </p:nvPr>
        </p:nvSpPr>
        <p:spPr>
          <a:xfrm>
            <a:off x="1277961" y="6599455"/>
            <a:ext cx="10223342" cy="138243"/>
          </a:xfrm>
          <a:prstGeom prst="rect">
            <a:avLst/>
          </a:prstGeom>
        </p:spPr>
        <p:txBody>
          <a:bodyPr/>
          <a:lstStyle>
            <a:lvl1pPr>
              <a:defRPr lang="en-US" smtClean="0">
                <a:solidFill>
                  <a:schemeClr val="bg1"/>
                </a:solidFill>
              </a:defRPr>
            </a:lvl1pPr>
          </a:lstStyle>
          <a:p>
            <a:r>
              <a:rPr lang="en-US"/>
              <a:t>5G Broadcast Conference</a:t>
            </a:r>
            <a:endParaRPr lang="en-US" dirty="0"/>
          </a:p>
        </p:txBody>
      </p:sp>
    </p:spTree>
    <p:extLst>
      <p:ext uri="{BB962C8B-B14F-4D97-AF65-F5344CB8AC3E}">
        <p14:creationId xmlns:p14="http://schemas.microsoft.com/office/powerpoint/2010/main" val="184871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9F9F9"/>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299" y="405403"/>
            <a:ext cx="11187112" cy="361959"/>
          </a:xfrm>
        </p:spPr>
        <p:txBody>
          <a:bodyPr/>
          <a:lstStyle>
            <a:lvl1pPr>
              <a:defRPr b="1">
                <a:effectLst/>
              </a:defRPr>
            </a:lvl1p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186070"/>
            <a:ext cx="11187112" cy="52955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36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288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050714"/>
            <a:ext cx="11210544" cy="5295222"/>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
        <p:nvSpPr>
          <p:cNvPr id="9" name="TextBox 8">
            <a:extLst>
              <a:ext uri="{FF2B5EF4-FFF2-40B4-BE49-F238E27FC236}">
                <a16:creationId xmlns:a16="http://schemas.microsoft.com/office/drawing/2014/main" id="{81EAD789-099B-4914-BEBB-980FCCEB0617}"/>
              </a:ext>
            </a:extLst>
          </p:cNvPr>
          <p:cNvSpPr txBox="1"/>
          <p:nvPr userDrawn="1"/>
        </p:nvSpPr>
        <p:spPr>
          <a:xfrm>
            <a:off x="7185132" y="6530655"/>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Tree>
    <p:extLst>
      <p:ext uri="{BB962C8B-B14F-4D97-AF65-F5344CB8AC3E}">
        <p14:creationId xmlns:p14="http://schemas.microsoft.com/office/powerpoint/2010/main" val="409656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5G Broadcast Conference</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323322559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1"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1" y="1"/>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6"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6" y="3602037"/>
            <a:ext cx="8791575" cy="1655763"/>
          </a:xfrm>
        </p:spPr>
        <p:txBody>
          <a:bodyPr>
            <a:normAutofit/>
          </a:bodyPr>
          <a:lstStyle>
            <a:lvl1pPr marL="0" indent="0" algn="l">
              <a:buNone/>
              <a:defRPr sz="2000" cap="all" baseline="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2"/>
            <a:ext cx="2743200" cy="365125"/>
          </a:xfrm>
        </p:spPr>
        <p:txBody>
          <a:bodyPr/>
          <a:lstStyle/>
          <a:p>
            <a:r>
              <a:rPr lang="en-US"/>
              <a:t>9/25/2025</a:t>
            </a:r>
          </a:p>
        </p:txBody>
      </p:sp>
      <p:sp>
        <p:nvSpPr>
          <p:cNvPr id="5" name="Footer Placeholder 4"/>
          <p:cNvSpPr>
            <a:spLocks noGrp="1"/>
          </p:cNvSpPr>
          <p:nvPr>
            <p:ph type="ftr" sz="quarter" idx="11"/>
          </p:nvPr>
        </p:nvSpPr>
        <p:spPr>
          <a:xfrm>
            <a:off x="1876425" y="5410202"/>
            <a:ext cx="5124887" cy="365125"/>
          </a:xfrm>
        </p:spPr>
        <p:txBody>
          <a:bodyPr/>
          <a:lstStyle/>
          <a:p>
            <a:r>
              <a:rPr lang="en-US"/>
              <a:t>5G Broadcast Conference</a:t>
            </a:r>
          </a:p>
        </p:txBody>
      </p:sp>
      <p:sp>
        <p:nvSpPr>
          <p:cNvPr id="6" name="Slide Number Placeholder 5"/>
          <p:cNvSpPr>
            <a:spLocks noGrp="1"/>
          </p:cNvSpPr>
          <p:nvPr>
            <p:ph type="sldNum" sz="quarter" idx="12"/>
          </p:nvPr>
        </p:nvSpPr>
        <p:spPr>
          <a:xfrm>
            <a:off x="9896913" y="5410200"/>
            <a:ext cx="771089" cy="365125"/>
          </a:xfrm>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2362844443"/>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9/25/2025</a:t>
            </a:r>
          </a:p>
        </p:txBody>
      </p:sp>
      <p:sp>
        <p:nvSpPr>
          <p:cNvPr id="5" name="Footer Placeholder 4"/>
          <p:cNvSpPr>
            <a:spLocks noGrp="1"/>
          </p:cNvSpPr>
          <p:nvPr>
            <p:ph type="ftr" sz="quarter" idx="11"/>
          </p:nvPr>
        </p:nvSpPr>
        <p:spPr/>
        <p:txBody>
          <a:bodyPr/>
          <a:lstStyle/>
          <a:p>
            <a:r>
              <a:rPr lang="en-US"/>
              <a:t>5G Broadcast Conference</a:t>
            </a:r>
          </a:p>
        </p:txBody>
      </p:sp>
      <p:sp>
        <p:nvSpPr>
          <p:cNvPr id="6" name="Slide Number Placeholder 5"/>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97795164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8"/>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3"/>
            <a:ext cx="9906000" cy="1374776"/>
          </a:xfrm>
        </p:spPr>
        <p:txBody>
          <a:bodyPr>
            <a:normAutofit/>
          </a:bodyPr>
          <a:lstStyle>
            <a:lvl1pPr marL="0" indent="0">
              <a:buNone/>
              <a:defRPr sz="1800" cap="all" baseline="0">
                <a:solidFill>
                  <a:schemeClr val="tx1">
                    <a:tint val="75000"/>
                  </a:schemeClr>
                </a:solidFill>
              </a:defRPr>
            </a:lvl1pPr>
            <a:lvl2pPr marL="457189" indent="0">
              <a:buNone/>
              <a:defRPr sz="18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9/25/2025</a:t>
            </a:r>
          </a:p>
        </p:txBody>
      </p:sp>
      <p:sp>
        <p:nvSpPr>
          <p:cNvPr id="5" name="Footer Placeholder 4"/>
          <p:cNvSpPr>
            <a:spLocks noGrp="1"/>
          </p:cNvSpPr>
          <p:nvPr>
            <p:ph type="ftr" sz="quarter" idx="11"/>
          </p:nvPr>
        </p:nvSpPr>
        <p:spPr/>
        <p:txBody>
          <a:bodyPr/>
          <a:lstStyle/>
          <a:p>
            <a:r>
              <a:rPr lang="en-US"/>
              <a:t>5G Broadcast Conference</a:t>
            </a:r>
          </a:p>
        </p:txBody>
      </p:sp>
      <p:sp>
        <p:nvSpPr>
          <p:cNvPr id="6" name="Slide Number Placeholder 5"/>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3185432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340231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1" y="2249485"/>
            <a:ext cx="4878389" cy="35417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1" y="2249485"/>
            <a:ext cx="4875211" cy="35417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526294503"/>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8"/>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21" y="2249487"/>
            <a:ext cx="4649783" cy="823912"/>
          </a:xfrm>
        </p:spPr>
        <p:txBody>
          <a:bodyPr anchor="b"/>
          <a:lstStyle>
            <a:lvl1pPr marL="0" indent="0">
              <a:lnSpc>
                <a:spcPct val="90000"/>
              </a:lnSpc>
              <a:buNone/>
              <a:defRPr sz="24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1" y="3073398"/>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3" cy="823912"/>
          </a:xfrm>
        </p:spPr>
        <p:txBody>
          <a:bodyPr anchor="b"/>
          <a:lstStyle>
            <a:lvl1pPr marL="0" indent="0">
              <a:lnSpc>
                <a:spcPct val="90000"/>
              </a:lnSpc>
              <a:buNone/>
              <a:defRPr sz="24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8"/>
            <a:ext cx="487521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r>
              <a:rPr lang="en-US"/>
              <a:t>9/25/2025</a:t>
            </a:r>
          </a:p>
        </p:txBody>
      </p:sp>
      <p:sp>
        <p:nvSpPr>
          <p:cNvPr id="8" name="Footer Placeholder 7"/>
          <p:cNvSpPr>
            <a:spLocks noGrp="1"/>
          </p:cNvSpPr>
          <p:nvPr>
            <p:ph type="ftr" sz="quarter" idx="11"/>
          </p:nvPr>
        </p:nvSpPr>
        <p:spPr/>
        <p:txBody>
          <a:bodyPr/>
          <a:lstStyle/>
          <a:p>
            <a:r>
              <a:rPr lang="en-US"/>
              <a:t>5G Broadcast Conference</a:t>
            </a:r>
          </a:p>
        </p:txBody>
      </p:sp>
      <p:sp>
        <p:nvSpPr>
          <p:cNvPr id="9" name="Slide Number Placeholder 8"/>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3179349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25/2025</a:t>
            </a:r>
          </a:p>
        </p:txBody>
      </p:sp>
      <p:sp>
        <p:nvSpPr>
          <p:cNvPr id="4" name="Footer Placeholder 3"/>
          <p:cNvSpPr>
            <a:spLocks noGrp="1"/>
          </p:cNvSpPr>
          <p:nvPr>
            <p:ph type="ftr" sz="quarter" idx="11"/>
          </p:nvPr>
        </p:nvSpPr>
        <p:spPr/>
        <p:txBody>
          <a:bodyPr/>
          <a:lstStyle/>
          <a:p>
            <a:r>
              <a:rPr lang="en-US"/>
              <a:t>5G Broadcast Conference</a:t>
            </a:r>
          </a:p>
        </p:txBody>
      </p:sp>
      <p:sp>
        <p:nvSpPr>
          <p:cNvPr id="5" name="Slide Number Placeholder 4"/>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3155033350"/>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9/25/2025</a:t>
            </a:r>
          </a:p>
        </p:txBody>
      </p:sp>
      <p:sp>
        <p:nvSpPr>
          <p:cNvPr id="3" name="Footer Placeholder 2"/>
          <p:cNvSpPr>
            <a:spLocks noGrp="1"/>
          </p:cNvSpPr>
          <p:nvPr>
            <p:ph type="ftr" sz="quarter" idx="11"/>
          </p:nvPr>
        </p:nvSpPr>
        <p:spPr/>
        <p:txBody>
          <a:bodyPr/>
          <a:lstStyle/>
          <a:p>
            <a:r>
              <a:rPr lang="en-US"/>
              <a:t>5G Broadcast Conference</a:t>
            </a:r>
          </a:p>
        </p:txBody>
      </p:sp>
      <p:sp>
        <p:nvSpPr>
          <p:cNvPr id="4" name="Slide Number Placeholder 3"/>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4129151228"/>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6" y="609602"/>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1" y="592666"/>
            <a:ext cx="5891209" cy="5198535"/>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6" y="2249485"/>
            <a:ext cx="3856037" cy="3541715"/>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3825393381"/>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4" y="609601"/>
            <a:ext cx="5934508" cy="1639887"/>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2"/>
            <a:ext cx="3666691"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1" y="2249485"/>
            <a:ext cx="5934511" cy="3541715"/>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3838336"/>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4304665"/>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5"/>
            <a:ext cx="9912355" cy="3299779"/>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5" y="5124020"/>
            <a:ext cx="9910859" cy="682472"/>
          </a:xfrm>
        </p:spPr>
        <p:txBody>
          <a:bodyPr>
            <a:normAutofit/>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715806028"/>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7"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1" y="4419601"/>
            <a:ext cx="9904459" cy="1371599"/>
          </a:xfrm>
        </p:spPr>
        <p:txBody>
          <a:bodyPr anchor="ctr">
            <a:normAutofit/>
          </a:bodyPr>
          <a:lstStyle>
            <a:lvl1pPr marL="0" indent="0">
              <a:buNone/>
              <a:defRPr sz="18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200816180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5" y="3365557"/>
            <a:ext cx="8752299" cy="548968"/>
          </a:xfrm>
        </p:spPr>
        <p:txBody>
          <a:bodyPr anchor="t">
            <a:normAutofit/>
          </a:bodyPr>
          <a:lstStyle>
            <a:lvl1pPr marL="0" indent="0">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3" cy="1489496"/>
          </a:xfrm>
        </p:spPr>
        <p:txBody>
          <a:bodyPr anchor="ctr">
            <a:normAutofit/>
          </a:bodyPr>
          <a:lstStyle>
            <a:lvl1pPr marL="0" indent="0">
              <a:buNone/>
              <a:defRPr sz="18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
        <p:nvSpPr>
          <p:cNvPr id="60" name="TextBox 59"/>
          <p:cNvSpPr txBox="1"/>
          <p:nvPr/>
        </p:nvSpPr>
        <p:spPr>
          <a:xfrm>
            <a:off x="903512" y="73239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1"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171027481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2"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5" y="4657655"/>
            <a:ext cx="9904505" cy="1140644"/>
          </a:xfrm>
        </p:spPr>
        <p:txBody>
          <a:bodyPr anchor="t">
            <a:normAutofit/>
          </a:bodyPr>
          <a:lstStyle>
            <a:lvl1pPr marL="0" indent="0">
              <a:buNone/>
              <a:defRPr sz="18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9/25/2025</a:t>
            </a:r>
          </a:p>
        </p:txBody>
      </p:sp>
      <p:sp>
        <p:nvSpPr>
          <p:cNvPr id="6" name="Footer Placeholder 5"/>
          <p:cNvSpPr>
            <a:spLocks noGrp="1"/>
          </p:cNvSpPr>
          <p:nvPr>
            <p:ph type="ftr" sz="quarter" idx="11"/>
          </p:nvPr>
        </p:nvSpPr>
        <p:spPr/>
        <p:txBody>
          <a:bodyPr/>
          <a:lstStyle/>
          <a:p>
            <a:r>
              <a:rPr lang="en-US"/>
              <a:t>5G Broadcast Conference</a:t>
            </a:r>
          </a:p>
        </p:txBody>
      </p:sp>
      <p:sp>
        <p:nvSpPr>
          <p:cNvPr id="7" name="Slide Number Placeholder 6"/>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18485724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275037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4" y="609600"/>
            <a:ext cx="9905999"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1" y="2674463"/>
            <a:ext cx="3196899" cy="685800"/>
          </a:xfrm>
        </p:spPr>
        <p:txBody>
          <a:bodyPr anchor="b">
            <a:noAutofit/>
          </a:bodyPr>
          <a:lstStyle>
            <a:lvl1pPr marL="0" indent="0">
              <a:lnSpc>
                <a:spcPct val="90000"/>
              </a:lnSpc>
              <a:buNone/>
              <a:defRPr sz="24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9" y="3360263"/>
            <a:ext cx="3208735" cy="2430936"/>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8" y="2677635"/>
            <a:ext cx="3184385" cy="685800"/>
          </a:xfrm>
        </p:spPr>
        <p:txBody>
          <a:bodyPr anchor="b">
            <a:noAutofit/>
          </a:bodyPr>
          <a:lstStyle>
            <a:lvl1pPr marL="0" indent="0">
              <a:lnSpc>
                <a:spcPct val="90000"/>
              </a:lnSpc>
              <a:buNone/>
              <a:defRPr sz="24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4" y="3363435"/>
            <a:ext cx="3195831" cy="2430936"/>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3" y="2674463"/>
            <a:ext cx="3194968" cy="685800"/>
          </a:xfrm>
        </p:spPr>
        <p:txBody>
          <a:bodyPr anchor="b">
            <a:noAutofit/>
          </a:bodyPr>
          <a:lstStyle>
            <a:lvl1pPr marL="0" indent="0">
              <a:lnSpc>
                <a:spcPct val="90000"/>
              </a:lnSpc>
              <a:buNone/>
              <a:defRPr sz="24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3" y="3360263"/>
            <a:ext cx="3194968" cy="2430936"/>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r>
              <a:rPr lang="en-US"/>
              <a:t>9/25/2025</a:t>
            </a:r>
          </a:p>
        </p:txBody>
      </p:sp>
      <p:sp>
        <p:nvSpPr>
          <p:cNvPr id="4" name="Footer Placeholder 3"/>
          <p:cNvSpPr>
            <a:spLocks noGrp="1"/>
          </p:cNvSpPr>
          <p:nvPr>
            <p:ph type="ftr" sz="quarter" idx="11"/>
          </p:nvPr>
        </p:nvSpPr>
        <p:spPr/>
        <p:txBody>
          <a:bodyPr/>
          <a:lstStyle/>
          <a:p>
            <a:r>
              <a:rPr lang="en-US"/>
              <a:t>5G Broadcast Conference</a:t>
            </a:r>
          </a:p>
        </p:txBody>
      </p:sp>
      <p:sp>
        <p:nvSpPr>
          <p:cNvPr id="5" name="Slide Number Placeholder 4"/>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87434865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3"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7"/>
            <a:ext cx="3195240" cy="576263"/>
          </a:xfrm>
        </p:spPr>
        <p:txBody>
          <a:bodyPr anchor="b">
            <a:noAutofit/>
          </a:bodyPr>
          <a:lstStyle>
            <a:lvl1pPr marL="0" indent="0">
              <a:lnSpc>
                <a:spcPct val="90000"/>
              </a:lnSpc>
              <a:buNone/>
              <a:defRPr sz="20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9"/>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9"/>
            <a:ext cx="3195240" cy="817843"/>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7"/>
            <a:ext cx="3200400" cy="576263"/>
          </a:xfrm>
        </p:spPr>
        <p:txBody>
          <a:bodyPr anchor="b">
            <a:noAutofit/>
          </a:bodyPr>
          <a:lstStyle>
            <a:lvl1pPr marL="0" indent="0">
              <a:lnSpc>
                <a:spcPct val="90000"/>
              </a:lnSpc>
              <a:buNone/>
              <a:defRPr sz="20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4" y="2666999"/>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8"/>
            <a:ext cx="3200400" cy="810343"/>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8" y="4404595"/>
            <a:ext cx="3190741" cy="576263"/>
          </a:xfrm>
        </p:spPr>
        <p:txBody>
          <a:bodyPr anchor="b">
            <a:noAutofit/>
          </a:bodyPr>
          <a:lstStyle>
            <a:lvl1pPr marL="0" indent="0">
              <a:lnSpc>
                <a:spcPct val="90000"/>
              </a:lnSpc>
              <a:buNone/>
              <a:defRPr sz="2000" b="0" cap="all"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4" y="2666999"/>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3" y="4980856"/>
            <a:ext cx="3194968" cy="810345"/>
          </a:xfrm>
        </p:spPr>
        <p:txBody>
          <a:bodyPr anchor="t">
            <a:normAutofit/>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r>
              <a:rPr lang="en-US"/>
              <a:t>9/25/2025</a:t>
            </a:r>
          </a:p>
        </p:txBody>
      </p:sp>
      <p:sp>
        <p:nvSpPr>
          <p:cNvPr id="4" name="Footer Placeholder 3"/>
          <p:cNvSpPr>
            <a:spLocks noGrp="1"/>
          </p:cNvSpPr>
          <p:nvPr>
            <p:ph type="ftr" sz="quarter" idx="11"/>
          </p:nvPr>
        </p:nvSpPr>
        <p:spPr/>
        <p:txBody>
          <a:bodyPr/>
          <a:lstStyle/>
          <a:p>
            <a:r>
              <a:rPr lang="en-US"/>
              <a:t>5G Broadcast Conference</a:t>
            </a:r>
          </a:p>
        </p:txBody>
      </p:sp>
      <p:sp>
        <p:nvSpPr>
          <p:cNvPr id="5" name="Slide Number Placeholder 4"/>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2393087088"/>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9/25/2025</a:t>
            </a:r>
          </a:p>
        </p:txBody>
      </p:sp>
      <p:sp>
        <p:nvSpPr>
          <p:cNvPr id="5" name="Footer Placeholder 4"/>
          <p:cNvSpPr>
            <a:spLocks noGrp="1"/>
          </p:cNvSpPr>
          <p:nvPr>
            <p:ph type="ftr" sz="quarter" idx="11"/>
          </p:nvPr>
        </p:nvSpPr>
        <p:spPr/>
        <p:txBody>
          <a:bodyPr/>
          <a:lstStyle/>
          <a:p>
            <a:r>
              <a:rPr lang="en-US"/>
              <a:t>5G Broadcast Conference</a:t>
            </a:r>
          </a:p>
        </p:txBody>
      </p:sp>
      <p:sp>
        <p:nvSpPr>
          <p:cNvPr id="6" name="Slide Number Placeholder 5"/>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494254633"/>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1" y="609601"/>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601"/>
            <a:ext cx="7748591"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9/25/2025</a:t>
            </a:r>
          </a:p>
        </p:txBody>
      </p:sp>
      <p:sp>
        <p:nvSpPr>
          <p:cNvPr id="5" name="Footer Placeholder 4"/>
          <p:cNvSpPr>
            <a:spLocks noGrp="1"/>
          </p:cNvSpPr>
          <p:nvPr>
            <p:ph type="ftr" sz="quarter" idx="11"/>
          </p:nvPr>
        </p:nvSpPr>
        <p:spPr/>
        <p:txBody>
          <a:bodyPr/>
          <a:lstStyle/>
          <a:p>
            <a:r>
              <a:rPr lang="en-US"/>
              <a:t>5G Broadcast Conference</a:t>
            </a:r>
          </a:p>
        </p:txBody>
      </p:sp>
      <p:sp>
        <p:nvSpPr>
          <p:cNvPr id="6" name="Slide Number Placeholder 5"/>
          <p:cNvSpPr>
            <a:spLocks noGrp="1"/>
          </p:cNvSpPr>
          <p:nvPr>
            <p:ph type="sldNum" sz="quarter" idx="12"/>
          </p:nvPr>
        </p:nvSpPr>
        <p:spPr/>
        <p:txBody>
          <a:bodyPr/>
          <a:lstStyle/>
          <a:p>
            <a:fld id="{811FFCC4-8AA7-4FB5-BDD1-894CCF9ADE29}" type="slidenum">
              <a:rPr lang="en-US" smtClean="0"/>
              <a:t>‹#›</a:t>
            </a:fld>
            <a:endParaRPr lang="en-US"/>
          </a:p>
        </p:txBody>
      </p:sp>
    </p:spTree>
    <p:extLst>
      <p:ext uri="{BB962C8B-B14F-4D97-AF65-F5344CB8AC3E}">
        <p14:creationId xmlns:p14="http://schemas.microsoft.com/office/powerpoint/2010/main" val="384935938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6377F854-B030-1E1F-537A-F62E5E18D68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45122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9" y="512166"/>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0A7309CB-3B44-EB85-1AD7-BB5F5DF5F6E9}"/>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60316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7" y="5521262"/>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3" name="TextBox 2">
            <a:extLst>
              <a:ext uri="{FF2B5EF4-FFF2-40B4-BE49-F238E27FC236}">
                <a16:creationId xmlns:a16="http://schemas.microsoft.com/office/drawing/2014/main" id="{7FE17C8A-F4D9-2A7D-CF89-8A7DE13571AF}"/>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6">
                    <a:lumMod val="75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52789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4" name="TextBox 3">
            <a:extLst>
              <a:ext uri="{FF2B5EF4-FFF2-40B4-BE49-F238E27FC236}">
                <a16:creationId xmlns:a16="http://schemas.microsoft.com/office/drawing/2014/main" id="{CC430428-0862-131C-5A1B-9C040B8A6CE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2">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01886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70" y="5527627"/>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2E50025-980F-C681-ED48-CF50A3D7D211}"/>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6">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75699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7" y="5515915"/>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40453B6-C2F5-2063-0C2F-1BD208D06F7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226744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Tree>
    <p:extLst>
      <p:ext uri="{BB962C8B-B14F-4D97-AF65-F5344CB8AC3E}">
        <p14:creationId xmlns:p14="http://schemas.microsoft.com/office/powerpoint/2010/main" val="316116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2286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9993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214ACD"/>
                </a:solidFill>
                <a:effectLst>
                  <a:innerShdw blurRad="38100" dist="25400" dir="8100000">
                    <a:prstClr val="black">
                      <a:alpha val="50000"/>
                    </a:prstClr>
                  </a:innerShdw>
                </a:effectLst>
              </a:rPr>
              <a:t>Agenda</a:t>
            </a:r>
          </a:p>
        </p:txBody>
      </p:sp>
    </p:spTree>
    <p:extLst>
      <p:ext uri="{BB962C8B-B14F-4D97-AF65-F5344CB8AC3E}">
        <p14:creationId xmlns:p14="http://schemas.microsoft.com/office/powerpoint/2010/main" val="403454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6338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8463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300" y="-127003"/>
            <a:ext cx="973371" cy="6482083"/>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7"/>
            <a:ext cx="9148989" cy="5339923"/>
          </a:xfrm>
          <a:prstGeom prst="rect">
            <a:avLst/>
          </a:prstGeom>
        </p:spPr>
        <p:txBody>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0" y="3007721"/>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53437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300" y="-127003"/>
            <a:ext cx="973371" cy="6482083"/>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7"/>
            <a:ext cx="9148989" cy="5339923"/>
          </a:xfrm>
          <a:prstGeom prst="rect">
            <a:avLst/>
          </a:prstGeom>
        </p:spPr>
        <p:txBody>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0" y="3007721"/>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49049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300" y="-127003"/>
            <a:ext cx="973371" cy="6482083"/>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24816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300" y="-127003"/>
            <a:ext cx="973371" cy="6482083"/>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55302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300" y="-127003"/>
            <a:ext cx="973371" cy="6482083"/>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638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3" name="TextBox 2">
            <a:extLst>
              <a:ext uri="{FF2B5EF4-FFF2-40B4-BE49-F238E27FC236}">
                <a16:creationId xmlns:a16="http://schemas.microsoft.com/office/drawing/2014/main" id="{A40453B6-C2F5-2063-0C2F-1BD208D06F78}"/>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12020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269435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300" y="-127003"/>
            <a:ext cx="973371" cy="6482083"/>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79576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300" y="-127003"/>
            <a:ext cx="973371" cy="6482083"/>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811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7"/>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89618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04A89CF-52C1-C41F-D449-47AC5A56B655}"/>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338994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52587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6"/>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736109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6"/>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6"/>
            <a:ext cx="7392135" cy="236347"/>
          </a:xfrm>
          <a:prstGeom prst="rect">
            <a:avLst/>
          </a:prstGeom>
        </p:spPr>
        <p:txBody>
          <a:bodyPr wrap="square">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3" y="2058988"/>
            <a:ext cx="2867027" cy="411162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89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1" y="3134574"/>
            <a:ext cx="2608263" cy="723959"/>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90" y="3942417"/>
            <a:ext cx="2608263" cy="472695"/>
          </a:xfrm>
          <a:prstGeom prst="rect">
            <a:avLst/>
          </a:prstGeom>
        </p:spPr>
        <p:txBody>
          <a:bodyPr wrap="square">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3845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10488168" cy="118175"/>
          </a:xfrm>
        </p:spPr>
        <p:txBody>
          <a:bodyPr/>
          <a:lstStyle>
            <a:lvl1pPr>
              <a:defRPr>
                <a:solidFill>
                  <a:schemeClr val="accent5">
                    <a:lumMod val="60000"/>
                    <a:lumOff val="40000"/>
                  </a:schemeClr>
                </a:solidFill>
              </a:defRPr>
            </a:lvl1pPr>
          </a:lstStyle>
          <a:p>
            <a:r>
              <a:rPr lang="en-US"/>
              <a:t>5G Broadcast Conference</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2623"/>
            <a:ext cx="11187112" cy="361980"/>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4"/>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324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300" y="1719074"/>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4"/>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2856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205640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51786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1"/>
            <a:ext cx="11856131"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2" y="5607050"/>
            <a:ext cx="10926717" cy="929055"/>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40226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1"/>
            <a:ext cx="11856131"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2" y="5607050"/>
            <a:ext cx="10926717" cy="929055"/>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377" rtl="0" eaLnBrk="1" latinLnBrk="0" hangingPunct="1">
                <a:lnSpc>
                  <a:spcPct val="125000"/>
                </a:lnSpc>
              </a:pPr>
              <a:t>‹#›</a:t>
            </a:fld>
            <a:endParaRPr lang="en-US" sz="800" kern="1200">
              <a:solidFill>
                <a:schemeClr val="accent5"/>
              </a:solidFill>
              <a:latin typeface="+mn-lt"/>
              <a:ea typeface="+mn-ea"/>
              <a:cs typeface="+mn-cs"/>
            </a:endParaRPr>
          </a:p>
        </p:txBody>
      </p:sp>
    </p:spTree>
    <p:extLst>
      <p:ext uri="{BB962C8B-B14F-4D97-AF65-F5344CB8AC3E}">
        <p14:creationId xmlns:p14="http://schemas.microsoft.com/office/powerpoint/2010/main" val="5679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1"/>
            <a:ext cx="11856131"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4" y="5607050"/>
            <a:ext cx="10926715"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388573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1"/>
            <a:ext cx="11856131"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4" y="5607050"/>
            <a:ext cx="10926715"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377"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9014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1"/>
            <a:ext cx="11856131"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Tree>
    <p:extLst>
      <p:ext uri="{BB962C8B-B14F-4D97-AF65-F5344CB8AC3E}">
        <p14:creationId xmlns:p14="http://schemas.microsoft.com/office/powerpoint/2010/main" val="243968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1"/>
            <a:ext cx="11856131"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6" y="5607050"/>
            <a:ext cx="10928573"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84653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1"/>
            <a:ext cx="11856131"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6" y="5607050"/>
            <a:ext cx="10928573"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390064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1"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642625"/>
            <a:ext cx="5111495" cy="361980"/>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66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1"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642625"/>
            <a:ext cx="5111495" cy="361980"/>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31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349364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1"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642625"/>
            <a:ext cx="5111495" cy="361980"/>
          </a:xfrm>
        </p:spPr>
        <p:txBody>
          <a:bodyPr>
            <a:spAutoFit/>
          </a:bodyPr>
          <a:lstStyle/>
          <a:p>
            <a:r>
              <a:rPr lang="en-US"/>
              <a:t>Click to edit Master title style</a:t>
            </a:r>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1757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1"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642625"/>
            <a:ext cx="5111495" cy="361980"/>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238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3"/>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642625"/>
            <a:ext cx="5111495" cy="361980"/>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81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4"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642625"/>
            <a:ext cx="6426200" cy="361980"/>
          </a:xfrm>
        </p:spPr>
        <p:txBody>
          <a:bodyPr/>
          <a:lstStyle/>
          <a:p>
            <a:r>
              <a:rPr lang="en-US"/>
              <a:t>Click to edit Master title style</a:t>
            </a:r>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90824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4"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7" cy="4111627"/>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642625"/>
            <a:ext cx="6426200" cy="361980"/>
          </a:xfrm>
        </p:spPr>
        <p:txBody>
          <a:bodyPr/>
          <a:lstStyle/>
          <a:p>
            <a:r>
              <a:rPr lang="en-US"/>
              <a:t>Click to edit Master title style</a:t>
            </a:r>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8283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4"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7" cy="4111627"/>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642625"/>
            <a:ext cx="6426200" cy="361980"/>
          </a:xfrm>
        </p:spPr>
        <p:txBody>
          <a:bodyPr/>
          <a:lstStyle/>
          <a:p>
            <a:r>
              <a:rPr lang="en-US"/>
              <a:t>Click to edit Master title style</a:t>
            </a:r>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18741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4"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642625"/>
            <a:ext cx="6426200" cy="361980"/>
          </a:xfrm>
        </p:spPr>
        <p:txBody>
          <a:bodyPr/>
          <a:lstStyle/>
          <a:p>
            <a:r>
              <a:rPr lang="en-US"/>
              <a:t>Click to edit Master title style</a:t>
            </a:r>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8298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4"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642625"/>
            <a:ext cx="6426200" cy="361980"/>
          </a:xfrm>
        </p:spPr>
        <p:txBody>
          <a:bodyPr/>
          <a:lstStyle/>
          <a:p>
            <a:r>
              <a:rPr lang="en-US"/>
              <a:t>Click to edit Master title style</a:t>
            </a:r>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8377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5"/>
            <a:ext cx="2627315" cy="1657339"/>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9" y="5034191"/>
            <a:ext cx="262731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3"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88698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2" y="4743449"/>
            <a:ext cx="2608263" cy="1657339"/>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1" y="6532895"/>
            <a:ext cx="260826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1" y="3835007"/>
            <a:ext cx="260826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19430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8887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642626"/>
            <a:ext cx="11187112" cy="361980"/>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2979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54521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6999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30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1161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7997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7182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6"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6" y="1830650"/>
            <a:ext cx="3740151"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117569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9"/>
            <a:ext cx="4408715"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207142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6" y="1830650"/>
            <a:ext cx="3740151"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279945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511704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9"/>
            <a:ext cx="4408715"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Tree>
    <p:extLst>
      <p:ext uri="{BB962C8B-B14F-4D97-AF65-F5344CB8AC3E}">
        <p14:creationId xmlns:p14="http://schemas.microsoft.com/office/powerpoint/2010/main" val="1997035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8"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5871"/>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23188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8"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Tree>
    <p:extLst>
      <p:ext uri="{BB962C8B-B14F-4D97-AF65-F5344CB8AC3E}">
        <p14:creationId xmlns:p14="http://schemas.microsoft.com/office/powerpoint/2010/main" val="46500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6"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322319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8"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Tree>
    <p:extLst>
      <p:ext uri="{BB962C8B-B14F-4D97-AF65-F5344CB8AC3E}">
        <p14:creationId xmlns:p14="http://schemas.microsoft.com/office/powerpoint/2010/main" val="193594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8"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94087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699"/>
            <a:ext cx="4810775"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2" y="4743451"/>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27733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699"/>
            <a:ext cx="4810775"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2" y="4743451"/>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403571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699"/>
            <a:ext cx="4810775"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08032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699"/>
            <a:ext cx="4810775"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7867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743076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699"/>
            <a:ext cx="4810775"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46314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1"/>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34584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1"/>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52197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9095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394349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79306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10" y="-857340"/>
            <a:ext cx="8359183" cy="8572679"/>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8242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10" y="-857340"/>
            <a:ext cx="8359183" cy="8572679"/>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1099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10" y="-857340"/>
            <a:ext cx="8359183" cy="8572679"/>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1775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10" y="-857340"/>
            <a:ext cx="8359183" cy="8572679"/>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3027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60446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10" y="-857340"/>
            <a:ext cx="8359183" cy="8572679"/>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8334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1" y="-152400"/>
            <a:ext cx="10904539"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61507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1" y="-152400"/>
            <a:ext cx="10904539"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311341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1" y="-152400"/>
            <a:ext cx="10904539"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320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1" y="-152400"/>
            <a:ext cx="10904539"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88222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1" y="-152400"/>
            <a:ext cx="10904539"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165300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1" y="-152400"/>
            <a:ext cx="10904539"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0917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1" y="-152400"/>
            <a:ext cx="10904539"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412226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1" y="-152400"/>
            <a:ext cx="10904539"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25171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1" y="-152400"/>
            <a:ext cx="10904539"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87738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78262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1" y="-152400"/>
            <a:ext cx="10904539"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384286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355035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189592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90352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7" y="6120040"/>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52411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387379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1" normalizeH="0" noProof="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3"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3" name="TextBox 2">
            <a:extLst>
              <a:ext uri="{FF2B5EF4-FFF2-40B4-BE49-F238E27FC236}">
                <a16:creationId xmlns:a16="http://schemas.microsoft.com/office/drawing/2014/main" id="{091E9095-698B-0FCE-B311-BA02E4AAD35D}"/>
              </a:ext>
            </a:extLst>
          </p:cNvPr>
          <p:cNvSpPr txBox="1"/>
          <p:nvPr userDrawn="1"/>
        </p:nvSpPr>
        <p:spPr bwMode="gray">
          <a:xfrm>
            <a:off x="4313239" y="5330322"/>
            <a:ext cx="2958892"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FE136760-A84B-7DDD-A409-1DB6E5638862}"/>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73364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1"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3"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612D00FC-BA28-634A-6914-600460CEC862}"/>
              </a:ext>
            </a:extLst>
          </p:cNvPr>
          <p:cNvSpPr txBox="1"/>
          <p:nvPr userDrawn="1"/>
        </p:nvSpPr>
        <p:spPr bwMode="gray">
          <a:xfrm>
            <a:off x="4313239" y="5330322"/>
            <a:ext cx="2958892"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30BC86D6-3C04-6E03-2BFC-749B0C71329D}"/>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13570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1" normalizeH="0" noProof="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3"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053A03F9-C01F-4015-574F-E35E7BF4A727}"/>
              </a:ext>
            </a:extLst>
          </p:cNvPr>
          <p:cNvSpPr txBox="1"/>
          <p:nvPr userDrawn="1"/>
        </p:nvSpPr>
        <p:spPr bwMode="gray">
          <a:xfrm>
            <a:off x="4313239" y="5330322"/>
            <a:ext cx="2984388"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D3245786-770B-F1A6-CCDE-18D0534D955D}"/>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235512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1"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3"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BAC9F69D-F705-B66D-7552-C0DC6C6F8F0C}"/>
              </a:ext>
            </a:extLst>
          </p:cNvPr>
          <p:cNvSpPr txBox="1"/>
          <p:nvPr userDrawn="1"/>
        </p:nvSpPr>
        <p:spPr bwMode="gray">
          <a:xfrm>
            <a:off x="4313239" y="5330322"/>
            <a:ext cx="2984388"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6551B1DF-2FCE-5E8A-7F80-8DA31197AEF0}"/>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9768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13486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1"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3"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DC299A15-61E6-C7DD-AF0D-3ABDDDD7D916}"/>
              </a:ext>
            </a:extLst>
          </p:cNvPr>
          <p:cNvSpPr txBox="1"/>
          <p:nvPr userDrawn="1"/>
        </p:nvSpPr>
        <p:spPr bwMode="gray">
          <a:xfrm>
            <a:off x="4313239" y="5330322"/>
            <a:ext cx="2984388"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6805A64E-DF6F-F24E-1FF0-BB9DAC53A3CB}"/>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67601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300" y="4195085"/>
            <a:ext cx="7352269"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1"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4"/>
            <a:ext cx="2620523" cy="221599"/>
          </a:xfrm>
          <a:prstGeom prst="rect">
            <a:avLst/>
          </a:prstGeom>
        </p:spPr>
        <p:txBody>
          <a:bodyPr wrap="square" anchor="b">
            <a:spAutoFit/>
          </a:bodyPr>
          <a:lstStyle>
            <a:lvl1pPr marL="0" marR="0" indent="0" algn="r"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20" y="393192"/>
            <a:ext cx="2608489" cy="214227"/>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5" y="393192"/>
            <a:ext cx="2605416" cy="214227"/>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3"/>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7" y="2256891"/>
            <a:ext cx="7415931"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06884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1" y="-1"/>
            <a:ext cx="6141063"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90" y="-3"/>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6" y="5312741"/>
            <a:ext cx="12195711"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8" y="6513830"/>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300" y="6532895"/>
            <a:ext cx="10489691"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586071"/>
            <a:ext cx="11187112" cy="361980"/>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90" y="6031583"/>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6993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6" y="5312734"/>
            <a:ext cx="12195711" cy="1545260"/>
          </a:xfrm>
          <a:prstGeom prst="rect">
            <a:avLst/>
          </a:prstGeom>
          <a:solidFill>
            <a:schemeClr val="accent1"/>
          </a:solidFill>
          <a:ln w="10795"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8" y="-536375"/>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4" y="5607050"/>
            <a:ext cx="11209287" cy="929055"/>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9" y="1709928"/>
            <a:ext cx="11209287"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1" y="6530335"/>
            <a:ext cx="713423"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377"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3"/>
            <a:ext cx="11202619" cy="431657"/>
          </a:xfrm>
        </p:spPr>
        <p:txBody>
          <a:bodyPr/>
          <a:lstStyle>
            <a:lvl1pPr marL="0" indent="0" algn="l">
              <a:lnSpc>
                <a:spcPct val="83000"/>
              </a:lnSpc>
              <a:spcBef>
                <a:spcPts val="1800"/>
              </a:spcBef>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90" y="5052452"/>
            <a:ext cx="1022334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5G Broadcast Conference</a:t>
            </a:r>
          </a:p>
        </p:txBody>
      </p:sp>
    </p:spTree>
    <p:extLst>
      <p:ext uri="{BB962C8B-B14F-4D97-AF65-F5344CB8AC3E}">
        <p14:creationId xmlns:p14="http://schemas.microsoft.com/office/powerpoint/2010/main" val="405026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300" y="6532895"/>
            <a:ext cx="10489691" cy="118174"/>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t>5G Broadcast Conference</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8" y="6513832"/>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377"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1015039013"/>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8" name="矩形 7"/>
          <p:cNvSpPr/>
          <p:nvPr userDrawn="1"/>
        </p:nvSpPr>
        <p:spPr>
          <a:xfrm>
            <a:off x="11563575" y="6534065"/>
            <a:ext cx="837432" cy="3602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i="1" dirty="0">
                <a:solidFill>
                  <a:srgbClr val="002060"/>
                </a:solidFill>
              </a:rPr>
              <a:t>-</a:t>
            </a:r>
            <a:fld id="{77BAF064-260E-4892-AFE1-03308543B28D}" type="slidenum">
              <a:rPr lang="zh-CN" altLang="en-US" sz="1600" b="1" i="1" smtClean="0">
                <a:solidFill>
                  <a:srgbClr val="002060"/>
                </a:solidFill>
              </a:rPr>
              <a:t>‹#›</a:t>
            </a:fld>
            <a:r>
              <a:rPr lang="en-US" altLang="zh-CN" sz="1600" b="1" i="1" dirty="0">
                <a:solidFill>
                  <a:srgbClr val="002060"/>
                </a:solidFill>
              </a:rPr>
              <a:t>-</a:t>
            </a:r>
            <a:endParaRPr lang="zh-CN" altLang="en-US" sz="1600" b="1" i="1" dirty="0">
              <a:solidFill>
                <a:srgbClr val="002060"/>
              </a:solidFill>
            </a:endParaRPr>
          </a:p>
        </p:txBody>
      </p:sp>
    </p:spTree>
    <p:extLst>
      <p:ext uri="{BB962C8B-B14F-4D97-AF65-F5344CB8AC3E}">
        <p14:creationId xmlns:p14="http://schemas.microsoft.com/office/powerpoint/2010/main" val="153027722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3" y="1417835"/>
            <a:ext cx="11430000" cy="1487331"/>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360" indent="-346638">
              <a:buFont typeface="Qualcomm Regular" pitchFamily="34" charset="0"/>
              <a:buChar char="−"/>
              <a:defRPr/>
            </a:lvl5pPr>
            <a:lvl6pPr marL="2166489" indent="0">
              <a:buNone/>
              <a:defRPr sz="1596"/>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itle Placeholder 1"/>
          <p:cNvSpPr>
            <a:spLocks noGrp="1"/>
          </p:cNvSpPr>
          <p:nvPr>
            <p:ph type="title"/>
          </p:nvPr>
        </p:nvSpPr>
        <p:spPr>
          <a:xfrm>
            <a:off x="283544" y="627216"/>
            <a:ext cx="11432977" cy="711397"/>
          </a:xfrm>
          <a:prstGeom prst="rect">
            <a:avLst/>
          </a:prstGeom>
        </p:spPr>
        <p:txBody>
          <a:bodyPr vert="horz" wrap="square" lIns="91424" tIns="45712" rIns="91424" bIns="45712" rtlCol="0" anchor="ctr">
            <a:spAutoFit/>
          </a:bodyPr>
          <a:lstStyle>
            <a:lvl1pPr>
              <a:defRPr sz="4789"/>
            </a:lvl1pPr>
          </a:lstStyle>
          <a:p>
            <a:r>
              <a:rPr lang="en-US"/>
              <a:t>Click to edit Master title style</a:t>
            </a:r>
            <a:endParaRPr lang="en-US" dirty="0"/>
          </a:p>
        </p:txBody>
      </p:sp>
      <p:cxnSp>
        <p:nvCxnSpPr>
          <p:cNvPr id="14" name="Straight Connector 13"/>
          <p:cNvCxnSpPr/>
          <p:nvPr userDrawn="1"/>
        </p:nvCxnSpPr>
        <p:spPr>
          <a:xfrm>
            <a:off x="370367"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02174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5" y="-1"/>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1" y="6532917"/>
            <a:ext cx="3188495" cy="118152"/>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fontAlgn="auto">
              <a:defRPr/>
            </a:pPr>
            <a:r>
              <a:rPr lang="en-US">
                <a:solidFill>
                  <a:srgbClr val="4A5A75">
                    <a:lumMod val="40000"/>
                    <a:lumOff val="60000"/>
                  </a:srgbClr>
                </a:solidFill>
              </a:rPr>
              <a:t>5G Broadcast Conference</a:t>
            </a:r>
          </a:p>
        </p:txBody>
      </p:sp>
    </p:spTree>
    <p:extLst>
      <p:ext uri="{BB962C8B-B14F-4D97-AF65-F5344CB8AC3E}">
        <p14:creationId xmlns:p14="http://schemas.microsoft.com/office/powerpoint/2010/main" val="44016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300" y="6532917"/>
            <a:ext cx="10489691" cy="118152"/>
          </a:xfrm>
        </p:spPr>
        <p:txBody>
          <a:bodyPr/>
          <a:lstStyle>
            <a:lvl1pPr>
              <a:defRPr>
                <a:solidFill>
                  <a:schemeClr val="accent5">
                    <a:lumMod val="60000"/>
                    <a:lumOff val="40000"/>
                  </a:schemeClr>
                </a:solidFill>
              </a:defRPr>
            </a:lvl1pPr>
          </a:lstStyle>
          <a:p>
            <a:r>
              <a:rPr lang="en-US"/>
              <a:t>5G Broadcast Conference</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642625"/>
            <a:ext cx="11187112" cy="361980"/>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4"/>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90" y="1088135"/>
            <a:ext cx="11188223" cy="274320"/>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3289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5" name="TextBox 4">
            <a:extLst>
              <a:ext uri="{FF2B5EF4-FFF2-40B4-BE49-F238E27FC236}">
                <a16:creationId xmlns:a16="http://schemas.microsoft.com/office/drawing/2014/main" id="{B88F33D4-BBA2-F586-C7A0-82CDD883BFC9}"/>
              </a:ext>
            </a:extLst>
          </p:cNvPr>
          <p:cNvSpPr txBox="1"/>
          <p:nvPr userDrawn="1"/>
        </p:nvSpPr>
        <p:spPr>
          <a:xfrm>
            <a:off x="479708" y="6541709"/>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9062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724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9" y="512166"/>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4" name="TextBox 3">
            <a:extLst>
              <a:ext uri="{FF2B5EF4-FFF2-40B4-BE49-F238E27FC236}">
                <a16:creationId xmlns:a16="http://schemas.microsoft.com/office/drawing/2014/main" id="{B2327104-0EC9-81F1-8AA2-DD95B2F0AD5C}"/>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12672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7" y="5521262"/>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6" name="TextBox 5">
            <a:extLst>
              <a:ext uri="{FF2B5EF4-FFF2-40B4-BE49-F238E27FC236}">
                <a16:creationId xmlns:a16="http://schemas.microsoft.com/office/drawing/2014/main" id="{1721900C-AFF6-9AB9-6CE8-76D2E51C8D10}"/>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6">
                    <a:lumMod val="75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68897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7" y="5520818"/>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6" name="TextBox 5">
            <a:extLst>
              <a:ext uri="{FF2B5EF4-FFF2-40B4-BE49-F238E27FC236}">
                <a16:creationId xmlns:a16="http://schemas.microsoft.com/office/drawing/2014/main" id="{5BDAEF54-E82E-C4CA-DA92-1D2D6C8666D5}"/>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2">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18834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70" y="5527627"/>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6" name="TextBox 5">
            <a:extLst>
              <a:ext uri="{FF2B5EF4-FFF2-40B4-BE49-F238E27FC236}">
                <a16:creationId xmlns:a16="http://schemas.microsoft.com/office/drawing/2014/main" id="{9973D1D6-49D8-8E14-CA66-093A7F90B070}"/>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6">
                    <a:lumMod val="40000"/>
                    <a:lumOff val="6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308043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sz="2400"/>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7" y="5515915"/>
            <a:ext cx="6454175" cy="265271"/>
          </a:xfrm>
          <a:prstGeom prst="rect">
            <a:avLst/>
          </a:prstGeom>
        </p:spPr>
        <p:txBody>
          <a:bodyPr wrap="none"/>
          <a:lstStyle>
            <a:lvl1pPr marL="0" marR="0" indent="0" algn="l" defTabSz="914377"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377"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2" y="4195085"/>
            <a:ext cx="8334375" cy="961931"/>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1"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7"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3"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1"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5" y="512166"/>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7" name="TextBox 6">
            <a:extLst>
              <a:ext uri="{FF2B5EF4-FFF2-40B4-BE49-F238E27FC236}">
                <a16:creationId xmlns:a16="http://schemas.microsoft.com/office/drawing/2014/main" id="{7F67FF87-67D1-1C93-9EE2-68722E639E47}"/>
              </a:ext>
            </a:extLst>
          </p:cNvPr>
          <p:cNvSpPr txBox="1"/>
          <p:nvPr userDrawn="1"/>
        </p:nvSpPr>
        <p:spPr>
          <a:xfrm>
            <a:off x="479708" y="6521993"/>
            <a:ext cx="524770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dirty="0">
                <a:solidFill>
                  <a:schemeClr val="accent5">
                    <a:lumMod val="60000"/>
                    <a:lumOff val="40000"/>
                  </a:schemeClr>
                </a:solidFill>
              </a:rPr>
              <a:t>Snapdragon and Qualcomm branded products are products of Qualcomm Technologies, Inc. and/or its subsidiaries.</a:t>
            </a:r>
          </a:p>
        </p:txBody>
      </p:sp>
    </p:spTree>
    <p:extLst>
      <p:ext uri="{BB962C8B-B14F-4D97-AF65-F5344CB8AC3E}">
        <p14:creationId xmlns:p14="http://schemas.microsoft.com/office/powerpoint/2010/main" val="18052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8078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7298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rgbClr val="214ACD"/>
                </a:solidFill>
                <a:effectLst>
                  <a:innerShdw blurRad="38100" dist="25400" dir="8100000">
                    <a:prstClr val="black">
                      <a:alpha val="50000"/>
                    </a:prstClr>
                  </a:innerShdw>
                </a:effectLst>
              </a:rPr>
              <a:t>Agenda</a:t>
            </a:r>
          </a:p>
        </p:txBody>
      </p:sp>
    </p:spTree>
    <p:extLst>
      <p:ext uri="{BB962C8B-B14F-4D97-AF65-F5344CB8AC3E}">
        <p14:creationId xmlns:p14="http://schemas.microsoft.com/office/powerpoint/2010/main" val="390692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3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505544" y="2737543"/>
            <a:ext cx="5148845"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3" y="957453"/>
            <a:ext cx="9253539" cy="5319779"/>
          </a:xfrm>
          <a:prstGeom prst="rect">
            <a:avLst/>
          </a:prstGeom>
        </p:spPr>
        <p:txBody>
          <a:bodyPr>
            <a:normAutofit/>
          </a:bodyPr>
          <a:lstStyle>
            <a:lvl1pPr marL="914377" indent="-914377">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891" indent="-342891">
              <a:lnSpc>
                <a:spcPct val="107000"/>
              </a:lnSpc>
              <a:spcBef>
                <a:spcPts val="0"/>
              </a:spcBef>
              <a:spcAft>
                <a:spcPts val="1800"/>
              </a:spcAft>
              <a:buClr>
                <a:schemeClr val="bg1"/>
              </a:buClr>
              <a:buFont typeface="+mj-lt"/>
              <a:buAutoNum type="arabicPeriod"/>
              <a:defRPr sz="5400">
                <a:solidFill>
                  <a:schemeClr val="bg1"/>
                </a:solidFill>
              </a:defRPr>
            </a:lvl3pPr>
            <a:lvl4pPr marL="342891" indent="-342891">
              <a:lnSpc>
                <a:spcPct val="107000"/>
              </a:lnSpc>
              <a:spcBef>
                <a:spcPts val="0"/>
              </a:spcBef>
              <a:spcAft>
                <a:spcPts val="1800"/>
              </a:spcAft>
              <a:buClr>
                <a:schemeClr val="bg1"/>
              </a:buClr>
              <a:buFont typeface="+mj-lt"/>
              <a:buAutoNum type="arabicPeriod"/>
              <a:defRPr sz="5400">
                <a:solidFill>
                  <a:schemeClr val="bg1"/>
                </a:solidFill>
              </a:defRPr>
            </a:lvl4pPr>
            <a:lvl5pPr marL="342891" indent="-342891">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2302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0826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22029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300" y="-127003"/>
            <a:ext cx="973371" cy="6482083"/>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7"/>
            <a:ext cx="9148989" cy="5339923"/>
          </a:xfrm>
          <a:prstGeom prst="rect">
            <a:avLst/>
          </a:prstGeom>
        </p:spPr>
        <p:txBody>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0" y="3007721"/>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62136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300" y="-127003"/>
            <a:ext cx="973371" cy="6482083"/>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7"/>
            <a:ext cx="9148989" cy="5339923"/>
          </a:xfrm>
          <a:prstGeom prst="rect">
            <a:avLst/>
          </a:prstGeom>
        </p:spPr>
        <p:txBody>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0" y="3007721"/>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41100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300" y="-127003"/>
            <a:ext cx="973371" cy="6482083"/>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91121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300" y="-127003"/>
            <a:ext cx="973371" cy="6482083"/>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3030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300" y="-127003"/>
            <a:ext cx="973371" cy="6482083"/>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80499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300" y="-127003"/>
            <a:ext cx="973371" cy="6482083"/>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4110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300" y="-127003"/>
            <a:ext cx="973371" cy="6482083"/>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7"/>
            <a:ext cx="9148989" cy="5339923"/>
          </a:xfrm>
          <a:prstGeom prst="rect">
            <a:avLst/>
          </a:prstGeom>
        </p:spPr>
        <p:txBody>
          <a:bodyPr>
            <a:normAutofit/>
          </a:bodyPr>
          <a:lstStyle>
            <a:lvl1pPr marL="914377" indent="-914377">
              <a:lnSpc>
                <a:spcPct val="90000"/>
              </a:lnSpc>
              <a:spcBef>
                <a:spcPts val="0"/>
              </a:spcBef>
              <a:spcAft>
                <a:spcPts val="900"/>
              </a:spcAft>
              <a:buClr>
                <a:schemeClr val="tx2"/>
              </a:buClr>
              <a:buFont typeface="+mj-lt"/>
              <a:buAutoNum type="arabicPeriod"/>
              <a:defRPr sz="5400">
                <a:solidFill>
                  <a:schemeClr val="tx2"/>
                </a:solidFill>
              </a:defRPr>
            </a:lvl1pPr>
            <a:lvl2pPr marL="914377" indent="-914377">
              <a:lnSpc>
                <a:spcPct val="107000"/>
              </a:lnSpc>
              <a:spcBef>
                <a:spcPts val="0"/>
              </a:spcBef>
              <a:spcAft>
                <a:spcPts val="1800"/>
              </a:spcAft>
              <a:buClr>
                <a:schemeClr val="tx2"/>
              </a:buClr>
              <a:buFont typeface="+mj-lt"/>
              <a:buAutoNum type="arabicPeriod"/>
              <a:defRPr sz="5400">
                <a:solidFill>
                  <a:schemeClr val="tx1"/>
                </a:solidFill>
              </a:defRPr>
            </a:lvl2pPr>
            <a:lvl3pPr marL="914377" indent="-914377">
              <a:lnSpc>
                <a:spcPct val="107000"/>
              </a:lnSpc>
              <a:spcBef>
                <a:spcPts val="0"/>
              </a:spcBef>
              <a:spcAft>
                <a:spcPts val="1800"/>
              </a:spcAft>
              <a:buClr>
                <a:schemeClr val="tx2"/>
              </a:buClr>
              <a:buFont typeface="+mj-lt"/>
              <a:buAutoNum type="arabicPeriod"/>
              <a:defRPr sz="5400">
                <a:solidFill>
                  <a:schemeClr val="tx1"/>
                </a:solidFill>
              </a:defRPr>
            </a:lvl3pPr>
            <a:lvl4pPr marL="914377" indent="-914377">
              <a:lnSpc>
                <a:spcPct val="107000"/>
              </a:lnSpc>
              <a:spcBef>
                <a:spcPts val="0"/>
              </a:spcBef>
              <a:spcAft>
                <a:spcPts val="1800"/>
              </a:spcAft>
              <a:buClr>
                <a:schemeClr val="tx2"/>
              </a:buClr>
              <a:buFont typeface="+mj-lt"/>
              <a:buAutoNum type="arabicPeriod"/>
              <a:defRPr sz="5400">
                <a:solidFill>
                  <a:schemeClr val="tx1"/>
                </a:solidFill>
              </a:defRPr>
            </a:lvl4pPr>
            <a:lvl5pPr marL="914377" indent="-914377">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0" y="3007721"/>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7665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7"/>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Tree>
    <p:extLst>
      <p:ext uri="{BB962C8B-B14F-4D97-AF65-F5344CB8AC3E}">
        <p14:creationId xmlns:p14="http://schemas.microsoft.com/office/powerpoint/2010/main" val="125464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04A89CF-52C1-C41F-D449-47AC5A56B655}"/>
              </a:ext>
            </a:extLst>
          </p:cNvPr>
          <p:cNvSpPr>
            <a:spLocks noGrp="1"/>
          </p:cNvSpPr>
          <p:nvPr>
            <p:ph type="ftr" sz="quarter" idx="10"/>
          </p:nvPr>
        </p:nvSpPr>
        <p:spPr/>
        <p:txBody>
          <a:bodyPr/>
          <a:lstStyle/>
          <a:p>
            <a:r>
              <a:rPr lang="en-US"/>
              <a:t>5G Broadcast Conference</a:t>
            </a:r>
            <a:endParaRPr lang="en-US" dirty="0"/>
          </a:p>
        </p:txBody>
      </p:sp>
    </p:spTree>
    <p:extLst>
      <p:ext uri="{BB962C8B-B14F-4D97-AF65-F5344CB8AC3E}">
        <p14:creationId xmlns:p14="http://schemas.microsoft.com/office/powerpoint/2010/main" val="342158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endParaRPr lang="en-US" dirty="0"/>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Tree>
    <p:extLst>
      <p:ext uri="{BB962C8B-B14F-4D97-AF65-F5344CB8AC3E}">
        <p14:creationId xmlns:p14="http://schemas.microsoft.com/office/powerpoint/2010/main" val="391414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6047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6"/>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Tree>
    <p:extLst>
      <p:ext uri="{BB962C8B-B14F-4D97-AF65-F5344CB8AC3E}">
        <p14:creationId xmlns:p14="http://schemas.microsoft.com/office/powerpoint/2010/main" val="116670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6"/>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6"/>
            <a:ext cx="7392135" cy="236347"/>
          </a:xfrm>
          <a:prstGeom prst="rect">
            <a:avLst/>
          </a:prstGeom>
        </p:spPr>
        <p:txBody>
          <a:bodyPr wrap="square">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3" y="2058988"/>
            <a:ext cx="2867027" cy="411162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819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1" y="3134574"/>
            <a:ext cx="2608263" cy="723959"/>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90" y="3942417"/>
            <a:ext cx="2608263" cy="472695"/>
          </a:xfrm>
          <a:prstGeom prst="rect">
            <a:avLst/>
          </a:prstGeom>
        </p:spPr>
        <p:txBody>
          <a:bodyPr wrap="square">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9886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10488168" cy="118175"/>
          </a:xfrm>
        </p:spPr>
        <p:txBody>
          <a:bodyPr/>
          <a:lstStyle>
            <a:lvl1pPr>
              <a:defRPr>
                <a:solidFill>
                  <a:schemeClr val="accent5">
                    <a:lumMod val="60000"/>
                    <a:lumOff val="40000"/>
                  </a:schemeClr>
                </a:solidFill>
              </a:defRPr>
            </a:lvl1pPr>
          </a:lstStyle>
          <a:p>
            <a:r>
              <a:rPr lang="en-US"/>
              <a:t>5G Broadcast Conference</a:t>
            </a:r>
            <a:endParaRPr lang="en-US" dirty="0"/>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2623"/>
            <a:ext cx="11187112" cy="361980"/>
          </a:xfrm>
        </p:spPr>
        <p:txBody>
          <a:bodyPr/>
          <a:lstStyle/>
          <a:p>
            <a:r>
              <a:rPr lang="en-US"/>
              <a:t>Click to edit Master title style</a:t>
            </a:r>
            <a:endParaRPr lang="en-US" dirty="0"/>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4"/>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59222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300" y="1719074"/>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4"/>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369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4"/>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0201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1"/>
            <a:ext cx="11856131"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2" y="5607050"/>
            <a:ext cx="10926717" cy="929055"/>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81008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1"/>
            <a:ext cx="11856131"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2" y="5607050"/>
            <a:ext cx="10926717" cy="929055"/>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377" rtl="0" eaLnBrk="1" latinLnBrk="0" hangingPunct="1">
                <a:lnSpc>
                  <a:spcPct val="125000"/>
                </a:lnSpc>
              </a:pPr>
              <a:t>‹#›</a:t>
            </a:fld>
            <a:endParaRPr lang="en-US" sz="800" kern="1200">
              <a:solidFill>
                <a:schemeClr val="accent5"/>
              </a:solidFill>
              <a:latin typeface="+mn-lt"/>
              <a:ea typeface="+mn-ea"/>
              <a:cs typeface="+mn-cs"/>
            </a:endParaRPr>
          </a:p>
        </p:txBody>
      </p:sp>
    </p:spTree>
    <p:extLst>
      <p:ext uri="{BB962C8B-B14F-4D97-AF65-F5344CB8AC3E}">
        <p14:creationId xmlns:p14="http://schemas.microsoft.com/office/powerpoint/2010/main" val="363709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1"/>
            <a:ext cx="11856131"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4" y="5607050"/>
            <a:ext cx="10926715"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171191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1"/>
            <a:ext cx="11856131"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4" y="5607050"/>
            <a:ext cx="10926715"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377"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52677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1048816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1655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1"/>
            <a:ext cx="11856131"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377" rtl="0" eaLnBrk="1" latinLnBrk="0" hangingPunct="1">
                <a:lnSpc>
                  <a:spcPct val="125000"/>
                </a:lnSpc>
              </a:pPr>
              <a:t>‹#›</a:t>
            </a:fld>
            <a:endParaRPr lang="en-US" sz="800" kern="1200" dirty="0">
              <a:solidFill>
                <a:schemeClr val="accent3">
                  <a:lumMod val="40000"/>
                  <a:lumOff val="60000"/>
                </a:schemeClr>
              </a:solidFill>
              <a:latin typeface="+mn-lt"/>
              <a:ea typeface="+mn-ea"/>
              <a:cs typeface="+mn-cs"/>
            </a:endParaRPr>
          </a:p>
        </p:txBody>
      </p:sp>
    </p:spTree>
    <p:extLst>
      <p:ext uri="{BB962C8B-B14F-4D97-AF65-F5344CB8AC3E}">
        <p14:creationId xmlns:p14="http://schemas.microsoft.com/office/powerpoint/2010/main" val="62422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1"/>
            <a:ext cx="11856131"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6" y="5607050"/>
            <a:ext cx="10928573"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272383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1"/>
            <a:ext cx="11856131"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7"/>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5G Broadcast Conference</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4"/>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90" y="1088137"/>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6" y="5607050"/>
            <a:ext cx="10928573" cy="929055"/>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72956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1"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642625"/>
            <a:ext cx="5111495" cy="361980"/>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1"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642625"/>
            <a:ext cx="5111495" cy="361980"/>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524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1"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642625"/>
            <a:ext cx="5111495" cy="361980"/>
          </a:xfrm>
        </p:spPr>
        <p:txBody>
          <a:bodyPr>
            <a:spAutoFit/>
          </a:bodyPr>
          <a:lstStyle/>
          <a:p>
            <a:r>
              <a:rPr lang="en-US"/>
              <a:t>Click to edit Master title style</a:t>
            </a:r>
            <a:endParaRPr lang="en-US" dirty="0"/>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31809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1"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642625"/>
            <a:ext cx="5111495" cy="361980"/>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543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3"/>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5"/>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3"/>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7"/>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642625"/>
            <a:ext cx="5111495" cy="361980"/>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90" y="1088137"/>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8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4"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642625"/>
            <a:ext cx="6426200" cy="361980"/>
          </a:xfrm>
        </p:spPr>
        <p:txBody>
          <a:bodyPr/>
          <a:lstStyle/>
          <a:p>
            <a:r>
              <a:rPr lang="en-US"/>
              <a:t>Click to edit Master title style</a:t>
            </a:r>
            <a:endParaRPr lang="en-US" dirty="0"/>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11105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4"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7" cy="4111627"/>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642625"/>
            <a:ext cx="6426200" cy="361980"/>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44291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8221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4"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7" cy="4111627"/>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642625"/>
            <a:ext cx="6426200" cy="361980"/>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08187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4"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642625"/>
            <a:ext cx="6426200" cy="361980"/>
          </a:xfrm>
        </p:spPr>
        <p:txBody>
          <a:bodyPr/>
          <a:lstStyle/>
          <a:p>
            <a:r>
              <a:rPr lang="en-US"/>
              <a:t>Click to edit Master title style</a:t>
            </a:r>
            <a:endParaRPr lang="en-US" dirty="0"/>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69389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4"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7" cy="4111627"/>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5G Broadcast Conference</a:t>
            </a:r>
            <a:endParaRPr lang="en-US" dirty="0"/>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642625"/>
            <a:ext cx="6426200" cy="361980"/>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7"/>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11589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5"/>
            <a:ext cx="2627315" cy="1657339"/>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9" y="5034191"/>
            <a:ext cx="262731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endParaRPr lang="en-US" dirty="0"/>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3"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94825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2" y="4743449"/>
            <a:ext cx="2608263" cy="1657339"/>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1" y="6532895"/>
            <a:ext cx="260826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endParaRPr lang="en-US" dirty="0"/>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1" y="3835007"/>
            <a:ext cx="2608263"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22764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endParaRPr lang="en-US" dirty="0"/>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642626"/>
            <a:ext cx="11187112" cy="361980"/>
          </a:xfrm>
        </p:spPr>
        <p:txBody>
          <a:bodyPr/>
          <a:lstStyle>
            <a:lvl1pPr>
              <a:defRPr>
                <a:solidFill>
                  <a:schemeClr val="bg1"/>
                </a:solidFill>
              </a:defRPr>
            </a:lvl1pPr>
          </a:lstStyle>
          <a:p>
            <a:r>
              <a:rPr lang="en-US"/>
              <a:t>Click to edit Master title style</a:t>
            </a:r>
            <a:endParaRPr lang="en-US" dirty="0"/>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90" y="1088136"/>
            <a:ext cx="11188223" cy="236347"/>
          </a:xfrm>
          <a:prstGeom prst="rect">
            <a:avLst/>
          </a:prstGeom>
        </p:spPr>
        <p:txBody>
          <a:bodyPr>
            <a:spAutoFit/>
          </a:bodyPr>
          <a:lstStyle>
            <a:lvl1pPr marL="0" indent="0" algn="l" defTabSz="914377"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63487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endParaRPr lang="en-US" dirty="0"/>
          </a:p>
        </p:txBody>
      </p:sp>
    </p:spTree>
    <p:extLst>
      <p:ext uri="{BB962C8B-B14F-4D97-AF65-F5344CB8AC3E}">
        <p14:creationId xmlns:p14="http://schemas.microsoft.com/office/powerpoint/2010/main" val="111997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3047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5G Broadcast Conference</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69558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5G Broadcast Conference</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3257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772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5G Broadcast Conference</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9519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8"/>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8168" cy="118175"/>
          </a:xfrm>
        </p:spPr>
        <p:txBody>
          <a:bodyPr/>
          <a:lstStyle>
            <a:lvl1pPr marL="0" algn="l" defTabSz="685783"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5G Broadcast Conference</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301" y="5607051"/>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4318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6"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endParaRPr lang="en-US" dirty="0"/>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6" y="1830650"/>
            <a:ext cx="3740151"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Tree>
    <p:extLst>
      <p:ext uri="{BB962C8B-B14F-4D97-AF65-F5344CB8AC3E}">
        <p14:creationId xmlns:p14="http://schemas.microsoft.com/office/powerpoint/2010/main" val="2835975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5G Broadcast Conference</a:t>
            </a:r>
            <a:endParaRPr lang="en-US" dirty="0"/>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9"/>
            <a:ext cx="4408715"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Tree>
    <p:extLst>
      <p:ext uri="{BB962C8B-B14F-4D97-AF65-F5344CB8AC3E}">
        <p14:creationId xmlns:p14="http://schemas.microsoft.com/office/powerpoint/2010/main" val="256602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endParaRPr lang="en-US" dirty="0"/>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6" y="1830650"/>
            <a:ext cx="3740151"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Tree>
    <p:extLst>
      <p:ext uri="{BB962C8B-B14F-4D97-AF65-F5344CB8AC3E}">
        <p14:creationId xmlns:p14="http://schemas.microsoft.com/office/powerpoint/2010/main" val="17692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5G Broadcast Conference</a:t>
            </a:r>
            <a:endParaRPr lang="en-US" dirty="0"/>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9" cy="997707"/>
          </a:xfrm>
        </p:spPr>
        <p:txBody>
          <a:bodyPr anchor="b"/>
          <a:lstStyle>
            <a:lvl1pPr marL="0" indent="0" algn="ctr">
              <a:lnSpc>
                <a:spcPct val="95000"/>
              </a:lnSpc>
              <a:buNone/>
              <a:defRPr lang="en-US" sz="2800" b="0" kern="1200" spc="31"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9"/>
            <a:ext cx="4408715"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Tree>
    <p:extLst>
      <p:ext uri="{BB962C8B-B14F-4D97-AF65-F5344CB8AC3E}">
        <p14:creationId xmlns:p14="http://schemas.microsoft.com/office/powerpoint/2010/main" val="423822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8"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5871"/>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258333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8"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Tree>
    <p:extLst>
      <p:ext uri="{BB962C8B-B14F-4D97-AF65-F5344CB8AC3E}">
        <p14:creationId xmlns:p14="http://schemas.microsoft.com/office/powerpoint/2010/main" val="221913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6"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endParaRPr lang="en-US" dirty="0"/>
          </a:p>
        </p:txBody>
      </p:sp>
    </p:spTree>
    <p:extLst>
      <p:ext uri="{BB962C8B-B14F-4D97-AF65-F5344CB8AC3E}">
        <p14:creationId xmlns:p14="http://schemas.microsoft.com/office/powerpoint/2010/main" val="408419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8"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endParaRPr lang="en-US" dirty="0"/>
          </a:p>
        </p:txBody>
      </p:sp>
    </p:spTree>
    <p:extLst>
      <p:ext uri="{BB962C8B-B14F-4D97-AF65-F5344CB8AC3E}">
        <p14:creationId xmlns:p14="http://schemas.microsoft.com/office/powerpoint/2010/main" val="389756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4244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8"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3"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3"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endParaRPr lang="en-US" dirty="0"/>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377"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304252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699"/>
            <a:ext cx="4810775"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2" y="4743451"/>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96177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699"/>
            <a:ext cx="4810775"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2" y="4743451"/>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1"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694309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699"/>
            <a:ext cx="4810775"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5G Broadcast Conference</a:t>
            </a:r>
            <a:endParaRPr lang="en-US" dirty="0"/>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862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699"/>
            <a:ext cx="4810775"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5G Broadcast Conference</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68710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3" y="0"/>
            <a:ext cx="7533627"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699"/>
            <a:ext cx="4810775"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1"/>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5G Broadcast Conference</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1"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3062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1"/>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629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1"/>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2" indent="-173732">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0319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9736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4005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2168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1"/>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2" indent="-173732">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10488168"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1"/>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04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10" y="-857340"/>
            <a:ext cx="8359183" cy="8572679"/>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8513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10" y="-857340"/>
            <a:ext cx="8359183" cy="8572679"/>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4041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10" y="-857340"/>
            <a:ext cx="8359183" cy="8572679"/>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9675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4.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10" y="-857340"/>
            <a:ext cx="8359183" cy="8572679"/>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4812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5.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10" y="-857340"/>
            <a:ext cx="8359183" cy="8572679"/>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5"/>
          </a:xfrm>
        </p:spPr>
        <p:txBody>
          <a:bodyPr/>
          <a:lstStyle>
            <a:lvl1pPr defTabSz="685783">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endParaRPr lang="en-US" dirty="0"/>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6"/>
            <a:ext cx="6423979"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90" y="1088137"/>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1"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5" y="2764101"/>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6756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1" y="-152400"/>
            <a:ext cx="10904539"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53429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1" y="-152400"/>
            <a:ext cx="10904539"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2458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1" y="-152400"/>
            <a:ext cx="10904539"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0108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1" y="-152400"/>
            <a:ext cx="10904539"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31595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5G Broadcast Conference</a:t>
            </a:r>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2375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1" y="-152400"/>
            <a:ext cx="10904539"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303414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1" y="-152400"/>
            <a:ext cx="10904539"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208802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1" y="-152400"/>
            <a:ext cx="10904539"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70365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1" y="-152400"/>
            <a:ext cx="10904539"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95010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1" y="-152400"/>
            <a:ext cx="10904539"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72659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1" y="-152400"/>
            <a:ext cx="10904539"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400"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90" y="4525631"/>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9" y="3593168"/>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21379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6.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Tree>
    <p:extLst>
      <p:ext uri="{BB962C8B-B14F-4D97-AF65-F5344CB8AC3E}">
        <p14:creationId xmlns:p14="http://schemas.microsoft.com/office/powerpoint/2010/main" val="74063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Tree>
    <p:extLst>
      <p:ext uri="{BB962C8B-B14F-4D97-AF65-F5344CB8AC3E}">
        <p14:creationId xmlns:p14="http://schemas.microsoft.com/office/powerpoint/2010/main" val="234402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8.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Tree>
    <p:extLst>
      <p:ext uri="{BB962C8B-B14F-4D97-AF65-F5344CB8AC3E}">
        <p14:creationId xmlns:p14="http://schemas.microsoft.com/office/powerpoint/2010/main" val="421500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7" y="6120040"/>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Tree>
    <p:extLst>
      <p:ext uri="{BB962C8B-B14F-4D97-AF65-F5344CB8AC3E}">
        <p14:creationId xmlns:p14="http://schemas.microsoft.com/office/powerpoint/2010/main" val="61820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95712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3"/>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301"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Tree>
    <p:extLst>
      <p:ext uri="{BB962C8B-B14F-4D97-AF65-F5344CB8AC3E}">
        <p14:creationId xmlns:p14="http://schemas.microsoft.com/office/powerpoint/2010/main" val="274754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1" normalizeH="0" noProof="0" dirty="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3"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1D6986D3-91E7-CAF5-6D5D-C0C75286A438}"/>
              </a:ext>
            </a:extLst>
          </p:cNvPr>
          <p:cNvSpPr txBox="1"/>
          <p:nvPr userDrawn="1"/>
        </p:nvSpPr>
        <p:spPr bwMode="gray">
          <a:xfrm>
            <a:off x="4313240" y="5330322"/>
            <a:ext cx="4101089"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A3F32B8C-E4C0-E9F8-8532-2B4673B84DE8}"/>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62026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1" normalizeH="0" noProof="0" dirty="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u</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3"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751A2516-C3B1-FF09-7979-117010A296F8}"/>
              </a:ext>
            </a:extLst>
          </p:cNvPr>
          <p:cNvSpPr txBox="1"/>
          <p:nvPr userDrawn="1"/>
        </p:nvSpPr>
        <p:spPr bwMode="gray">
          <a:xfrm>
            <a:off x="4313239" y="5330322"/>
            <a:ext cx="2958892"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36A22BC1-9C46-084B-D8A5-F9147497AABE}"/>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27017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1" normalizeH="0" noProof="0" dirty="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3"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35" name="TextBox 34">
            <a:extLst>
              <a:ext uri="{FF2B5EF4-FFF2-40B4-BE49-F238E27FC236}">
                <a16:creationId xmlns:a16="http://schemas.microsoft.com/office/drawing/2014/main" id="{C767FC40-C210-29F6-E244-24E1F03D5E33}"/>
              </a:ext>
            </a:extLst>
          </p:cNvPr>
          <p:cNvSpPr txBox="1"/>
          <p:nvPr userDrawn="1"/>
        </p:nvSpPr>
        <p:spPr bwMode="gray">
          <a:xfrm>
            <a:off x="4313239" y="5330322"/>
            <a:ext cx="2984388"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registered trademarks of their respective owners.</a:t>
            </a:r>
          </a:p>
        </p:txBody>
      </p:sp>
      <p:sp>
        <p:nvSpPr>
          <p:cNvPr id="3" name="TextBox 2">
            <a:extLst>
              <a:ext uri="{FF2B5EF4-FFF2-40B4-BE49-F238E27FC236}">
                <a16:creationId xmlns:a16="http://schemas.microsoft.com/office/drawing/2014/main" id="{D585E133-D4F4-2902-662A-1DA10E6F5D58}"/>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3802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1" normalizeH="0" noProof="0" dirty="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u</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3"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B0E424D5-7EDE-1875-D70C-8F6AC16D5382}"/>
              </a:ext>
            </a:extLst>
          </p:cNvPr>
          <p:cNvSpPr txBox="1"/>
          <p:nvPr userDrawn="1"/>
        </p:nvSpPr>
        <p:spPr bwMode="gray">
          <a:xfrm>
            <a:off x="4313240" y="5330322"/>
            <a:ext cx="4101089"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registered trademarks of their respective owners.</a:t>
            </a:r>
          </a:p>
        </p:txBody>
      </p:sp>
      <p:sp>
        <p:nvSpPr>
          <p:cNvPr id="3" name="TextBox 2">
            <a:extLst>
              <a:ext uri="{FF2B5EF4-FFF2-40B4-BE49-F238E27FC236}">
                <a16:creationId xmlns:a16="http://schemas.microsoft.com/office/drawing/2014/main" id="{EE043589-4868-6A56-34B9-A0D0C679F905}"/>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2435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3"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2400"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9"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9" cy="613951"/>
          </a:xfrm>
          <a:prstGeom prst="rect">
            <a:avLst/>
          </a:prstGeom>
          <a:noFill/>
        </p:spPr>
        <p:txBody>
          <a:bodyPr wrap="square" lIns="0" tIns="0" rIns="0" bIns="0" rtlCol="0">
            <a:spAutoFit/>
          </a:bodyPr>
          <a:lstStyle/>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377" rtl="0" eaLnBrk="1" fontAlgn="auto" latinLnBrk="0" hangingPunct="1">
              <a:lnSpc>
                <a:spcPct val="114000"/>
              </a:lnSpc>
              <a:spcBef>
                <a:spcPts val="0"/>
              </a:spcBef>
              <a:spcAft>
                <a:spcPts val="300"/>
              </a:spcAft>
              <a:buClrTx/>
              <a:buSzTx/>
              <a:buFontTx/>
              <a:buNone/>
              <a:tabLst/>
              <a:defRPr/>
            </a:pPr>
            <a:r>
              <a:rPr kumimoji="0" lang="en-US" sz="1051"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3" y="2536614"/>
            <a:ext cx="8725779" cy="1606594"/>
          </a:xfrm>
          <a:prstGeom prst="rect">
            <a:avLst/>
          </a:prstGeom>
          <a:noFill/>
        </p:spPr>
        <p:txBody>
          <a:bodyPr wrap="square" lIns="0" tIns="0" rIns="0" bIns="0" rtlCol="0">
            <a:spAutoFit/>
          </a:bodyPr>
          <a:lstStyle/>
          <a:p>
            <a:pPr marL="0" marR="0" lvl="0" indent="0" algn="l" defTabSz="914377"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1" normalizeH="0" noProof="0" dirty="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u</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3"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2E7499A0-71E1-918B-8FF4-015B909D8A86}"/>
              </a:ext>
            </a:extLst>
          </p:cNvPr>
          <p:cNvSpPr txBox="1"/>
          <p:nvPr userDrawn="1"/>
        </p:nvSpPr>
        <p:spPr bwMode="gray">
          <a:xfrm>
            <a:off x="4313240" y="5330322"/>
            <a:ext cx="4101089" cy="856645"/>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devices referenced herein.</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ll Rights Reserved.</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registered trademarks of their respective owners.</a:t>
            </a:r>
          </a:p>
        </p:txBody>
      </p:sp>
      <p:sp>
        <p:nvSpPr>
          <p:cNvPr id="3" name="TextBox 2">
            <a:extLst>
              <a:ext uri="{FF2B5EF4-FFF2-40B4-BE49-F238E27FC236}">
                <a16:creationId xmlns:a16="http://schemas.microsoft.com/office/drawing/2014/main" id="{8E4C8B7A-4C72-CA29-DE9F-A1AE49237A3B}"/>
              </a:ext>
            </a:extLst>
          </p:cNvPr>
          <p:cNvSpPr txBox="1"/>
          <p:nvPr userDrawn="1"/>
        </p:nvSpPr>
        <p:spPr bwMode="gray">
          <a:xfrm>
            <a:off x="7653681" y="5330322"/>
            <a:ext cx="3341423" cy="1236236"/>
          </a:xfrm>
          <a:prstGeom prst="rect">
            <a:avLst/>
          </a:prstGeom>
          <a:noFill/>
        </p:spPr>
        <p:txBody>
          <a:bodyPr wrap="square" lIns="0" tIns="0" rIns="0" bIns="0" numCol="1" spcCol="118872" rtlCol="0">
            <a:spAutoFit/>
          </a:bodyPr>
          <a:lstStyle/>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377"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14020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reserve="1" userDrawn="1">
  <p:cSld name="Title_Dark Blue">
    <p:bg>
      <p:bgPr>
        <a:solidFill>
          <a:schemeClr val="accent2"/>
        </a:solidFill>
        <a:effectLst/>
      </p:bgPr>
    </p:bg>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F85A682B-163D-4AA4-9385-052F4D99BE2E}"/>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 name="Title 2">
            <a:extLst>
              <a:ext uri="{FF2B5EF4-FFF2-40B4-BE49-F238E27FC236}">
                <a16:creationId xmlns:a16="http://schemas.microsoft.com/office/drawing/2014/main" id="{62C0E76A-32B9-4D4D-B734-7A849718BDEC}"/>
              </a:ext>
            </a:extLst>
          </p:cNvPr>
          <p:cNvSpPr>
            <a:spLocks noGrp="1"/>
          </p:cNvSpPr>
          <p:nvPr>
            <p:ph type="title" hasCustomPrompt="1"/>
          </p:nvPr>
        </p:nvSpPr>
        <p:spPr bwMode="gray">
          <a:xfrm>
            <a:off x="515938" y="1586753"/>
            <a:ext cx="5185615" cy="2202610"/>
          </a:xfrm>
        </p:spPr>
        <p:txBody>
          <a:bodyPr wrap="square" anchor="b">
            <a:noAutofit/>
          </a:bodyPr>
          <a:lstStyle>
            <a:lvl1pPr marL="0" algn="l" defTabSz="914400" rtl="0" eaLnBrk="1" latinLnBrk="0" hangingPunct="1">
              <a:lnSpc>
                <a:spcPct val="80000"/>
              </a:lnSpc>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Presentation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title goes her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4 lines</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maximum</a:t>
            </a:r>
            <a:endParaRPr lang="en-US"/>
          </a:p>
        </p:txBody>
      </p:sp>
      <p:sp>
        <p:nvSpPr>
          <p:cNvPr id="12" name="Text Placeholder 22">
            <a:extLst>
              <a:ext uri="{FF2B5EF4-FFF2-40B4-BE49-F238E27FC236}">
                <a16:creationId xmlns:a16="http://schemas.microsoft.com/office/drawing/2014/main" id="{44604CD0-227D-BEAE-79E8-1BAFEC1EA9E4}"/>
              </a:ext>
            </a:extLst>
          </p:cNvPr>
          <p:cNvSpPr>
            <a:spLocks noGrp="1"/>
          </p:cNvSpPr>
          <p:nvPr>
            <p:ph type="body" sz="quarter" idx="13" hasCustomPrompt="1"/>
          </p:nvPr>
        </p:nvSpPr>
        <p:spPr>
          <a:xfrm>
            <a:off x="515939" y="4539039"/>
            <a:ext cx="5185614" cy="263149"/>
          </a:xfrm>
        </p:spPr>
        <p:txBody>
          <a:bodyPr wrap="square" anchor="t">
            <a:noAutofit/>
          </a:bodyPr>
          <a:lstStyle>
            <a:lvl1pPr marL="0" indent="0">
              <a:buNone/>
              <a:defRPr sz="1800" spc="0">
                <a:solidFill>
                  <a:schemeClr val="tx1"/>
                </a:solidFill>
              </a:defRPr>
            </a:lvl1pPr>
          </a:lstStyle>
          <a:p>
            <a:pPr lvl="0"/>
            <a:r>
              <a:rPr lang="en-US"/>
              <a:t>Speaker title, Employing entity</a:t>
            </a:r>
          </a:p>
        </p:txBody>
      </p:sp>
      <p:pic>
        <p:nvPicPr>
          <p:cNvPr id="8" name="Picture 2">
            <a:extLst>
              <a:ext uri="{FF2B5EF4-FFF2-40B4-BE49-F238E27FC236}">
                <a16:creationId xmlns:a16="http://schemas.microsoft.com/office/drawing/2014/main" id="{6601EB22-A8D1-0743-7BB0-822BDDB5C9C7}"/>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r="83264"/>
          <a:stretch/>
        </p:blipFill>
        <p:spPr bwMode="auto">
          <a:xfrm>
            <a:off x="10296108" y="4802188"/>
            <a:ext cx="938292" cy="1029289"/>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7">
            <a:extLst>
              <a:ext uri="{FF2B5EF4-FFF2-40B4-BE49-F238E27FC236}">
                <a16:creationId xmlns:a16="http://schemas.microsoft.com/office/drawing/2014/main" id="{A0B80601-89FF-5E35-853D-D75C06D14573}"/>
              </a:ext>
            </a:extLst>
          </p:cNvPr>
          <p:cNvSpPr>
            <a:spLocks noGrp="1"/>
          </p:cNvSpPr>
          <p:nvPr>
            <p:ph type="body" sz="quarter" idx="10" hasCustomPrompt="1"/>
          </p:nvPr>
        </p:nvSpPr>
        <p:spPr bwMode="gray">
          <a:xfrm>
            <a:off x="515937" y="4080516"/>
            <a:ext cx="5186783" cy="450485"/>
          </a:xfrm>
          <a:prstGeom prst="rect">
            <a:avLst/>
          </a:prstGeom>
        </p:spPr>
        <p:txBody>
          <a:bodyPr>
            <a:noAutofit/>
          </a:bodyPr>
          <a:lstStyle>
            <a:lvl1pPr marL="0" indent="0" algn="l" defTabSz="914400" rtl="0" eaLnBrk="1" latinLnBrk="0" hangingPunct="1">
              <a:lnSpc>
                <a:spcPct val="96000"/>
              </a:lnSpc>
              <a:spcBef>
                <a:spcPts val="0"/>
              </a:spcBef>
              <a:spcAft>
                <a:spcPts val="600"/>
              </a:spcAft>
              <a:buFont typeface="Microsoft Sans Serif" panose="020B0604020202020204" pitchFamily="34" charset="0"/>
              <a:buChar char="​"/>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p:txBody>
      </p:sp>
      <p:sp>
        <p:nvSpPr>
          <p:cNvPr id="5" name="TextBox 4">
            <a:extLst>
              <a:ext uri="{FF2B5EF4-FFF2-40B4-BE49-F238E27FC236}">
                <a16:creationId xmlns:a16="http://schemas.microsoft.com/office/drawing/2014/main" id="{14D08477-758A-76A7-39C3-518BAEFAD224}"/>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a:solidFill>
                  <a:schemeClr val="accent6">
                    <a:lumMod val="9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a:solidFill>
                <a:schemeClr val="accent6">
                  <a:lumMod val="90000"/>
                </a:schemeClr>
              </a:solidFill>
              <a:latin typeface="+mn-lt"/>
              <a:ea typeface="+mn-ea"/>
              <a:cs typeface="+mn-cs"/>
            </a:endParaRPr>
          </a:p>
        </p:txBody>
      </p:sp>
      <p:pic>
        <p:nvPicPr>
          <p:cNvPr id="6" name="Graphic 5">
            <a:extLst>
              <a:ext uri="{FF2B5EF4-FFF2-40B4-BE49-F238E27FC236}">
                <a16:creationId xmlns:a16="http://schemas.microsoft.com/office/drawing/2014/main" id="{D8063254-F261-DFD9-4AB5-B77C4B3645CF}"/>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32310" r="22445" b="38"/>
          <a:stretch/>
        </p:blipFill>
        <p:spPr>
          <a:xfrm rot="9900000" flipH="1">
            <a:off x="4889643" y="240133"/>
            <a:ext cx="8392749" cy="7320983"/>
          </a:xfrm>
          <a:custGeom>
            <a:avLst/>
            <a:gdLst>
              <a:gd name="connsiteX0" fmla="*/ 8392749 w 8392749"/>
              <a:gd name="connsiteY0" fmla="*/ 7320983 h 7320983"/>
              <a:gd name="connsiteX1" fmla="*/ 6431098 w 8392749"/>
              <a:gd name="connsiteY1" fmla="*/ 0 h 7320983"/>
              <a:gd name="connsiteX2" fmla="*/ 0 w 8392749"/>
              <a:gd name="connsiteY2" fmla="*/ 1723207 h 7320983"/>
              <a:gd name="connsiteX3" fmla="*/ 0 w 8392749"/>
              <a:gd name="connsiteY3" fmla="*/ 7320983 h 7320983"/>
            </a:gdLst>
            <a:ahLst/>
            <a:cxnLst>
              <a:cxn ang="0">
                <a:pos x="connsiteX0" y="connsiteY0"/>
              </a:cxn>
              <a:cxn ang="0">
                <a:pos x="connsiteX1" y="connsiteY1"/>
              </a:cxn>
              <a:cxn ang="0">
                <a:pos x="connsiteX2" y="connsiteY2"/>
              </a:cxn>
              <a:cxn ang="0">
                <a:pos x="connsiteX3" y="connsiteY3"/>
              </a:cxn>
            </a:cxnLst>
            <a:rect l="l" t="t" r="r" b="b"/>
            <a:pathLst>
              <a:path w="8392749" h="7320983">
                <a:moveTo>
                  <a:pt x="8392749" y="7320983"/>
                </a:moveTo>
                <a:lnTo>
                  <a:pt x="6431098" y="0"/>
                </a:lnTo>
                <a:lnTo>
                  <a:pt x="0" y="1723207"/>
                </a:lnTo>
                <a:lnTo>
                  <a:pt x="0" y="7320983"/>
                </a:lnTo>
                <a:close/>
              </a:path>
            </a:pathLst>
          </a:custGeom>
        </p:spPr>
      </p:pic>
      <p:sp>
        <p:nvSpPr>
          <p:cNvPr id="7" name="Text Placeholder 22">
            <a:extLst>
              <a:ext uri="{FF2B5EF4-FFF2-40B4-BE49-F238E27FC236}">
                <a16:creationId xmlns:a16="http://schemas.microsoft.com/office/drawing/2014/main" id="{EA2F875C-812A-1F4A-9FFE-FB9951540F7D}"/>
              </a:ext>
            </a:extLst>
          </p:cNvPr>
          <p:cNvSpPr>
            <a:spLocks noGrp="1"/>
          </p:cNvSpPr>
          <p:nvPr>
            <p:ph type="body" sz="quarter" idx="14" hasCustomPrompt="1"/>
          </p:nvPr>
        </p:nvSpPr>
        <p:spPr>
          <a:xfrm>
            <a:off x="515939" y="5763332"/>
            <a:ext cx="5185614"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138276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guide id="3" orient="horz" pos="2387">
          <p15:clr>
            <a:srgbClr val="FBAE40"/>
          </p15:clr>
        </p15:guide>
        <p15:guide id="4" orient="horz" pos="2568">
          <p15:clr>
            <a:srgbClr val="FBAE40"/>
          </p15:clr>
        </p15:guide>
        <p15:guide id="5" orient="horz" pos="3022">
          <p15:clr>
            <a:srgbClr val="FBAE40"/>
          </p15:clr>
        </p15:guide>
        <p15:guide id="6" pos="3591">
          <p15:clr>
            <a:srgbClr val="FBAE40"/>
          </p15:clr>
        </p15:guide>
        <p15:guide id="7" orient="horz" pos="3793">
          <p15:clr>
            <a:srgbClr val="FBAE4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preserve="1" userDrawn="1">
  <p:cSld name="Title_Qualcomm Blue">
    <p:bg>
      <p:bgPr>
        <a:solidFill>
          <a:schemeClr val="accent1"/>
        </a:solidFill>
        <a:effectLst/>
      </p:bgPr>
    </p:bg>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A4F0D70E-53E2-162C-22F7-51348A82B292}"/>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 name="Title 2">
            <a:extLst>
              <a:ext uri="{FF2B5EF4-FFF2-40B4-BE49-F238E27FC236}">
                <a16:creationId xmlns:a16="http://schemas.microsoft.com/office/drawing/2014/main" id="{A71DD4A2-F6F8-2FEF-E6ED-67E872488C9B}"/>
              </a:ext>
            </a:extLst>
          </p:cNvPr>
          <p:cNvSpPr>
            <a:spLocks noGrp="1"/>
          </p:cNvSpPr>
          <p:nvPr>
            <p:ph type="title" hasCustomPrompt="1"/>
          </p:nvPr>
        </p:nvSpPr>
        <p:spPr bwMode="gray">
          <a:xfrm>
            <a:off x="515938" y="1586753"/>
            <a:ext cx="5185615" cy="2202610"/>
          </a:xfrm>
        </p:spPr>
        <p:txBody>
          <a:bodyPr wrap="square" anchor="b">
            <a:noAutofit/>
          </a:bodyPr>
          <a:lstStyle>
            <a:lvl1pPr marL="0" algn="l" defTabSz="914400" rtl="0" eaLnBrk="1" latinLnBrk="0" hangingPunct="1">
              <a:lnSpc>
                <a:spcPct val="80000"/>
              </a:lnSpc>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Presentation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title goes her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4 lines</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maximum</a:t>
            </a:r>
            <a:endParaRPr lang="en-US"/>
          </a:p>
        </p:txBody>
      </p:sp>
      <p:sp>
        <p:nvSpPr>
          <p:cNvPr id="7" name="Text Placeholder 7">
            <a:extLst>
              <a:ext uri="{FF2B5EF4-FFF2-40B4-BE49-F238E27FC236}">
                <a16:creationId xmlns:a16="http://schemas.microsoft.com/office/drawing/2014/main" id="{CDFA959F-8485-8388-01E9-586AFF83F76F}"/>
              </a:ext>
            </a:extLst>
          </p:cNvPr>
          <p:cNvSpPr>
            <a:spLocks noGrp="1"/>
          </p:cNvSpPr>
          <p:nvPr>
            <p:ph type="body" sz="quarter" idx="10" hasCustomPrompt="1"/>
          </p:nvPr>
        </p:nvSpPr>
        <p:spPr bwMode="gray">
          <a:xfrm>
            <a:off x="515937" y="4080516"/>
            <a:ext cx="5186783" cy="450485"/>
          </a:xfrm>
          <a:prstGeom prst="rect">
            <a:avLst/>
          </a:prstGeom>
        </p:spPr>
        <p:txBody>
          <a:bodyPr>
            <a:noAutofit/>
          </a:bodyPr>
          <a:lstStyle>
            <a:lvl1pPr marL="457200" indent="-457200" algn="l" defTabSz="914400" rtl="0" eaLnBrk="1" latinLnBrk="0" hangingPunct="1">
              <a:lnSpc>
                <a:spcPct val="96000"/>
              </a:lnSpc>
              <a:spcBef>
                <a:spcPts val="0"/>
              </a:spcBef>
              <a:spcAft>
                <a:spcPts val="600"/>
              </a:spcAft>
              <a:buFontTx/>
              <a:buNone/>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marL="0" lvl="0" indent="0" algn="l" defTabSz="914400" rtl="0" eaLnBrk="1" latinLnBrk="0" hangingPunct="1">
              <a:lnSpc>
                <a:spcPct val="96000"/>
              </a:lnSpc>
              <a:spcBef>
                <a:spcPts val="0"/>
              </a:spcBef>
              <a:spcAft>
                <a:spcPts val="600"/>
              </a:spcAft>
              <a:buClrTx/>
              <a:buFont typeface="Microsoft Sans Serif" panose="020B0604020202020204" pitchFamily="34" charset="0"/>
              <a:buChar char="​"/>
            </a:pPr>
            <a:r>
              <a:rPr lang="en-US"/>
              <a:t>Speaker name</a:t>
            </a:r>
          </a:p>
        </p:txBody>
      </p:sp>
      <p:pic>
        <p:nvPicPr>
          <p:cNvPr id="16" name="Picture 2">
            <a:extLst>
              <a:ext uri="{FF2B5EF4-FFF2-40B4-BE49-F238E27FC236}">
                <a16:creationId xmlns:a16="http://schemas.microsoft.com/office/drawing/2014/main" id="{AE4EB415-5005-5B4F-C288-00A807B8346C}"/>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r="83264"/>
          <a:stretch/>
        </p:blipFill>
        <p:spPr bwMode="auto">
          <a:xfrm>
            <a:off x="10296108" y="4802188"/>
            <a:ext cx="938292" cy="1029289"/>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741D3CFE-57F5-AE08-0359-943F438E5D3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32310" r="22445" b="38"/>
          <a:stretch/>
        </p:blipFill>
        <p:spPr>
          <a:xfrm rot="9900000" flipH="1">
            <a:off x="4889643" y="240133"/>
            <a:ext cx="8392749" cy="7320983"/>
          </a:xfrm>
          <a:custGeom>
            <a:avLst/>
            <a:gdLst>
              <a:gd name="connsiteX0" fmla="*/ 8392749 w 8392749"/>
              <a:gd name="connsiteY0" fmla="*/ 7320983 h 7320983"/>
              <a:gd name="connsiteX1" fmla="*/ 6431098 w 8392749"/>
              <a:gd name="connsiteY1" fmla="*/ 0 h 7320983"/>
              <a:gd name="connsiteX2" fmla="*/ 0 w 8392749"/>
              <a:gd name="connsiteY2" fmla="*/ 1723207 h 7320983"/>
              <a:gd name="connsiteX3" fmla="*/ 0 w 8392749"/>
              <a:gd name="connsiteY3" fmla="*/ 7320983 h 7320983"/>
            </a:gdLst>
            <a:ahLst/>
            <a:cxnLst>
              <a:cxn ang="0">
                <a:pos x="connsiteX0" y="connsiteY0"/>
              </a:cxn>
              <a:cxn ang="0">
                <a:pos x="connsiteX1" y="connsiteY1"/>
              </a:cxn>
              <a:cxn ang="0">
                <a:pos x="connsiteX2" y="connsiteY2"/>
              </a:cxn>
              <a:cxn ang="0">
                <a:pos x="connsiteX3" y="connsiteY3"/>
              </a:cxn>
            </a:cxnLst>
            <a:rect l="l" t="t" r="r" b="b"/>
            <a:pathLst>
              <a:path w="8392749" h="7320983">
                <a:moveTo>
                  <a:pt x="8392749" y="7320983"/>
                </a:moveTo>
                <a:lnTo>
                  <a:pt x="6431098" y="0"/>
                </a:lnTo>
                <a:lnTo>
                  <a:pt x="0" y="1723207"/>
                </a:lnTo>
                <a:lnTo>
                  <a:pt x="0" y="7320983"/>
                </a:lnTo>
                <a:close/>
              </a:path>
            </a:pathLst>
          </a:custGeom>
        </p:spPr>
      </p:pic>
      <p:sp>
        <p:nvSpPr>
          <p:cNvPr id="8" name="Text Placeholder 22">
            <a:extLst>
              <a:ext uri="{FF2B5EF4-FFF2-40B4-BE49-F238E27FC236}">
                <a16:creationId xmlns:a16="http://schemas.microsoft.com/office/drawing/2014/main" id="{25414CB8-C47B-D54A-5A19-D047C814EB2F}"/>
              </a:ext>
            </a:extLst>
          </p:cNvPr>
          <p:cNvSpPr>
            <a:spLocks noGrp="1"/>
          </p:cNvSpPr>
          <p:nvPr>
            <p:ph type="body" sz="quarter" idx="13" hasCustomPrompt="1"/>
          </p:nvPr>
        </p:nvSpPr>
        <p:spPr>
          <a:xfrm>
            <a:off x="515939" y="4539039"/>
            <a:ext cx="5185614" cy="263149"/>
          </a:xfrm>
        </p:spPr>
        <p:txBody>
          <a:bodyPr wrap="square" anchor="t">
            <a:noAutofit/>
          </a:bodyPr>
          <a:lstStyle>
            <a:lvl1pPr marL="0" indent="0">
              <a:buNone/>
              <a:defRPr sz="1800" spc="0">
                <a:solidFill>
                  <a:schemeClr val="tx1"/>
                </a:solidFill>
              </a:defRPr>
            </a:lvl1pPr>
          </a:lstStyle>
          <a:p>
            <a:pPr lvl="0"/>
            <a:r>
              <a:rPr lang="en-US"/>
              <a:t>Speaker title, Employing entity</a:t>
            </a:r>
          </a:p>
          <a:p>
            <a:pPr lvl="0"/>
            <a:endParaRPr lang="en-US"/>
          </a:p>
        </p:txBody>
      </p:sp>
      <p:sp>
        <p:nvSpPr>
          <p:cNvPr id="9" name="TextBox 8">
            <a:extLst>
              <a:ext uri="{FF2B5EF4-FFF2-40B4-BE49-F238E27FC236}">
                <a16:creationId xmlns:a16="http://schemas.microsoft.com/office/drawing/2014/main" id="{B7FAD67F-93ED-314D-D1AA-1DB2C697FECD}"/>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dirty="0">
                <a:solidFill>
                  <a:schemeClr val="accent6">
                    <a:lumMod val="9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dirty="0">
              <a:solidFill>
                <a:schemeClr val="accent6">
                  <a:lumMod val="90000"/>
                </a:schemeClr>
              </a:solidFill>
              <a:latin typeface="+mn-lt"/>
              <a:ea typeface="+mn-ea"/>
              <a:cs typeface="+mn-cs"/>
            </a:endParaRPr>
          </a:p>
        </p:txBody>
      </p:sp>
      <p:sp>
        <p:nvSpPr>
          <p:cNvPr id="10" name="Text Placeholder 22">
            <a:extLst>
              <a:ext uri="{FF2B5EF4-FFF2-40B4-BE49-F238E27FC236}">
                <a16:creationId xmlns:a16="http://schemas.microsoft.com/office/drawing/2014/main" id="{BB70763C-7C2B-E0D1-9972-18237DCCEDB1}"/>
              </a:ext>
            </a:extLst>
          </p:cNvPr>
          <p:cNvSpPr>
            <a:spLocks noGrp="1"/>
          </p:cNvSpPr>
          <p:nvPr>
            <p:ph type="body" sz="quarter" idx="14" hasCustomPrompt="1"/>
          </p:nvPr>
        </p:nvSpPr>
        <p:spPr>
          <a:xfrm>
            <a:off x="515939" y="5763332"/>
            <a:ext cx="5185614"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405864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guide id="3" orient="horz" pos="2387">
          <p15:clr>
            <a:srgbClr val="FBAE40"/>
          </p15:clr>
        </p15:guide>
        <p15:guide id="4" orient="horz" pos="2568">
          <p15:clr>
            <a:srgbClr val="FBAE40"/>
          </p15:clr>
        </p15:guide>
        <p15:guide id="5" orient="horz" pos="3022">
          <p15:clr>
            <a:srgbClr val="FBAE40"/>
          </p15:clr>
        </p15:guide>
        <p15:guide id="6" pos="3591">
          <p15:clr>
            <a:srgbClr val="FBAE4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showMasterSp="0" preserve="1" userDrawn="1">
  <p:cSld name="Title_Light Grey">
    <p:bg>
      <p:bgPr>
        <a:solidFill>
          <a:srgbClr val="EFF1F5"/>
        </a:solidFill>
        <a:effectLst/>
      </p:bgPr>
    </p:bg>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0C535C80-8733-FA80-BF54-35742A8FF0D6}"/>
              </a:ext>
            </a:extLst>
          </p:cNvPr>
          <p:cNvPicPr>
            <a:picLocks noChangeAspect="1" noChangeArrowheads="1"/>
          </p:cNvPicPr>
          <p:nvPr userDrawn="1"/>
        </p:nvPicPr>
        <p:blipFill rotWithShape="1">
          <a:blip r:embed="rId2">
            <a:extLst>
              <a:ext uri="{96DAC541-7B7A-43D3-8B79-37D633B846F1}">
                <asvg:svgBlip xmlns:asvg="http://schemas.microsoft.com/office/drawing/2016/SVG/main" r:embed="rId3"/>
              </a:ext>
            </a:extLst>
          </a:blip>
          <a:srcRect t="-1567" b="-1567"/>
          <a:stretch/>
        </p:blipFill>
        <p:spPr bwMode="auto">
          <a:xfrm>
            <a:off x="10295650" y="4786296"/>
            <a:ext cx="894630" cy="1062179"/>
          </a:xfrm>
          <a:prstGeom prst="rect">
            <a:avLst/>
          </a:prstGeom>
          <a:noFill/>
        </p:spPr>
      </p:pic>
      <p:sp>
        <p:nvSpPr>
          <p:cNvPr id="4" name="Freeform 5">
            <a:extLst>
              <a:ext uri="{FF2B5EF4-FFF2-40B4-BE49-F238E27FC236}">
                <a16:creationId xmlns:a16="http://schemas.microsoft.com/office/drawing/2014/main" id="{A4F0D70E-53E2-162C-22F7-51348A82B292}"/>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 name="Title 2">
            <a:extLst>
              <a:ext uri="{FF2B5EF4-FFF2-40B4-BE49-F238E27FC236}">
                <a16:creationId xmlns:a16="http://schemas.microsoft.com/office/drawing/2014/main" id="{A71DD4A2-F6F8-2FEF-E6ED-67E872488C9B}"/>
              </a:ext>
            </a:extLst>
          </p:cNvPr>
          <p:cNvSpPr>
            <a:spLocks noGrp="1"/>
          </p:cNvSpPr>
          <p:nvPr>
            <p:ph type="title" hasCustomPrompt="1"/>
          </p:nvPr>
        </p:nvSpPr>
        <p:spPr bwMode="gray">
          <a:xfrm>
            <a:off x="515938" y="1586753"/>
            <a:ext cx="5185615" cy="2202610"/>
          </a:xfrm>
        </p:spPr>
        <p:txBody>
          <a:bodyPr wrap="square" anchor="b">
            <a:noAutofit/>
          </a:bodyPr>
          <a:lstStyle>
            <a:lvl1pPr marL="0" algn="l" defTabSz="914400" rtl="0" eaLnBrk="1" latinLnBrk="0" hangingPunct="1">
              <a:lnSpc>
                <a:spcPct val="80000"/>
              </a:lnSpc>
              <a:defRPr lang="en-US" sz="4800" kern="1200" spc="0" dirty="0">
                <a:solidFill>
                  <a:schemeClr val="accent1"/>
                </a:solidFill>
                <a:latin typeface="Aptos" panose="020B0004020202020204" pitchFamily="34" charset="0"/>
                <a:ea typeface="Alfabet" pitchFamily="2" charset="0"/>
                <a:cs typeface="Microsoft Sans Serif" panose="020B0604020202020204" pitchFamily="34" charset="0"/>
              </a:defRPr>
            </a:lvl1pPr>
          </a:lstStyle>
          <a:p>
            <a:r>
              <a:rPr lang="en-US"/>
              <a:t>Presentation </a:t>
            </a:r>
            <a:br>
              <a:rPr lang="en-US"/>
            </a:br>
            <a:r>
              <a:rPr lang="en-US"/>
              <a:t>title goes here</a:t>
            </a:r>
            <a:br>
              <a:rPr lang="en-US"/>
            </a:br>
            <a:r>
              <a:rPr lang="en-US"/>
              <a:t>four lines</a:t>
            </a:r>
            <a:br>
              <a:rPr lang="en-US"/>
            </a:br>
            <a:r>
              <a:rPr lang="en-US"/>
              <a:t>maximum</a:t>
            </a:r>
          </a:p>
        </p:txBody>
      </p:sp>
      <p:sp>
        <p:nvSpPr>
          <p:cNvPr id="7" name="Text Placeholder 7">
            <a:extLst>
              <a:ext uri="{FF2B5EF4-FFF2-40B4-BE49-F238E27FC236}">
                <a16:creationId xmlns:a16="http://schemas.microsoft.com/office/drawing/2014/main" id="{CDFA959F-8485-8388-01E9-586AFF83F76F}"/>
              </a:ext>
            </a:extLst>
          </p:cNvPr>
          <p:cNvSpPr>
            <a:spLocks noGrp="1"/>
          </p:cNvSpPr>
          <p:nvPr>
            <p:ph type="body" sz="quarter" idx="10" hasCustomPrompt="1"/>
          </p:nvPr>
        </p:nvSpPr>
        <p:spPr bwMode="gray">
          <a:xfrm>
            <a:off x="515937" y="4080516"/>
            <a:ext cx="5186783" cy="450485"/>
          </a:xfrm>
          <a:prstGeom prst="rect">
            <a:avLst/>
          </a:prstGeom>
        </p:spPr>
        <p:txBody>
          <a:bodyPr>
            <a:noAutofit/>
          </a:bodyPr>
          <a:lstStyle>
            <a:lvl1pPr marL="457200" indent="-457200" algn="l" defTabSz="914400" rtl="0" eaLnBrk="1" latinLnBrk="0" hangingPunct="1">
              <a:lnSpc>
                <a:spcPct val="96000"/>
              </a:lnSpc>
              <a:spcBef>
                <a:spcPts val="0"/>
              </a:spcBef>
              <a:spcAft>
                <a:spcPts val="600"/>
              </a:spcAft>
              <a:buFontTx/>
              <a:buNone/>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marL="0" lvl="0" indent="0" algn="l" defTabSz="914400" rtl="0" eaLnBrk="1" latinLnBrk="0" hangingPunct="1">
              <a:lnSpc>
                <a:spcPct val="96000"/>
              </a:lnSpc>
              <a:spcBef>
                <a:spcPts val="0"/>
              </a:spcBef>
              <a:spcAft>
                <a:spcPts val="600"/>
              </a:spcAft>
              <a:buClrTx/>
              <a:buFont typeface="Microsoft Sans Serif" panose="020B0604020202020204" pitchFamily="34" charset="0"/>
              <a:buChar char="​"/>
            </a:pPr>
            <a:r>
              <a:rPr lang="en-US"/>
              <a:t>Speaker name</a:t>
            </a:r>
          </a:p>
        </p:txBody>
      </p:sp>
      <p:pic>
        <p:nvPicPr>
          <p:cNvPr id="5" name="Graphic 4">
            <a:extLst>
              <a:ext uri="{FF2B5EF4-FFF2-40B4-BE49-F238E27FC236}">
                <a16:creationId xmlns:a16="http://schemas.microsoft.com/office/drawing/2014/main" id="{89029DA5-D332-D33B-48CF-786959774D28}"/>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32310" r="22445" b="38"/>
          <a:stretch/>
        </p:blipFill>
        <p:spPr>
          <a:xfrm rot="9900000" flipH="1">
            <a:off x="4889643" y="240133"/>
            <a:ext cx="8392749" cy="7320983"/>
          </a:xfrm>
          <a:custGeom>
            <a:avLst/>
            <a:gdLst>
              <a:gd name="connsiteX0" fmla="*/ 8392749 w 8392749"/>
              <a:gd name="connsiteY0" fmla="*/ 7320983 h 7320983"/>
              <a:gd name="connsiteX1" fmla="*/ 6431098 w 8392749"/>
              <a:gd name="connsiteY1" fmla="*/ 0 h 7320983"/>
              <a:gd name="connsiteX2" fmla="*/ 0 w 8392749"/>
              <a:gd name="connsiteY2" fmla="*/ 1723207 h 7320983"/>
              <a:gd name="connsiteX3" fmla="*/ 0 w 8392749"/>
              <a:gd name="connsiteY3" fmla="*/ 7320983 h 7320983"/>
            </a:gdLst>
            <a:ahLst/>
            <a:cxnLst>
              <a:cxn ang="0">
                <a:pos x="connsiteX0" y="connsiteY0"/>
              </a:cxn>
              <a:cxn ang="0">
                <a:pos x="connsiteX1" y="connsiteY1"/>
              </a:cxn>
              <a:cxn ang="0">
                <a:pos x="connsiteX2" y="connsiteY2"/>
              </a:cxn>
              <a:cxn ang="0">
                <a:pos x="connsiteX3" y="connsiteY3"/>
              </a:cxn>
            </a:cxnLst>
            <a:rect l="l" t="t" r="r" b="b"/>
            <a:pathLst>
              <a:path w="8392749" h="7320983">
                <a:moveTo>
                  <a:pt x="8392749" y="7320983"/>
                </a:moveTo>
                <a:lnTo>
                  <a:pt x="6431098" y="0"/>
                </a:lnTo>
                <a:lnTo>
                  <a:pt x="0" y="1723207"/>
                </a:lnTo>
                <a:lnTo>
                  <a:pt x="0" y="7320983"/>
                </a:lnTo>
                <a:close/>
              </a:path>
            </a:pathLst>
          </a:custGeom>
        </p:spPr>
      </p:pic>
      <p:sp>
        <p:nvSpPr>
          <p:cNvPr id="6" name="Text Placeholder 22">
            <a:extLst>
              <a:ext uri="{FF2B5EF4-FFF2-40B4-BE49-F238E27FC236}">
                <a16:creationId xmlns:a16="http://schemas.microsoft.com/office/drawing/2014/main" id="{5591563C-8D42-F10A-A6F2-8BFC85D9973D}"/>
              </a:ext>
            </a:extLst>
          </p:cNvPr>
          <p:cNvSpPr>
            <a:spLocks noGrp="1"/>
          </p:cNvSpPr>
          <p:nvPr>
            <p:ph type="body" sz="quarter" idx="13" hasCustomPrompt="1"/>
          </p:nvPr>
        </p:nvSpPr>
        <p:spPr>
          <a:xfrm>
            <a:off x="515939" y="4539039"/>
            <a:ext cx="5185614" cy="263149"/>
          </a:xfrm>
        </p:spPr>
        <p:txBody>
          <a:bodyPr wrap="square" anchor="t">
            <a:noAutofit/>
          </a:bodyPr>
          <a:lstStyle>
            <a:lvl1pPr marL="0" indent="0">
              <a:buNone/>
              <a:defRPr sz="1800" spc="0">
                <a:solidFill>
                  <a:schemeClr val="tx1"/>
                </a:solidFill>
              </a:defRPr>
            </a:lvl1pPr>
          </a:lstStyle>
          <a:p>
            <a:pPr lvl="0"/>
            <a:r>
              <a:rPr lang="en-US"/>
              <a:t>Speaker title, Employing entity</a:t>
            </a:r>
          </a:p>
          <a:p>
            <a:pPr lvl="0"/>
            <a:endParaRPr lang="en-US"/>
          </a:p>
        </p:txBody>
      </p:sp>
      <p:sp>
        <p:nvSpPr>
          <p:cNvPr id="9" name="TextBox 8">
            <a:extLst>
              <a:ext uri="{FF2B5EF4-FFF2-40B4-BE49-F238E27FC236}">
                <a16:creationId xmlns:a16="http://schemas.microsoft.com/office/drawing/2014/main" id="{1F810BBF-1E4D-345B-1E9A-6518F97CFA5F}"/>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a:solidFill>
                  <a:schemeClr val="accent6">
                    <a:lumMod val="5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a:solidFill>
                <a:schemeClr val="accent6">
                  <a:lumMod val="50000"/>
                </a:schemeClr>
              </a:solidFill>
              <a:latin typeface="+mn-lt"/>
              <a:ea typeface="+mn-ea"/>
              <a:cs typeface="+mn-cs"/>
            </a:endParaRPr>
          </a:p>
        </p:txBody>
      </p:sp>
      <p:sp>
        <p:nvSpPr>
          <p:cNvPr id="10" name="Text Placeholder 22">
            <a:extLst>
              <a:ext uri="{FF2B5EF4-FFF2-40B4-BE49-F238E27FC236}">
                <a16:creationId xmlns:a16="http://schemas.microsoft.com/office/drawing/2014/main" id="{72F95F94-AED3-E1F5-F8D8-3D1C31656238}"/>
              </a:ext>
            </a:extLst>
          </p:cNvPr>
          <p:cNvSpPr>
            <a:spLocks noGrp="1"/>
          </p:cNvSpPr>
          <p:nvPr>
            <p:ph type="body" sz="quarter" idx="14" hasCustomPrompt="1"/>
          </p:nvPr>
        </p:nvSpPr>
        <p:spPr>
          <a:xfrm>
            <a:off x="515939" y="5763332"/>
            <a:ext cx="5185614"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778142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guide id="3" orient="horz" pos="2387">
          <p15:clr>
            <a:srgbClr val="FBAE40"/>
          </p15:clr>
        </p15:guide>
        <p15:guide id="4" orient="horz" pos="2568">
          <p15:clr>
            <a:srgbClr val="FBAE40"/>
          </p15:clr>
        </p15:guide>
        <p15:guide id="5" orient="horz" pos="3022">
          <p15:clr>
            <a:srgbClr val="FBAE40"/>
          </p15:clr>
        </p15:guide>
        <p15:guide id="6" pos="3591">
          <p15:clr>
            <a:srgbClr val="FBAE4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preserve="1" userDrawn="1">
  <p:cSld name="Full Photo">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id="{008FB009-1CAA-4C0D-DFFE-34480291E6D4}"/>
              </a:ext>
            </a:extLst>
          </p:cNvPr>
          <p:cNvSpPr>
            <a:spLocks noGrp="1"/>
          </p:cNvSpPr>
          <p:nvPr>
            <p:ph type="pic" sz="quarter" idx="12" hasCustomPrompt="1"/>
          </p:nvPr>
        </p:nvSpPr>
        <p:spPr>
          <a:xfrm>
            <a:off x="0" y="0"/>
            <a:ext cx="12192000" cy="6858000"/>
          </a:xfrm>
          <a:custGeom>
            <a:avLst/>
            <a:gdLst>
              <a:gd name="connsiteX0" fmla="*/ 1625898 w 12192000"/>
              <a:gd name="connsiteY0" fmla="*/ 586917 h 6858000"/>
              <a:gd name="connsiteX1" fmla="*/ 1684416 w 12192000"/>
              <a:gd name="connsiteY1" fmla="*/ 647861 h 6858000"/>
              <a:gd name="connsiteX2" fmla="*/ 1625898 w 12192000"/>
              <a:gd name="connsiteY2" fmla="*/ 708580 h 6858000"/>
              <a:gd name="connsiteX3" fmla="*/ 1567381 w 12192000"/>
              <a:gd name="connsiteY3" fmla="*/ 647861 h 6858000"/>
              <a:gd name="connsiteX4" fmla="*/ 1625898 w 12192000"/>
              <a:gd name="connsiteY4" fmla="*/ 586917 h 6858000"/>
              <a:gd name="connsiteX5" fmla="*/ 1144317 w 12192000"/>
              <a:gd name="connsiteY5" fmla="*/ 586917 h 6858000"/>
              <a:gd name="connsiteX6" fmla="*/ 1202834 w 12192000"/>
              <a:gd name="connsiteY6" fmla="*/ 647861 h 6858000"/>
              <a:gd name="connsiteX7" fmla="*/ 1144317 w 12192000"/>
              <a:gd name="connsiteY7" fmla="*/ 709029 h 6858000"/>
              <a:gd name="connsiteX8" fmla="*/ 1085799 w 12192000"/>
              <a:gd name="connsiteY8" fmla="*/ 647861 h 6858000"/>
              <a:gd name="connsiteX9" fmla="*/ 1144317 w 12192000"/>
              <a:gd name="connsiteY9" fmla="*/ 586917 h 6858000"/>
              <a:gd name="connsiteX10" fmla="*/ 1801451 w 12192000"/>
              <a:gd name="connsiteY10" fmla="*/ 554101 h 6858000"/>
              <a:gd name="connsiteX11" fmla="*/ 1790979 w 12192000"/>
              <a:gd name="connsiteY11" fmla="*/ 561469 h 6858000"/>
              <a:gd name="connsiteX12" fmla="*/ 1724489 w 12192000"/>
              <a:gd name="connsiteY12" fmla="*/ 732021 h 6858000"/>
              <a:gd name="connsiteX13" fmla="*/ 1730867 w 12192000"/>
              <a:gd name="connsiteY13" fmla="*/ 741396 h 6858000"/>
              <a:gd name="connsiteX14" fmla="*/ 1756367 w 12192000"/>
              <a:gd name="connsiteY14" fmla="*/ 741396 h 6858000"/>
              <a:gd name="connsiteX15" fmla="*/ 1766843 w 12192000"/>
              <a:gd name="connsiteY15" fmla="*/ 734477 h 6858000"/>
              <a:gd name="connsiteX16" fmla="*/ 1815798 w 12192000"/>
              <a:gd name="connsiteY16" fmla="*/ 605670 h 6858000"/>
              <a:gd name="connsiteX17" fmla="*/ 1864753 w 12192000"/>
              <a:gd name="connsiteY17" fmla="*/ 734477 h 6858000"/>
              <a:gd name="connsiteX18" fmla="*/ 1874996 w 12192000"/>
              <a:gd name="connsiteY18" fmla="*/ 741396 h 6858000"/>
              <a:gd name="connsiteX19" fmla="*/ 1898451 w 12192000"/>
              <a:gd name="connsiteY19" fmla="*/ 741396 h 6858000"/>
              <a:gd name="connsiteX20" fmla="*/ 1908924 w 12192000"/>
              <a:gd name="connsiteY20" fmla="*/ 734477 h 6858000"/>
              <a:gd name="connsiteX21" fmla="*/ 1959018 w 12192000"/>
              <a:gd name="connsiteY21" fmla="*/ 605670 h 6858000"/>
              <a:gd name="connsiteX22" fmla="*/ 2007518 w 12192000"/>
              <a:gd name="connsiteY22" fmla="*/ 734477 h 6858000"/>
              <a:gd name="connsiteX23" fmla="*/ 2017993 w 12192000"/>
              <a:gd name="connsiteY23" fmla="*/ 741396 h 6858000"/>
              <a:gd name="connsiteX24" fmla="*/ 2042584 w 12192000"/>
              <a:gd name="connsiteY24" fmla="*/ 741396 h 6858000"/>
              <a:gd name="connsiteX25" fmla="*/ 2053056 w 12192000"/>
              <a:gd name="connsiteY25" fmla="*/ 734477 h 6858000"/>
              <a:gd name="connsiteX26" fmla="*/ 2102011 w 12192000"/>
              <a:gd name="connsiteY26" fmla="*/ 605670 h 6858000"/>
              <a:gd name="connsiteX27" fmla="*/ 2151650 w 12192000"/>
              <a:gd name="connsiteY27" fmla="*/ 734477 h 6858000"/>
              <a:gd name="connsiteX28" fmla="*/ 2162126 w 12192000"/>
              <a:gd name="connsiteY28" fmla="*/ 741396 h 6858000"/>
              <a:gd name="connsiteX29" fmla="*/ 2185577 w 12192000"/>
              <a:gd name="connsiteY29" fmla="*/ 741396 h 6858000"/>
              <a:gd name="connsiteX30" fmla="*/ 2195824 w 12192000"/>
              <a:gd name="connsiteY30" fmla="*/ 734477 h 6858000"/>
              <a:gd name="connsiteX31" fmla="*/ 2245234 w 12192000"/>
              <a:gd name="connsiteY31" fmla="*/ 606340 h 6858000"/>
              <a:gd name="connsiteX32" fmla="*/ 2293734 w 12192000"/>
              <a:gd name="connsiteY32" fmla="*/ 734477 h 6858000"/>
              <a:gd name="connsiteX33" fmla="*/ 2304206 w 12192000"/>
              <a:gd name="connsiteY33" fmla="*/ 741396 h 6858000"/>
              <a:gd name="connsiteX34" fmla="*/ 2330394 w 12192000"/>
              <a:gd name="connsiteY34" fmla="*/ 741396 h 6858000"/>
              <a:gd name="connsiteX35" fmla="*/ 2336769 w 12192000"/>
              <a:gd name="connsiteY35" fmla="*/ 732021 h 6858000"/>
              <a:gd name="connsiteX36" fmla="*/ 2270279 w 12192000"/>
              <a:gd name="connsiteY36" fmla="*/ 561469 h 6858000"/>
              <a:gd name="connsiteX37" fmla="*/ 2260033 w 12192000"/>
              <a:gd name="connsiteY37" fmla="*/ 554101 h 6858000"/>
              <a:gd name="connsiteX38" fmla="*/ 2231345 w 12192000"/>
              <a:gd name="connsiteY38" fmla="*/ 554101 h 6858000"/>
              <a:gd name="connsiteX39" fmla="*/ 2220869 w 12192000"/>
              <a:gd name="connsiteY39" fmla="*/ 561469 h 6858000"/>
              <a:gd name="connsiteX40" fmla="*/ 2174421 w 12192000"/>
              <a:gd name="connsiteY40" fmla="*/ 686034 h 6858000"/>
              <a:gd name="connsiteX41" fmla="*/ 2126605 w 12192000"/>
              <a:gd name="connsiteY41" fmla="*/ 561469 h 6858000"/>
              <a:gd name="connsiteX42" fmla="*/ 2116358 w 12192000"/>
              <a:gd name="connsiteY42" fmla="*/ 554101 h 6858000"/>
              <a:gd name="connsiteX43" fmla="*/ 2087896 w 12192000"/>
              <a:gd name="connsiteY43" fmla="*/ 554101 h 6858000"/>
              <a:gd name="connsiteX44" fmla="*/ 2077650 w 12192000"/>
              <a:gd name="connsiteY44" fmla="*/ 561469 h 6858000"/>
              <a:gd name="connsiteX45" fmla="*/ 2030743 w 12192000"/>
              <a:gd name="connsiteY45" fmla="*/ 686034 h 6858000"/>
              <a:gd name="connsiteX46" fmla="*/ 1983608 w 12192000"/>
              <a:gd name="connsiteY46" fmla="*/ 561469 h 6858000"/>
              <a:gd name="connsiteX47" fmla="*/ 1973365 w 12192000"/>
              <a:gd name="connsiteY47" fmla="*/ 554101 h 6858000"/>
              <a:gd name="connsiteX48" fmla="*/ 1945128 w 12192000"/>
              <a:gd name="connsiteY48" fmla="*/ 554101 h 6858000"/>
              <a:gd name="connsiteX49" fmla="*/ 1934656 w 12192000"/>
              <a:gd name="connsiteY49" fmla="*/ 561469 h 6858000"/>
              <a:gd name="connsiteX50" fmla="*/ 1887295 w 12192000"/>
              <a:gd name="connsiteY50" fmla="*/ 686034 h 6858000"/>
              <a:gd name="connsiteX51" fmla="*/ 1840389 w 12192000"/>
              <a:gd name="connsiteY51" fmla="*/ 561469 h 6858000"/>
              <a:gd name="connsiteX52" fmla="*/ 1830142 w 12192000"/>
              <a:gd name="connsiteY52" fmla="*/ 554101 h 6858000"/>
              <a:gd name="connsiteX53" fmla="*/ 1801451 w 12192000"/>
              <a:gd name="connsiteY53" fmla="*/ 554101 h 6858000"/>
              <a:gd name="connsiteX54" fmla="*/ 841937 w 12192000"/>
              <a:gd name="connsiteY54" fmla="*/ 554101 h 6858000"/>
              <a:gd name="connsiteX55" fmla="*/ 832600 w 12192000"/>
              <a:gd name="connsiteY55" fmla="*/ 562809 h 6858000"/>
              <a:gd name="connsiteX56" fmla="*/ 832600 w 12192000"/>
              <a:gd name="connsiteY56" fmla="*/ 666168 h 6858000"/>
              <a:gd name="connsiteX57" fmla="*/ 913205 w 12192000"/>
              <a:gd name="connsiteY57" fmla="*/ 746532 h 6858000"/>
              <a:gd name="connsiteX58" fmla="*/ 975139 w 12192000"/>
              <a:gd name="connsiteY58" fmla="*/ 717513 h 6858000"/>
              <a:gd name="connsiteX59" fmla="*/ 975139 w 12192000"/>
              <a:gd name="connsiteY59" fmla="*/ 733136 h 6858000"/>
              <a:gd name="connsiteX60" fmla="*/ 984018 w 12192000"/>
              <a:gd name="connsiteY60" fmla="*/ 741396 h 6858000"/>
              <a:gd name="connsiteX61" fmla="*/ 1007473 w 12192000"/>
              <a:gd name="connsiteY61" fmla="*/ 741396 h 6858000"/>
              <a:gd name="connsiteX62" fmla="*/ 1016580 w 12192000"/>
              <a:gd name="connsiteY62" fmla="*/ 732915 h 6858000"/>
              <a:gd name="connsiteX63" fmla="*/ 1016580 w 12192000"/>
              <a:gd name="connsiteY63" fmla="*/ 563034 h 6858000"/>
              <a:gd name="connsiteX64" fmla="*/ 1007473 w 12192000"/>
              <a:gd name="connsiteY64" fmla="*/ 554101 h 6858000"/>
              <a:gd name="connsiteX65" fmla="*/ 984018 w 12192000"/>
              <a:gd name="connsiteY65" fmla="*/ 554101 h 6858000"/>
              <a:gd name="connsiteX66" fmla="*/ 975139 w 12192000"/>
              <a:gd name="connsiteY66" fmla="*/ 562809 h 6858000"/>
              <a:gd name="connsiteX67" fmla="*/ 975139 w 12192000"/>
              <a:gd name="connsiteY67" fmla="*/ 659916 h 6858000"/>
              <a:gd name="connsiteX68" fmla="*/ 923906 w 12192000"/>
              <a:gd name="connsiteY68" fmla="*/ 711261 h 6858000"/>
              <a:gd name="connsiteX69" fmla="*/ 874041 w 12192000"/>
              <a:gd name="connsiteY69" fmla="*/ 659470 h 6858000"/>
              <a:gd name="connsiteX70" fmla="*/ 874041 w 12192000"/>
              <a:gd name="connsiteY70" fmla="*/ 562809 h 6858000"/>
              <a:gd name="connsiteX71" fmla="*/ 865389 w 12192000"/>
              <a:gd name="connsiteY71" fmla="*/ 554101 h 6858000"/>
              <a:gd name="connsiteX72" fmla="*/ 841937 w 12192000"/>
              <a:gd name="connsiteY72" fmla="*/ 554101 h 6858000"/>
              <a:gd name="connsiteX73" fmla="*/ 1625898 w 12192000"/>
              <a:gd name="connsiteY73" fmla="*/ 548968 h 6858000"/>
              <a:gd name="connsiteX74" fmla="*/ 1525711 w 12192000"/>
              <a:gd name="connsiteY74" fmla="*/ 647861 h 6858000"/>
              <a:gd name="connsiteX75" fmla="*/ 1625898 w 12192000"/>
              <a:gd name="connsiteY75" fmla="*/ 746532 h 6858000"/>
              <a:gd name="connsiteX76" fmla="*/ 1726312 w 12192000"/>
              <a:gd name="connsiteY76" fmla="*/ 647861 h 6858000"/>
              <a:gd name="connsiteX77" fmla="*/ 1625898 w 12192000"/>
              <a:gd name="connsiteY77" fmla="*/ 548968 h 6858000"/>
              <a:gd name="connsiteX78" fmla="*/ 1451936 w 12192000"/>
              <a:gd name="connsiteY78" fmla="*/ 548743 h 6858000"/>
              <a:gd name="connsiteX79" fmla="*/ 1353346 w 12192000"/>
              <a:gd name="connsiteY79" fmla="*/ 647861 h 6858000"/>
              <a:gd name="connsiteX80" fmla="*/ 1451936 w 12192000"/>
              <a:gd name="connsiteY80" fmla="*/ 746532 h 6858000"/>
              <a:gd name="connsiteX81" fmla="*/ 1513415 w 12192000"/>
              <a:gd name="connsiteY81" fmla="*/ 727779 h 6858000"/>
              <a:gd name="connsiteX82" fmla="*/ 1515235 w 12192000"/>
              <a:gd name="connsiteY82" fmla="*/ 714832 h 6858000"/>
              <a:gd name="connsiteX83" fmla="*/ 1503398 w 12192000"/>
              <a:gd name="connsiteY83" fmla="*/ 700100 h 6858000"/>
              <a:gd name="connsiteX84" fmla="*/ 1489506 w 12192000"/>
              <a:gd name="connsiteY84" fmla="*/ 698090 h 6858000"/>
              <a:gd name="connsiteX85" fmla="*/ 1453304 w 12192000"/>
              <a:gd name="connsiteY85" fmla="*/ 709475 h 6858000"/>
              <a:gd name="connsiteX86" fmla="*/ 1395467 w 12192000"/>
              <a:gd name="connsiteY86" fmla="*/ 647861 h 6858000"/>
              <a:gd name="connsiteX87" fmla="*/ 1453304 w 12192000"/>
              <a:gd name="connsiteY87" fmla="*/ 585801 h 6858000"/>
              <a:gd name="connsiteX88" fmla="*/ 1490189 w 12192000"/>
              <a:gd name="connsiteY88" fmla="*/ 596965 h 6858000"/>
              <a:gd name="connsiteX89" fmla="*/ 1504078 w 12192000"/>
              <a:gd name="connsiteY89" fmla="*/ 595401 h 6858000"/>
              <a:gd name="connsiteX90" fmla="*/ 1515235 w 12192000"/>
              <a:gd name="connsiteY90" fmla="*/ 580222 h 6858000"/>
              <a:gd name="connsiteX91" fmla="*/ 1513415 w 12192000"/>
              <a:gd name="connsiteY91" fmla="*/ 567272 h 6858000"/>
              <a:gd name="connsiteX92" fmla="*/ 1451936 w 12192000"/>
              <a:gd name="connsiteY92" fmla="*/ 548743 h 6858000"/>
              <a:gd name="connsiteX93" fmla="*/ 1139990 w 12192000"/>
              <a:gd name="connsiteY93" fmla="*/ 548743 h 6858000"/>
              <a:gd name="connsiteX94" fmla="*/ 1043674 w 12192000"/>
              <a:gd name="connsiteY94" fmla="*/ 647415 h 6858000"/>
              <a:gd name="connsiteX95" fmla="*/ 1139536 w 12192000"/>
              <a:gd name="connsiteY95" fmla="*/ 746532 h 6858000"/>
              <a:gd name="connsiteX96" fmla="*/ 1202380 w 12192000"/>
              <a:gd name="connsiteY96" fmla="*/ 716394 h 6858000"/>
              <a:gd name="connsiteX97" fmla="*/ 1202380 w 12192000"/>
              <a:gd name="connsiteY97" fmla="*/ 732915 h 6858000"/>
              <a:gd name="connsiteX98" fmla="*/ 1211487 w 12192000"/>
              <a:gd name="connsiteY98" fmla="*/ 741396 h 6858000"/>
              <a:gd name="connsiteX99" fmla="*/ 1235168 w 12192000"/>
              <a:gd name="connsiteY99" fmla="*/ 741396 h 6858000"/>
              <a:gd name="connsiteX100" fmla="*/ 1243820 w 12192000"/>
              <a:gd name="connsiteY100" fmla="*/ 732915 h 6858000"/>
              <a:gd name="connsiteX101" fmla="*/ 1243820 w 12192000"/>
              <a:gd name="connsiteY101" fmla="*/ 563034 h 6858000"/>
              <a:gd name="connsiteX102" fmla="*/ 1235168 w 12192000"/>
              <a:gd name="connsiteY102" fmla="*/ 554101 h 6858000"/>
              <a:gd name="connsiteX103" fmla="*/ 1211487 w 12192000"/>
              <a:gd name="connsiteY103" fmla="*/ 554101 h 6858000"/>
              <a:gd name="connsiteX104" fmla="*/ 1202380 w 12192000"/>
              <a:gd name="connsiteY104" fmla="*/ 563034 h 6858000"/>
              <a:gd name="connsiteX105" fmla="*/ 1202380 w 12192000"/>
              <a:gd name="connsiteY105" fmla="*/ 578658 h 6858000"/>
              <a:gd name="connsiteX106" fmla="*/ 1139990 w 12192000"/>
              <a:gd name="connsiteY106" fmla="*/ 548743 h 6858000"/>
              <a:gd name="connsiteX107" fmla="*/ 661145 w 12192000"/>
              <a:gd name="connsiteY107" fmla="*/ 498739 h 6858000"/>
              <a:gd name="connsiteX108" fmla="*/ 761788 w 12192000"/>
              <a:gd name="connsiteY108" fmla="*/ 603214 h 6858000"/>
              <a:gd name="connsiteX109" fmla="*/ 724444 w 12192000"/>
              <a:gd name="connsiteY109" fmla="*/ 686259 h 6858000"/>
              <a:gd name="connsiteX110" fmla="*/ 705999 w 12192000"/>
              <a:gd name="connsiteY110" fmla="*/ 639601 h 6858000"/>
              <a:gd name="connsiteX111" fmla="*/ 694159 w 12192000"/>
              <a:gd name="connsiteY111" fmla="*/ 632234 h 6858000"/>
              <a:gd name="connsiteX112" fmla="*/ 670253 w 12192000"/>
              <a:gd name="connsiteY112" fmla="*/ 632234 h 6858000"/>
              <a:gd name="connsiteX113" fmla="*/ 662284 w 12192000"/>
              <a:gd name="connsiteY113" fmla="*/ 643397 h 6858000"/>
              <a:gd name="connsiteX114" fmla="*/ 686419 w 12192000"/>
              <a:gd name="connsiteY114" fmla="*/ 704787 h 6858000"/>
              <a:gd name="connsiteX115" fmla="*/ 661145 w 12192000"/>
              <a:gd name="connsiteY115" fmla="*/ 707913 h 6858000"/>
              <a:gd name="connsiteX116" fmla="*/ 560502 w 12192000"/>
              <a:gd name="connsiteY116" fmla="*/ 603214 h 6858000"/>
              <a:gd name="connsiteX117" fmla="*/ 661145 w 12192000"/>
              <a:gd name="connsiteY117" fmla="*/ 498739 h 6858000"/>
              <a:gd name="connsiteX118" fmla="*/ 1293915 w 12192000"/>
              <a:gd name="connsiteY118" fmla="*/ 465253 h 6858000"/>
              <a:gd name="connsiteX119" fmla="*/ 1284807 w 12192000"/>
              <a:gd name="connsiteY119" fmla="*/ 474183 h 6858000"/>
              <a:gd name="connsiteX120" fmla="*/ 1284807 w 12192000"/>
              <a:gd name="connsiteY120" fmla="*/ 732467 h 6858000"/>
              <a:gd name="connsiteX121" fmla="*/ 1293915 w 12192000"/>
              <a:gd name="connsiteY121" fmla="*/ 741396 h 6858000"/>
              <a:gd name="connsiteX122" fmla="*/ 1317366 w 12192000"/>
              <a:gd name="connsiteY122" fmla="*/ 741396 h 6858000"/>
              <a:gd name="connsiteX123" fmla="*/ 1326248 w 12192000"/>
              <a:gd name="connsiteY123" fmla="*/ 732467 h 6858000"/>
              <a:gd name="connsiteX124" fmla="*/ 1326248 w 12192000"/>
              <a:gd name="connsiteY124" fmla="*/ 474183 h 6858000"/>
              <a:gd name="connsiteX125" fmla="*/ 1317366 w 12192000"/>
              <a:gd name="connsiteY125" fmla="*/ 465253 h 6858000"/>
              <a:gd name="connsiteX126" fmla="*/ 1293915 w 12192000"/>
              <a:gd name="connsiteY126" fmla="*/ 465253 h 6858000"/>
              <a:gd name="connsiteX127" fmla="*/ 661145 w 12192000"/>
              <a:gd name="connsiteY127" fmla="*/ 460120 h 6858000"/>
              <a:gd name="connsiteX128" fmla="*/ 515874 w 12192000"/>
              <a:gd name="connsiteY128" fmla="*/ 603214 h 6858000"/>
              <a:gd name="connsiteX129" fmla="*/ 661145 w 12192000"/>
              <a:gd name="connsiteY129" fmla="*/ 746532 h 6858000"/>
              <a:gd name="connsiteX130" fmla="*/ 700763 w 12192000"/>
              <a:gd name="connsiteY130" fmla="*/ 741396 h 6858000"/>
              <a:gd name="connsiteX131" fmla="*/ 716475 w 12192000"/>
              <a:gd name="connsiteY131" fmla="*/ 781134 h 6858000"/>
              <a:gd name="connsiteX132" fmla="*/ 727176 w 12192000"/>
              <a:gd name="connsiteY132" fmla="*/ 788277 h 6858000"/>
              <a:gd name="connsiteX133" fmla="*/ 752222 w 12192000"/>
              <a:gd name="connsiteY133" fmla="*/ 788277 h 6858000"/>
              <a:gd name="connsiteX134" fmla="*/ 759736 w 12192000"/>
              <a:gd name="connsiteY134" fmla="*/ 776892 h 6858000"/>
              <a:gd name="connsiteX135" fmla="*/ 739471 w 12192000"/>
              <a:gd name="connsiteY135" fmla="*/ 724656 h 6858000"/>
              <a:gd name="connsiteX136" fmla="*/ 806416 w 12192000"/>
              <a:gd name="connsiteY136" fmla="*/ 603214 h 6858000"/>
              <a:gd name="connsiteX137" fmla="*/ 661145 w 12192000"/>
              <a:gd name="connsiteY137" fmla="*/ 460120 h 6858000"/>
              <a:gd name="connsiteX138" fmla="*/ 0 w 12192000"/>
              <a:gd name="connsiteY138" fmla="*/ 0 h 6858000"/>
              <a:gd name="connsiteX139" fmla="*/ 12192000 w 12192000"/>
              <a:gd name="connsiteY139" fmla="*/ 0 h 6858000"/>
              <a:gd name="connsiteX140" fmla="*/ 12192000 w 12192000"/>
              <a:gd name="connsiteY140" fmla="*/ 6858000 h 6858000"/>
              <a:gd name="connsiteX141" fmla="*/ 0 w 12192000"/>
              <a:gd name="connsiteY1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625898" y="586917"/>
                </a:moveTo>
                <a:cubicBezTo>
                  <a:pt x="1660280" y="586917"/>
                  <a:pt x="1684416" y="613484"/>
                  <a:pt x="1684416" y="647861"/>
                </a:cubicBezTo>
                <a:cubicBezTo>
                  <a:pt x="1684416" y="681792"/>
                  <a:pt x="1660280" y="708580"/>
                  <a:pt x="1625898" y="708580"/>
                </a:cubicBezTo>
                <a:cubicBezTo>
                  <a:pt x="1591742" y="708580"/>
                  <a:pt x="1567381" y="681792"/>
                  <a:pt x="1567381" y="647861"/>
                </a:cubicBezTo>
                <a:cubicBezTo>
                  <a:pt x="1567381" y="613484"/>
                  <a:pt x="1591742" y="586917"/>
                  <a:pt x="1625898" y="586917"/>
                </a:cubicBezTo>
                <a:close/>
                <a:moveTo>
                  <a:pt x="1144317" y="586917"/>
                </a:moveTo>
                <a:cubicBezTo>
                  <a:pt x="1178244" y="586917"/>
                  <a:pt x="1202834" y="613484"/>
                  <a:pt x="1202834" y="647861"/>
                </a:cubicBezTo>
                <a:cubicBezTo>
                  <a:pt x="1202834" y="681792"/>
                  <a:pt x="1178244" y="709029"/>
                  <a:pt x="1144317" y="709029"/>
                </a:cubicBezTo>
                <a:cubicBezTo>
                  <a:pt x="1110164" y="709029"/>
                  <a:pt x="1085799" y="681792"/>
                  <a:pt x="1085799" y="647861"/>
                </a:cubicBezTo>
                <a:cubicBezTo>
                  <a:pt x="1085799" y="613484"/>
                  <a:pt x="1110164" y="586917"/>
                  <a:pt x="1144317" y="586917"/>
                </a:cubicBezTo>
                <a:close/>
                <a:moveTo>
                  <a:pt x="1801451" y="554101"/>
                </a:moveTo>
                <a:cubicBezTo>
                  <a:pt x="1796669" y="554101"/>
                  <a:pt x="1793027" y="556557"/>
                  <a:pt x="1790979" y="561469"/>
                </a:cubicBezTo>
                <a:cubicBezTo>
                  <a:pt x="1790979" y="561469"/>
                  <a:pt x="1790979" y="561469"/>
                  <a:pt x="1724489" y="732021"/>
                </a:cubicBezTo>
                <a:cubicBezTo>
                  <a:pt x="1722669" y="736708"/>
                  <a:pt x="1724943" y="741396"/>
                  <a:pt x="1730867" y="741396"/>
                </a:cubicBezTo>
                <a:cubicBezTo>
                  <a:pt x="1730867" y="741396"/>
                  <a:pt x="1730867" y="741396"/>
                  <a:pt x="1756367" y="741396"/>
                </a:cubicBezTo>
                <a:cubicBezTo>
                  <a:pt x="1761149" y="741396"/>
                  <a:pt x="1765249" y="739164"/>
                  <a:pt x="1766843" y="734477"/>
                </a:cubicBezTo>
                <a:cubicBezTo>
                  <a:pt x="1766843" y="734477"/>
                  <a:pt x="1766843" y="734477"/>
                  <a:pt x="1815798" y="605670"/>
                </a:cubicBezTo>
                <a:cubicBezTo>
                  <a:pt x="1815798" y="605670"/>
                  <a:pt x="1815798" y="605670"/>
                  <a:pt x="1864753" y="734477"/>
                </a:cubicBezTo>
                <a:cubicBezTo>
                  <a:pt x="1866573" y="739389"/>
                  <a:pt x="1870215" y="741396"/>
                  <a:pt x="1874996" y="741396"/>
                </a:cubicBezTo>
                <a:cubicBezTo>
                  <a:pt x="1874996" y="741396"/>
                  <a:pt x="1874996" y="741396"/>
                  <a:pt x="1898451" y="741396"/>
                </a:cubicBezTo>
                <a:cubicBezTo>
                  <a:pt x="1903233" y="741396"/>
                  <a:pt x="1906875" y="739389"/>
                  <a:pt x="1908924" y="734477"/>
                </a:cubicBezTo>
                <a:cubicBezTo>
                  <a:pt x="1908924" y="734477"/>
                  <a:pt x="1908924" y="734477"/>
                  <a:pt x="1959018" y="605670"/>
                </a:cubicBezTo>
                <a:cubicBezTo>
                  <a:pt x="1959018" y="605670"/>
                  <a:pt x="1959018" y="605670"/>
                  <a:pt x="2007518" y="734477"/>
                </a:cubicBezTo>
                <a:cubicBezTo>
                  <a:pt x="2009566" y="739164"/>
                  <a:pt x="2013209" y="741396"/>
                  <a:pt x="2017993" y="741396"/>
                </a:cubicBezTo>
                <a:cubicBezTo>
                  <a:pt x="2017993" y="741396"/>
                  <a:pt x="2017993" y="741396"/>
                  <a:pt x="2042584" y="741396"/>
                </a:cubicBezTo>
                <a:cubicBezTo>
                  <a:pt x="2047365" y="741396"/>
                  <a:pt x="2051007" y="739164"/>
                  <a:pt x="2053056" y="734477"/>
                </a:cubicBezTo>
                <a:cubicBezTo>
                  <a:pt x="2053056" y="734477"/>
                  <a:pt x="2053056" y="734477"/>
                  <a:pt x="2102011" y="605670"/>
                </a:cubicBezTo>
                <a:cubicBezTo>
                  <a:pt x="2102011" y="605670"/>
                  <a:pt x="2102011" y="605670"/>
                  <a:pt x="2151650" y="734477"/>
                </a:cubicBezTo>
                <a:cubicBezTo>
                  <a:pt x="2153699" y="739389"/>
                  <a:pt x="2157341" y="741396"/>
                  <a:pt x="2162126" y="741396"/>
                </a:cubicBezTo>
                <a:cubicBezTo>
                  <a:pt x="2162126" y="741396"/>
                  <a:pt x="2162126" y="741396"/>
                  <a:pt x="2185577" y="741396"/>
                </a:cubicBezTo>
                <a:cubicBezTo>
                  <a:pt x="2190359" y="741396"/>
                  <a:pt x="2193775" y="739389"/>
                  <a:pt x="2195824" y="734477"/>
                </a:cubicBezTo>
                <a:cubicBezTo>
                  <a:pt x="2195824" y="734477"/>
                  <a:pt x="2195824" y="734477"/>
                  <a:pt x="2245234" y="606340"/>
                </a:cubicBezTo>
                <a:cubicBezTo>
                  <a:pt x="2245234" y="606340"/>
                  <a:pt x="2245234" y="606340"/>
                  <a:pt x="2293734" y="734477"/>
                </a:cubicBezTo>
                <a:cubicBezTo>
                  <a:pt x="2295328" y="739164"/>
                  <a:pt x="2299425" y="741396"/>
                  <a:pt x="2304206" y="741396"/>
                </a:cubicBezTo>
                <a:cubicBezTo>
                  <a:pt x="2304206" y="741396"/>
                  <a:pt x="2304206" y="741396"/>
                  <a:pt x="2330394" y="741396"/>
                </a:cubicBezTo>
                <a:cubicBezTo>
                  <a:pt x="2336314" y="741396"/>
                  <a:pt x="2338818" y="736708"/>
                  <a:pt x="2336769" y="732021"/>
                </a:cubicBezTo>
                <a:cubicBezTo>
                  <a:pt x="2336769" y="732021"/>
                  <a:pt x="2336769" y="732021"/>
                  <a:pt x="2270279" y="561469"/>
                </a:cubicBezTo>
                <a:cubicBezTo>
                  <a:pt x="2268230" y="556557"/>
                  <a:pt x="2264817" y="554101"/>
                  <a:pt x="2260033" y="554101"/>
                </a:cubicBezTo>
                <a:cubicBezTo>
                  <a:pt x="2260033" y="554101"/>
                  <a:pt x="2260033" y="554101"/>
                  <a:pt x="2231345" y="554101"/>
                </a:cubicBezTo>
                <a:cubicBezTo>
                  <a:pt x="2226564" y="554101"/>
                  <a:pt x="2222918" y="556557"/>
                  <a:pt x="2220869" y="561469"/>
                </a:cubicBezTo>
                <a:cubicBezTo>
                  <a:pt x="2220869" y="561469"/>
                  <a:pt x="2220869" y="561469"/>
                  <a:pt x="2174421" y="686034"/>
                </a:cubicBezTo>
                <a:cubicBezTo>
                  <a:pt x="2174421" y="686034"/>
                  <a:pt x="2174421" y="686034"/>
                  <a:pt x="2126605" y="561469"/>
                </a:cubicBezTo>
                <a:cubicBezTo>
                  <a:pt x="2124553" y="556557"/>
                  <a:pt x="2120911" y="554101"/>
                  <a:pt x="2116358" y="554101"/>
                </a:cubicBezTo>
                <a:cubicBezTo>
                  <a:pt x="2116358" y="554101"/>
                  <a:pt x="2116358" y="554101"/>
                  <a:pt x="2087896" y="554101"/>
                </a:cubicBezTo>
                <a:cubicBezTo>
                  <a:pt x="2083112" y="554101"/>
                  <a:pt x="2079699" y="556557"/>
                  <a:pt x="2077650" y="561469"/>
                </a:cubicBezTo>
                <a:cubicBezTo>
                  <a:pt x="2077650" y="561469"/>
                  <a:pt x="2077650" y="561469"/>
                  <a:pt x="2030743" y="686034"/>
                </a:cubicBezTo>
                <a:cubicBezTo>
                  <a:pt x="2030743" y="686034"/>
                  <a:pt x="2030743" y="686034"/>
                  <a:pt x="1983608" y="561469"/>
                </a:cubicBezTo>
                <a:cubicBezTo>
                  <a:pt x="1981788" y="556557"/>
                  <a:pt x="1978146" y="554101"/>
                  <a:pt x="1973365" y="554101"/>
                </a:cubicBezTo>
                <a:cubicBezTo>
                  <a:pt x="1973365" y="554101"/>
                  <a:pt x="1973365" y="554101"/>
                  <a:pt x="1945128" y="554101"/>
                </a:cubicBezTo>
                <a:cubicBezTo>
                  <a:pt x="1940347" y="554101"/>
                  <a:pt x="1936705" y="556557"/>
                  <a:pt x="1934656" y="561469"/>
                </a:cubicBezTo>
                <a:cubicBezTo>
                  <a:pt x="1934656" y="561469"/>
                  <a:pt x="1934656" y="561469"/>
                  <a:pt x="1887295" y="686034"/>
                </a:cubicBezTo>
                <a:cubicBezTo>
                  <a:pt x="1887295" y="686034"/>
                  <a:pt x="1887295" y="686034"/>
                  <a:pt x="1840389" y="561469"/>
                </a:cubicBezTo>
                <a:cubicBezTo>
                  <a:pt x="1838340" y="556557"/>
                  <a:pt x="1834923" y="554101"/>
                  <a:pt x="1830142" y="554101"/>
                </a:cubicBezTo>
                <a:cubicBezTo>
                  <a:pt x="1830142" y="554101"/>
                  <a:pt x="1830142" y="554101"/>
                  <a:pt x="1801451" y="554101"/>
                </a:cubicBezTo>
                <a:close/>
                <a:moveTo>
                  <a:pt x="841937" y="554101"/>
                </a:moveTo>
                <a:cubicBezTo>
                  <a:pt x="837152" y="554101"/>
                  <a:pt x="832600" y="557897"/>
                  <a:pt x="832600" y="562809"/>
                </a:cubicBezTo>
                <a:cubicBezTo>
                  <a:pt x="832600" y="562809"/>
                  <a:pt x="832600" y="562809"/>
                  <a:pt x="832600" y="666168"/>
                </a:cubicBezTo>
                <a:cubicBezTo>
                  <a:pt x="832600" y="714162"/>
                  <a:pt x="863340" y="746532"/>
                  <a:pt x="913205" y="746532"/>
                </a:cubicBezTo>
                <a:cubicBezTo>
                  <a:pt x="943035" y="746532"/>
                  <a:pt x="963299" y="734701"/>
                  <a:pt x="975139" y="717513"/>
                </a:cubicBezTo>
                <a:cubicBezTo>
                  <a:pt x="975139" y="717513"/>
                  <a:pt x="975139" y="717513"/>
                  <a:pt x="975139" y="733136"/>
                </a:cubicBezTo>
                <a:cubicBezTo>
                  <a:pt x="975139" y="737824"/>
                  <a:pt x="979466" y="741396"/>
                  <a:pt x="984018" y="741396"/>
                </a:cubicBezTo>
                <a:cubicBezTo>
                  <a:pt x="984018" y="741396"/>
                  <a:pt x="984018" y="741396"/>
                  <a:pt x="1007473" y="741396"/>
                </a:cubicBezTo>
                <a:cubicBezTo>
                  <a:pt x="1012254" y="741396"/>
                  <a:pt x="1016580" y="737603"/>
                  <a:pt x="1016580" y="732915"/>
                </a:cubicBezTo>
                <a:cubicBezTo>
                  <a:pt x="1016580" y="732915"/>
                  <a:pt x="1016580" y="732915"/>
                  <a:pt x="1016580" y="563034"/>
                </a:cubicBezTo>
                <a:cubicBezTo>
                  <a:pt x="1016580" y="557897"/>
                  <a:pt x="1012254" y="554101"/>
                  <a:pt x="1007473" y="554101"/>
                </a:cubicBezTo>
                <a:cubicBezTo>
                  <a:pt x="1007473" y="554101"/>
                  <a:pt x="1007473" y="554101"/>
                  <a:pt x="984018" y="554101"/>
                </a:cubicBezTo>
                <a:cubicBezTo>
                  <a:pt x="979466" y="554101"/>
                  <a:pt x="975139" y="557897"/>
                  <a:pt x="975139" y="562809"/>
                </a:cubicBezTo>
                <a:cubicBezTo>
                  <a:pt x="975139" y="562809"/>
                  <a:pt x="975139" y="562809"/>
                  <a:pt x="975139" y="659916"/>
                </a:cubicBezTo>
                <a:cubicBezTo>
                  <a:pt x="975139" y="689830"/>
                  <a:pt x="956011" y="711261"/>
                  <a:pt x="923906" y="711261"/>
                </a:cubicBezTo>
                <a:cubicBezTo>
                  <a:pt x="890892" y="711261"/>
                  <a:pt x="874041" y="690721"/>
                  <a:pt x="874041" y="659470"/>
                </a:cubicBezTo>
                <a:cubicBezTo>
                  <a:pt x="874041" y="659470"/>
                  <a:pt x="874041" y="659470"/>
                  <a:pt x="874041" y="562809"/>
                </a:cubicBezTo>
                <a:cubicBezTo>
                  <a:pt x="874041" y="557897"/>
                  <a:pt x="870170" y="554101"/>
                  <a:pt x="865389" y="554101"/>
                </a:cubicBezTo>
                <a:cubicBezTo>
                  <a:pt x="865389" y="554101"/>
                  <a:pt x="865389" y="554101"/>
                  <a:pt x="841937" y="554101"/>
                </a:cubicBezTo>
                <a:close/>
                <a:moveTo>
                  <a:pt x="1625898" y="548968"/>
                </a:moveTo>
                <a:cubicBezTo>
                  <a:pt x="1570110" y="548968"/>
                  <a:pt x="1525711" y="592053"/>
                  <a:pt x="1525711" y="647861"/>
                </a:cubicBezTo>
                <a:cubicBezTo>
                  <a:pt x="1525711" y="703893"/>
                  <a:pt x="1570110" y="746532"/>
                  <a:pt x="1625898" y="746532"/>
                </a:cubicBezTo>
                <a:cubicBezTo>
                  <a:pt x="1681683" y="746532"/>
                  <a:pt x="1726312" y="703893"/>
                  <a:pt x="1726312" y="647861"/>
                </a:cubicBezTo>
                <a:cubicBezTo>
                  <a:pt x="1726312" y="592053"/>
                  <a:pt x="1681683" y="548968"/>
                  <a:pt x="1625898" y="548968"/>
                </a:cubicBezTo>
                <a:close/>
                <a:moveTo>
                  <a:pt x="1451936" y="548743"/>
                </a:moveTo>
                <a:cubicBezTo>
                  <a:pt x="1392734" y="548743"/>
                  <a:pt x="1353346" y="591608"/>
                  <a:pt x="1353346" y="647861"/>
                </a:cubicBezTo>
                <a:cubicBezTo>
                  <a:pt x="1353346" y="703893"/>
                  <a:pt x="1392734" y="746532"/>
                  <a:pt x="1451936" y="746532"/>
                </a:cubicBezTo>
                <a:cubicBezTo>
                  <a:pt x="1475391" y="746532"/>
                  <a:pt x="1497019" y="739834"/>
                  <a:pt x="1513415" y="727779"/>
                </a:cubicBezTo>
                <a:cubicBezTo>
                  <a:pt x="1516148" y="725772"/>
                  <a:pt x="1520474" y="721085"/>
                  <a:pt x="1515235" y="714832"/>
                </a:cubicBezTo>
                <a:lnTo>
                  <a:pt x="1503398" y="700100"/>
                </a:lnTo>
                <a:cubicBezTo>
                  <a:pt x="1498613" y="693848"/>
                  <a:pt x="1493832" y="695858"/>
                  <a:pt x="1489506" y="698090"/>
                </a:cubicBezTo>
                <a:cubicBezTo>
                  <a:pt x="1479033" y="703893"/>
                  <a:pt x="1467418" y="709475"/>
                  <a:pt x="1453304" y="709475"/>
                </a:cubicBezTo>
                <a:cubicBezTo>
                  <a:pt x="1418463" y="709475"/>
                  <a:pt x="1395467" y="682462"/>
                  <a:pt x="1395467" y="647861"/>
                </a:cubicBezTo>
                <a:cubicBezTo>
                  <a:pt x="1395467" y="613038"/>
                  <a:pt x="1418463" y="585801"/>
                  <a:pt x="1453304" y="585801"/>
                </a:cubicBezTo>
                <a:cubicBezTo>
                  <a:pt x="1467418" y="585801"/>
                  <a:pt x="1479943" y="590713"/>
                  <a:pt x="1490189" y="596965"/>
                </a:cubicBezTo>
                <a:cubicBezTo>
                  <a:pt x="1494516" y="599867"/>
                  <a:pt x="1499752" y="601428"/>
                  <a:pt x="1504078" y="595401"/>
                </a:cubicBezTo>
                <a:cubicBezTo>
                  <a:pt x="1504078" y="595401"/>
                  <a:pt x="1504078" y="595401"/>
                  <a:pt x="1515235" y="580222"/>
                </a:cubicBezTo>
                <a:cubicBezTo>
                  <a:pt x="1520019" y="573525"/>
                  <a:pt x="1516148" y="569283"/>
                  <a:pt x="1513415" y="567272"/>
                </a:cubicBezTo>
                <a:cubicBezTo>
                  <a:pt x="1497019" y="555220"/>
                  <a:pt x="1475391" y="548743"/>
                  <a:pt x="1451936" y="548743"/>
                </a:cubicBezTo>
                <a:close/>
                <a:moveTo>
                  <a:pt x="1139990" y="548743"/>
                </a:moveTo>
                <a:cubicBezTo>
                  <a:pt x="1088303" y="548743"/>
                  <a:pt x="1043674" y="588927"/>
                  <a:pt x="1043674" y="647415"/>
                </a:cubicBezTo>
                <a:cubicBezTo>
                  <a:pt x="1043674" y="706794"/>
                  <a:pt x="1088303" y="746532"/>
                  <a:pt x="1139536" y="746532"/>
                </a:cubicBezTo>
                <a:cubicBezTo>
                  <a:pt x="1167317" y="746532"/>
                  <a:pt x="1190084" y="734031"/>
                  <a:pt x="1202380" y="716394"/>
                </a:cubicBezTo>
                <a:cubicBezTo>
                  <a:pt x="1202380" y="732915"/>
                  <a:pt x="1202380" y="732915"/>
                  <a:pt x="1202380" y="732915"/>
                </a:cubicBezTo>
                <a:cubicBezTo>
                  <a:pt x="1202380" y="737603"/>
                  <a:pt x="1206935" y="741396"/>
                  <a:pt x="1211487" y="741396"/>
                </a:cubicBezTo>
                <a:cubicBezTo>
                  <a:pt x="1235168" y="741396"/>
                  <a:pt x="1235168" y="741396"/>
                  <a:pt x="1235168" y="741396"/>
                </a:cubicBezTo>
                <a:cubicBezTo>
                  <a:pt x="1239949" y="741396"/>
                  <a:pt x="1243820" y="737603"/>
                  <a:pt x="1243820" y="732915"/>
                </a:cubicBezTo>
                <a:cubicBezTo>
                  <a:pt x="1243820" y="563034"/>
                  <a:pt x="1243820" y="563034"/>
                  <a:pt x="1243820" y="563034"/>
                </a:cubicBezTo>
                <a:cubicBezTo>
                  <a:pt x="1243820" y="557897"/>
                  <a:pt x="1239949" y="554101"/>
                  <a:pt x="1235168" y="554101"/>
                </a:cubicBezTo>
                <a:cubicBezTo>
                  <a:pt x="1211487" y="554101"/>
                  <a:pt x="1211487" y="554101"/>
                  <a:pt x="1211487" y="554101"/>
                </a:cubicBezTo>
                <a:cubicBezTo>
                  <a:pt x="1206935" y="554101"/>
                  <a:pt x="1202380" y="557897"/>
                  <a:pt x="1202380" y="563034"/>
                </a:cubicBezTo>
                <a:cubicBezTo>
                  <a:pt x="1202380" y="578658"/>
                  <a:pt x="1202380" y="578658"/>
                  <a:pt x="1202380" y="578658"/>
                </a:cubicBezTo>
                <a:cubicBezTo>
                  <a:pt x="1190539" y="561023"/>
                  <a:pt x="1167317" y="548743"/>
                  <a:pt x="1139990" y="548743"/>
                </a:cubicBezTo>
                <a:close/>
                <a:moveTo>
                  <a:pt x="661145" y="498739"/>
                </a:moveTo>
                <a:cubicBezTo>
                  <a:pt x="720117" y="498739"/>
                  <a:pt x="761788" y="544056"/>
                  <a:pt x="761788" y="603214"/>
                </a:cubicBezTo>
                <a:cubicBezTo>
                  <a:pt x="761788" y="637816"/>
                  <a:pt x="747670" y="667505"/>
                  <a:pt x="724444" y="686259"/>
                </a:cubicBezTo>
                <a:cubicBezTo>
                  <a:pt x="705999" y="639601"/>
                  <a:pt x="705999" y="639601"/>
                  <a:pt x="705999" y="639601"/>
                </a:cubicBezTo>
                <a:cubicBezTo>
                  <a:pt x="704406" y="635584"/>
                  <a:pt x="701218" y="632234"/>
                  <a:pt x="694159" y="632234"/>
                </a:cubicBezTo>
                <a:cubicBezTo>
                  <a:pt x="670253" y="632234"/>
                  <a:pt x="670253" y="632234"/>
                  <a:pt x="670253" y="632234"/>
                </a:cubicBezTo>
                <a:cubicBezTo>
                  <a:pt x="664332" y="632234"/>
                  <a:pt x="659551" y="636030"/>
                  <a:pt x="662284" y="643397"/>
                </a:cubicBezTo>
                <a:cubicBezTo>
                  <a:pt x="686419" y="704787"/>
                  <a:pt x="686419" y="704787"/>
                  <a:pt x="686419" y="704787"/>
                </a:cubicBezTo>
                <a:cubicBezTo>
                  <a:pt x="678451" y="706794"/>
                  <a:pt x="670024" y="707913"/>
                  <a:pt x="661145" y="707913"/>
                </a:cubicBezTo>
                <a:cubicBezTo>
                  <a:pt x="602169" y="707913"/>
                  <a:pt x="560502" y="662597"/>
                  <a:pt x="560502" y="603214"/>
                </a:cubicBezTo>
                <a:cubicBezTo>
                  <a:pt x="560502" y="544056"/>
                  <a:pt x="602169" y="498739"/>
                  <a:pt x="661145" y="498739"/>
                </a:cubicBezTo>
                <a:close/>
                <a:moveTo>
                  <a:pt x="1293915" y="465253"/>
                </a:moveTo>
                <a:cubicBezTo>
                  <a:pt x="1289133" y="465253"/>
                  <a:pt x="1284807" y="469495"/>
                  <a:pt x="1284807" y="474183"/>
                </a:cubicBezTo>
                <a:cubicBezTo>
                  <a:pt x="1284807" y="474183"/>
                  <a:pt x="1284807" y="474183"/>
                  <a:pt x="1284807" y="732467"/>
                </a:cubicBezTo>
                <a:cubicBezTo>
                  <a:pt x="1284807" y="737157"/>
                  <a:pt x="1289133" y="741396"/>
                  <a:pt x="1293915" y="741396"/>
                </a:cubicBezTo>
                <a:cubicBezTo>
                  <a:pt x="1293915" y="741396"/>
                  <a:pt x="1293915" y="741396"/>
                  <a:pt x="1317366" y="741396"/>
                </a:cubicBezTo>
                <a:cubicBezTo>
                  <a:pt x="1322606" y="741396"/>
                  <a:pt x="1326248" y="737157"/>
                  <a:pt x="1326248" y="732467"/>
                </a:cubicBezTo>
                <a:cubicBezTo>
                  <a:pt x="1326248" y="732467"/>
                  <a:pt x="1326248" y="732467"/>
                  <a:pt x="1326248" y="474183"/>
                </a:cubicBezTo>
                <a:cubicBezTo>
                  <a:pt x="1326248" y="469495"/>
                  <a:pt x="1322606" y="465253"/>
                  <a:pt x="1317366" y="465253"/>
                </a:cubicBezTo>
                <a:cubicBezTo>
                  <a:pt x="1317366" y="465253"/>
                  <a:pt x="1317366" y="465253"/>
                  <a:pt x="1293915" y="465253"/>
                </a:cubicBezTo>
                <a:close/>
                <a:moveTo>
                  <a:pt x="661145" y="460120"/>
                </a:moveTo>
                <a:cubicBezTo>
                  <a:pt x="580766" y="460120"/>
                  <a:pt x="515874" y="521285"/>
                  <a:pt x="515874" y="603214"/>
                </a:cubicBezTo>
                <a:cubicBezTo>
                  <a:pt x="515874" y="685143"/>
                  <a:pt x="580766" y="746532"/>
                  <a:pt x="661145" y="746532"/>
                </a:cubicBezTo>
                <a:cubicBezTo>
                  <a:pt x="674805" y="746532"/>
                  <a:pt x="688239" y="744746"/>
                  <a:pt x="700763" y="741396"/>
                </a:cubicBezTo>
                <a:cubicBezTo>
                  <a:pt x="716475" y="781134"/>
                  <a:pt x="716475" y="781134"/>
                  <a:pt x="716475" y="781134"/>
                </a:cubicBezTo>
                <a:cubicBezTo>
                  <a:pt x="718069" y="785597"/>
                  <a:pt x="721256" y="788277"/>
                  <a:pt x="727176" y="788277"/>
                </a:cubicBezTo>
                <a:cubicBezTo>
                  <a:pt x="752222" y="788277"/>
                  <a:pt x="752222" y="788277"/>
                  <a:pt x="752222" y="788277"/>
                </a:cubicBezTo>
                <a:cubicBezTo>
                  <a:pt x="758142" y="788277"/>
                  <a:pt x="762697" y="784260"/>
                  <a:pt x="759736" y="776892"/>
                </a:cubicBezTo>
                <a:cubicBezTo>
                  <a:pt x="739471" y="724656"/>
                  <a:pt x="739471" y="724656"/>
                  <a:pt x="739471" y="724656"/>
                </a:cubicBezTo>
                <a:cubicBezTo>
                  <a:pt x="779774" y="699875"/>
                  <a:pt x="806416" y="655899"/>
                  <a:pt x="806416" y="603214"/>
                </a:cubicBezTo>
                <a:cubicBezTo>
                  <a:pt x="806416" y="521285"/>
                  <a:pt x="741520" y="460120"/>
                  <a:pt x="661145" y="460120"/>
                </a:cubicBezTo>
                <a:close/>
                <a:moveTo>
                  <a:pt x="0" y="0"/>
                </a:moveTo>
                <a:lnTo>
                  <a:pt x="12192000" y="0"/>
                </a:lnTo>
                <a:lnTo>
                  <a:pt x="12192000" y="6858000"/>
                </a:lnTo>
                <a:lnTo>
                  <a:pt x="0" y="6858000"/>
                </a:lnTo>
                <a:close/>
              </a:path>
            </a:pathLst>
          </a:custGeom>
          <a:noFill/>
        </p:spPr>
        <p:txBody>
          <a:bodyPr wrap="square" lIns="503998" tIns="5040000" rIns="0" anchor="t">
            <a:noAutofit/>
          </a:bodyPr>
          <a:lstStyle>
            <a:lvl1pPr marL="0" indent="0">
              <a:buNone/>
              <a:defRPr sz="3000"/>
            </a:lvl1pPr>
          </a:lstStyle>
          <a:p>
            <a:r>
              <a:rPr lang="en-US"/>
              <a:t>Drag and drop an image onto the slide to insert photo</a:t>
            </a:r>
          </a:p>
        </p:txBody>
      </p:sp>
      <p:sp>
        <p:nvSpPr>
          <p:cNvPr id="46" name="Text Placeholder 45">
            <a:extLst>
              <a:ext uri="{FF2B5EF4-FFF2-40B4-BE49-F238E27FC236}">
                <a16:creationId xmlns:a16="http://schemas.microsoft.com/office/drawing/2014/main" id="{02D7560F-611C-07BA-46B4-6DC5FA90447C}"/>
              </a:ext>
            </a:extLst>
          </p:cNvPr>
          <p:cNvSpPr>
            <a:spLocks noGrp="1"/>
          </p:cNvSpPr>
          <p:nvPr>
            <p:ph type="body" sz="quarter" idx="14"/>
          </p:nvPr>
        </p:nvSpPr>
        <p:spPr>
          <a:xfrm>
            <a:off x="0" y="0"/>
            <a:ext cx="12192000" cy="6858000"/>
          </a:xfrm>
          <a:custGeom>
            <a:avLst/>
            <a:gdLst>
              <a:gd name="connsiteX0" fmla="*/ 1625898 w 12192000"/>
              <a:gd name="connsiteY0" fmla="*/ 586917 h 6858000"/>
              <a:gd name="connsiteX1" fmla="*/ 1684416 w 12192000"/>
              <a:gd name="connsiteY1" fmla="*/ 647861 h 6858000"/>
              <a:gd name="connsiteX2" fmla="*/ 1625898 w 12192000"/>
              <a:gd name="connsiteY2" fmla="*/ 708580 h 6858000"/>
              <a:gd name="connsiteX3" fmla="*/ 1567381 w 12192000"/>
              <a:gd name="connsiteY3" fmla="*/ 647861 h 6858000"/>
              <a:gd name="connsiteX4" fmla="*/ 1625898 w 12192000"/>
              <a:gd name="connsiteY4" fmla="*/ 586917 h 6858000"/>
              <a:gd name="connsiteX5" fmla="*/ 1144317 w 12192000"/>
              <a:gd name="connsiteY5" fmla="*/ 586917 h 6858000"/>
              <a:gd name="connsiteX6" fmla="*/ 1202834 w 12192000"/>
              <a:gd name="connsiteY6" fmla="*/ 647861 h 6858000"/>
              <a:gd name="connsiteX7" fmla="*/ 1144317 w 12192000"/>
              <a:gd name="connsiteY7" fmla="*/ 709029 h 6858000"/>
              <a:gd name="connsiteX8" fmla="*/ 1085799 w 12192000"/>
              <a:gd name="connsiteY8" fmla="*/ 647861 h 6858000"/>
              <a:gd name="connsiteX9" fmla="*/ 1144317 w 12192000"/>
              <a:gd name="connsiteY9" fmla="*/ 586917 h 6858000"/>
              <a:gd name="connsiteX10" fmla="*/ 1801451 w 12192000"/>
              <a:gd name="connsiteY10" fmla="*/ 554101 h 6858000"/>
              <a:gd name="connsiteX11" fmla="*/ 1790979 w 12192000"/>
              <a:gd name="connsiteY11" fmla="*/ 561469 h 6858000"/>
              <a:gd name="connsiteX12" fmla="*/ 1724489 w 12192000"/>
              <a:gd name="connsiteY12" fmla="*/ 732021 h 6858000"/>
              <a:gd name="connsiteX13" fmla="*/ 1730867 w 12192000"/>
              <a:gd name="connsiteY13" fmla="*/ 741396 h 6858000"/>
              <a:gd name="connsiteX14" fmla="*/ 1756367 w 12192000"/>
              <a:gd name="connsiteY14" fmla="*/ 741396 h 6858000"/>
              <a:gd name="connsiteX15" fmla="*/ 1766843 w 12192000"/>
              <a:gd name="connsiteY15" fmla="*/ 734477 h 6858000"/>
              <a:gd name="connsiteX16" fmla="*/ 1815798 w 12192000"/>
              <a:gd name="connsiteY16" fmla="*/ 605670 h 6858000"/>
              <a:gd name="connsiteX17" fmla="*/ 1864753 w 12192000"/>
              <a:gd name="connsiteY17" fmla="*/ 734477 h 6858000"/>
              <a:gd name="connsiteX18" fmla="*/ 1874996 w 12192000"/>
              <a:gd name="connsiteY18" fmla="*/ 741396 h 6858000"/>
              <a:gd name="connsiteX19" fmla="*/ 1898451 w 12192000"/>
              <a:gd name="connsiteY19" fmla="*/ 741396 h 6858000"/>
              <a:gd name="connsiteX20" fmla="*/ 1908924 w 12192000"/>
              <a:gd name="connsiteY20" fmla="*/ 734477 h 6858000"/>
              <a:gd name="connsiteX21" fmla="*/ 1959018 w 12192000"/>
              <a:gd name="connsiteY21" fmla="*/ 605670 h 6858000"/>
              <a:gd name="connsiteX22" fmla="*/ 2007518 w 12192000"/>
              <a:gd name="connsiteY22" fmla="*/ 734477 h 6858000"/>
              <a:gd name="connsiteX23" fmla="*/ 2017993 w 12192000"/>
              <a:gd name="connsiteY23" fmla="*/ 741396 h 6858000"/>
              <a:gd name="connsiteX24" fmla="*/ 2042584 w 12192000"/>
              <a:gd name="connsiteY24" fmla="*/ 741396 h 6858000"/>
              <a:gd name="connsiteX25" fmla="*/ 2053056 w 12192000"/>
              <a:gd name="connsiteY25" fmla="*/ 734477 h 6858000"/>
              <a:gd name="connsiteX26" fmla="*/ 2102011 w 12192000"/>
              <a:gd name="connsiteY26" fmla="*/ 605670 h 6858000"/>
              <a:gd name="connsiteX27" fmla="*/ 2151650 w 12192000"/>
              <a:gd name="connsiteY27" fmla="*/ 734477 h 6858000"/>
              <a:gd name="connsiteX28" fmla="*/ 2162126 w 12192000"/>
              <a:gd name="connsiteY28" fmla="*/ 741396 h 6858000"/>
              <a:gd name="connsiteX29" fmla="*/ 2185577 w 12192000"/>
              <a:gd name="connsiteY29" fmla="*/ 741396 h 6858000"/>
              <a:gd name="connsiteX30" fmla="*/ 2195824 w 12192000"/>
              <a:gd name="connsiteY30" fmla="*/ 734477 h 6858000"/>
              <a:gd name="connsiteX31" fmla="*/ 2245234 w 12192000"/>
              <a:gd name="connsiteY31" fmla="*/ 606340 h 6858000"/>
              <a:gd name="connsiteX32" fmla="*/ 2293734 w 12192000"/>
              <a:gd name="connsiteY32" fmla="*/ 734477 h 6858000"/>
              <a:gd name="connsiteX33" fmla="*/ 2304206 w 12192000"/>
              <a:gd name="connsiteY33" fmla="*/ 741396 h 6858000"/>
              <a:gd name="connsiteX34" fmla="*/ 2330394 w 12192000"/>
              <a:gd name="connsiteY34" fmla="*/ 741396 h 6858000"/>
              <a:gd name="connsiteX35" fmla="*/ 2336769 w 12192000"/>
              <a:gd name="connsiteY35" fmla="*/ 732021 h 6858000"/>
              <a:gd name="connsiteX36" fmla="*/ 2270279 w 12192000"/>
              <a:gd name="connsiteY36" fmla="*/ 561469 h 6858000"/>
              <a:gd name="connsiteX37" fmla="*/ 2260033 w 12192000"/>
              <a:gd name="connsiteY37" fmla="*/ 554101 h 6858000"/>
              <a:gd name="connsiteX38" fmla="*/ 2231345 w 12192000"/>
              <a:gd name="connsiteY38" fmla="*/ 554101 h 6858000"/>
              <a:gd name="connsiteX39" fmla="*/ 2220869 w 12192000"/>
              <a:gd name="connsiteY39" fmla="*/ 561469 h 6858000"/>
              <a:gd name="connsiteX40" fmla="*/ 2174421 w 12192000"/>
              <a:gd name="connsiteY40" fmla="*/ 686034 h 6858000"/>
              <a:gd name="connsiteX41" fmla="*/ 2126605 w 12192000"/>
              <a:gd name="connsiteY41" fmla="*/ 561469 h 6858000"/>
              <a:gd name="connsiteX42" fmla="*/ 2116358 w 12192000"/>
              <a:gd name="connsiteY42" fmla="*/ 554101 h 6858000"/>
              <a:gd name="connsiteX43" fmla="*/ 2087896 w 12192000"/>
              <a:gd name="connsiteY43" fmla="*/ 554101 h 6858000"/>
              <a:gd name="connsiteX44" fmla="*/ 2077650 w 12192000"/>
              <a:gd name="connsiteY44" fmla="*/ 561469 h 6858000"/>
              <a:gd name="connsiteX45" fmla="*/ 2030743 w 12192000"/>
              <a:gd name="connsiteY45" fmla="*/ 686034 h 6858000"/>
              <a:gd name="connsiteX46" fmla="*/ 1983608 w 12192000"/>
              <a:gd name="connsiteY46" fmla="*/ 561469 h 6858000"/>
              <a:gd name="connsiteX47" fmla="*/ 1973365 w 12192000"/>
              <a:gd name="connsiteY47" fmla="*/ 554101 h 6858000"/>
              <a:gd name="connsiteX48" fmla="*/ 1945128 w 12192000"/>
              <a:gd name="connsiteY48" fmla="*/ 554101 h 6858000"/>
              <a:gd name="connsiteX49" fmla="*/ 1934656 w 12192000"/>
              <a:gd name="connsiteY49" fmla="*/ 561469 h 6858000"/>
              <a:gd name="connsiteX50" fmla="*/ 1887295 w 12192000"/>
              <a:gd name="connsiteY50" fmla="*/ 686034 h 6858000"/>
              <a:gd name="connsiteX51" fmla="*/ 1840389 w 12192000"/>
              <a:gd name="connsiteY51" fmla="*/ 561469 h 6858000"/>
              <a:gd name="connsiteX52" fmla="*/ 1830142 w 12192000"/>
              <a:gd name="connsiteY52" fmla="*/ 554101 h 6858000"/>
              <a:gd name="connsiteX53" fmla="*/ 1801451 w 12192000"/>
              <a:gd name="connsiteY53" fmla="*/ 554101 h 6858000"/>
              <a:gd name="connsiteX54" fmla="*/ 841937 w 12192000"/>
              <a:gd name="connsiteY54" fmla="*/ 554101 h 6858000"/>
              <a:gd name="connsiteX55" fmla="*/ 832600 w 12192000"/>
              <a:gd name="connsiteY55" fmla="*/ 562809 h 6858000"/>
              <a:gd name="connsiteX56" fmla="*/ 832600 w 12192000"/>
              <a:gd name="connsiteY56" fmla="*/ 666168 h 6858000"/>
              <a:gd name="connsiteX57" fmla="*/ 913205 w 12192000"/>
              <a:gd name="connsiteY57" fmla="*/ 746532 h 6858000"/>
              <a:gd name="connsiteX58" fmla="*/ 975139 w 12192000"/>
              <a:gd name="connsiteY58" fmla="*/ 717513 h 6858000"/>
              <a:gd name="connsiteX59" fmla="*/ 975139 w 12192000"/>
              <a:gd name="connsiteY59" fmla="*/ 733136 h 6858000"/>
              <a:gd name="connsiteX60" fmla="*/ 984018 w 12192000"/>
              <a:gd name="connsiteY60" fmla="*/ 741396 h 6858000"/>
              <a:gd name="connsiteX61" fmla="*/ 1007473 w 12192000"/>
              <a:gd name="connsiteY61" fmla="*/ 741396 h 6858000"/>
              <a:gd name="connsiteX62" fmla="*/ 1016580 w 12192000"/>
              <a:gd name="connsiteY62" fmla="*/ 732915 h 6858000"/>
              <a:gd name="connsiteX63" fmla="*/ 1016580 w 12192000"/>
              <a:gd name="connsiteY63" fmla="*/ 563034 h 6858000"/>
              <a:gd name="connsiteX64" fmla="*/ 1007473 w 12192000"/>
              <a:gd name="connsiteY64" fmla="*/ 554101 h 6858000"/>
              <a:gd name="connsiteX65" fmla="*/ 984018 w 12192000"/>
              <a:gd name="connsiteY65" fmla="*/ 554101 h 6858000"/>
              <a:gd name="connsiteX66" fmla="*/ 975139 w 12192000"/>
              <a:gd name="connsiteY66" fmla="*/ 562809 h 6858000"/>
              <a:gd name="connsiteX67" fmla="*/ 975139 w 12192000"/>
              <a:gd name="connsiteY67" fmla="*/ 659916 h 6858000"/>
              <a:gd name="connsiteX68" fmla="*/ 923906 w 12192000"/>
              <a:gd name="connsiteY68" fmla="*/ 711261 h 6858000"/>
              <a:gd name="connsiteX69" fmla="*/ 874041 w 12192000"/>
              <a:gd name="connsiteY69" fmla="*/ 659470 h 6858000"/>
              <a:gd name="connsiteX70" fmla="*/ 874041 w 12192000"/>
              <a:gd name="connsiteY70" fmla="*/ 562809 h 6858000"/>
              <a:gd name="connsiteX71" fmla="*/ 865389 w 12192000"/>
              <a:gd name="connsiteY71" fmla="*/ 554101 h 6858000"/>
              <a:gd name="connsiteX72" fmla="*/ 841937 w 12192000"/>
              <a:gd name="connsiteY72" fmla="*/ 554101 h 6858000"/>
              <a:gd name="connsiteX73" fmla="*/ 1625898 w 12192000"/>
              <a:gd name="connsiteY73" fmla="*/ 548968 h 6858000"/>
              <a:gd name="connsiteX74" fmla="*/ 1525711 w 12192000"/>
              <a:gd name="connsiteY74" fmla="*/ 647861 h 6858000"/>
              <a:gd name="connsiteX75" fmla="*/ 1625898 w 12192000"/>
              <a:gd name="connsiteY75" fmla="*/ 746532 h 6858000"/>
              <a:gd name="connsiteX76" fmla="*/ 1726312 w 12192000"/>
              <a:gd name="connsiteY76" fmla="*/ 647861 h 6858000"/>
              <a:gd name="connsiteX77" fmla="*/ 1625898 w 12192000"/>
              <a:gd name="connsiteY77" fmla="*/ 548968 h 6858000"/>
              <a:gd name="connsiteX78" fmla="*/ 1451936 w 12192000"/>
              <a:gd name="connsiteY78" fmla="*/ 548743 h 6858000"/>
              <a:gd name="connsiteX79" fmla="*/ 1353346 w 12192000"/>
              <a:gd name="connsiteY79" fmla="*/ 647861 h 6858000"/>
              <a:gd name="connsiteX80" fmla="*/ 1451936 w 12192000"/>
              <a:gd name="connsiteY80" fmla="*/ 746532 h 6858000"/>
              <a:gd name="connsiteX81" fmla="*/ 1513415 w 12192000"/>
              <a:gd name="connsiteY81" fmla="*/ 727779 h 6858000"/>
              <a:gd name="connsiteX82" fmla="*/ 1515235 w 12192000"/>
              <a:gd name="connsiteY82" fmla="*/ 714832 h 6858000"/>
              <a:gd name="connsiteX83" fmla="*/ 1503398 w 12192000"/>
              <a:gd name="connsiteY83" fmla="*/ 700100 h 6858000"/>
              <a:gd name="connsiteX84" fmla="*/ 1489506 w 12192000"/>
              <a:gd name="connsiteY84" fmla="*/ 698090 h 6858000"/>
              <a:gd name="connsiteX85" fmla="*/ 1453304 w 12192000"/>
              <a:gd name="connsiteY85" fmla="*/ 709475 h 6858000"/>
              <a:gd name="connsiteX86" fmla="*/ 1395467 w 12192000"/>
              <a:gd name="connsiteY86" fmla="*/ 647861 h 6858000"/>
              <a:gd name="connsiteX87" fmla="*/ 1453304 w 12192000"/>
              <a:gd name="connsiteY87" fmla="*/ 585801 h 6858000"/>
              <a:gd name="connsiteX88" fmla="*/ 1490189 w 12192000"/>
              <a:gd name="connsiteY88" fmla="*/ 596965 h 6858000"/>
              <a:gd name="connsiteX89" fmla="*/ 1504078 w 12192000"/>
              <a:gd name="connsiteY89" fmla="*/ 595401 h 6858000"/>
              <a:gd name="connsiteX90" fmla="*/ 1515235 w 12192000"/>
              <a:gd name="connsiteY90" fmla="*/ 580222 h 6858000"/>
              <a:gd name="connsiteX91" fmla="*/ 1513415 w 12192000"/>
              <a:gd name="connsiteY91" fmla="*/ 567272 h 6858000"/>
              <a:gd name="connsiteX92" fmla="*/ 1451936 w 12192000"/>
              <a:gd name="connsiteY92" fmla="*/ 548743 h 6858000"/>
              <a:gd name="connsiteX93" fmla="*/ 1139990 w 12192000"/>
              <a:gd name="connsiteY93" fmla="*/ 548743 h 6858000"/>
              <a:gd name="connsiteX94" fmla="*/ 1043674 w 12192000"/>
              <a:gd name="connsiteY94" fmla="*/ 647415 h 6858000"/>
              <a:gd name="connsiteX95" fmla="*/ 1139536 w 12192000"/>
              <a:gd name="connsiteY95" fmla="*/ 746532 h 6858000"/>
              <a:gd name="connsiteX96" fmla="*/ 1202380 w 12192000"/>
              <a:gd name="connsiteY96" fmla="*/ 716394 h 6858000"/>
              <a:gd name="connsiteX97" fmla="*/ 1202380 w 12192000"/>
              <a:gd name="connsiteY97" fmla="*/ 732915 h 6858000"/>
              <a:gd name="connsiteX98" fmla="*/ 1211487 w 12192000"/>
              <a:gd name="connsiteY98" fmla="*/ 741396 h 6858000"/>
              <a:gd name="connsiteX99" fmla="*/ 1235168 w 12192000"/>
              <a:gd name="connsiteY99" fmla="*/ 741396 h 6858000"/>
              <a:gd name="connsiteX100" fmla="*/ 1243820 w 12192000"/>
              <a:gd name="connsiteY100" fmla="*/ 732915 h 6858000"/>
              <a:gd name="connsiteX101" fmla="*/ 1243820 w 12192000"/>
              <a:gd name="connsiteY101" fmla="*/ 563034 h 6858000"/>
              <a:gd name="connsiteX102" fmla="*/ 1235168 w 12192000"/>
              <a:gd name="connsiteY102" fmla="*/ 554101 h 6858000"/>
              <a:gd name="connsiteX103" fmla="*/ 1211487 w 12192000"/>
              <a:gd name="connsiteY103" fmla="*/ 554101 h 6858000"/>
              <a:gd name="connsiteX104" fmla="*/ 1202380 w 12192000"/>
              <a:gd name="connsiteY104" fmla="*/ 563034 h 6858000"/>
              <a:gd name="connsiteX105" fmla="*/ 1202380 w 12192000"/>
              <a:gd name="connsiteY105" fmla="*/ 578658 h 6858000"/>
              <a:gd name="connsiteX106" fmla="*/ 1139990 w 12192000"/>
              <a:gd name="connsiteY106" fmla="*/ 548743 h 6858000"/>
              <a:gd name="connsiteX107" fmla="*/ 661145 w 12192000"/>
              <a:gd name="connsiteY107" fmla="*/ 498739 h 6858000"/>
              <a:gd name="connsiteX108" fmla="*/ 761788 w 12192000"/>
              <a:gd name="connsiteY108" fmla="*/ 603214 h 6858000"/>
              <a:gd name="connsiteX109" fmla="*/ 724444 w 12192000"/>
              <a:gd name="connsiteY109" fmla="*/ 686259 h 6858000"/>
              <a:gd name="connsiteX110" fmla="*/ 705999 w 12192000"/>
              <a:gd name="connsiteY110" fmla="*/ 639601 h 6858000"/>
              <a:gd name="connsiteX111" fmla="*/ 694159 w 12192000"/>
              <a:gd name="connsiteY111" fmla="*/ 632234 h 6858000"/>
              <a:gd name="connsiteX112" fmla="*/ 670253 w 12192000"/>
              <a:gd name="connsiteY112" fmla="*/ 632234 h 6858000"/>
              <a:gd name="connsiteX113" fmla="*/ 662284 w 12192000"/>
              <a:gd name="connsiteY113" fmla="*/ 643397 h 6858000"/>
              <a:gd name="connsiteX114" fmla="*/ 686419 w 12192000"/>
              <a:gd name="connsiteY114" fmla="*/ 704787 h 6858000"/>
              <a:gd name="connsiteX115" fmla="*/ 661145 w 12192000"/>
              <a:gd name="connsiteY115" fmla="*/ 707913 h 6858000"/>
              <a:gd name="connsiteX116" fmla="*/ 560502 w 12192000"/>
              <a:gd name="connsiteY116" fmla="*/ 603214 h 6858000"/>
              <a:gd name="connsiteX117" fmla="*/ 661145 w 12192000"/>
              <a:gd name="connsiteY117" fmla="*/ 498739 h 6858000"/>
              <a:gd name="connsiteX118" fmla="*/ 1293915 w 12192000"/>
              <a:gd name="connsiteY118" fmla="*/ 465253 h 6858000"/>
              <a:gd name="connsiteX119" fmla="*/ 1284807 w 12192000"/>
              <a:gd name="connsiteY119" fmla="*/ 474183 h 6858000"/>
              <a:gd name="connsiteX120" fmla="*/ 1284807 w 12192000"/>
              <a:gd name="connsiteY120" fmla="*/ 732467 h 6858000"/>
              <a:gd name="connsiteX121" fmla="*/ 1293915 w 12192000"/>
              <a:gd name="connsiteY121" fmla="*/ 741396 h 6858000"/>
              <a:gd name="connsiteX122" fmla="*/ 1317366 w 12192000"/>
              <a:gd name="connsiteY122" fmla="*/ 741396 h 6858000"/>
              <a:gd name="connsiteX123" fmla="*/ 1326248 w 12192000"/>
              <a:gd name="connsiteY123" fmla="*/ 732467 h 6858000"/>
              <a:gd name="connsiteX124" fmla="*/ 1326248 w 12192000"/>
              <a:gd name="connsiteY124" fmla="*/ 474183 h 6858000"/>
              <a:gd name="connsiteX125" fmla="*/ 1317366 w 12192000"/>
              <a:gd name="connsiteY125" fmla="*/ 465253 h 6858000"/>
              <a:gd name="connsiteX126" fmla="*/ 1293915 w 12192000"/>
              <a:gd name="connsiteY126" fmla="*/ 465253 h 6858000"/>
              <a:gd name="connsiteX127" fmla="*/ 661145 w 12192000"/>
              <a:gd name="connsiteY127" fmla="*/ 460120 h 6858000"/>
              <a:gd name="connsiteX128" fmla="*/ 515874 w 12192000"/>
              <a:gd name="connsiteY128" fmla="*/ 603214 h 6858000"/>
              <a:gd name="connsiteX129" fmla="*/ 661145 w 12192000"/>
              <a:gd name="connsiteY129" fmla="*/ 746532 h 6858000"/>
              <a:gd name="connsiteX130" fmla="*/ 700763 w 12192000"/>
              <a:gd name="connsiteY130" fmla="*/ 741396 h 6858000"/>
              <a:gd name="connsiteX131" fmla="*/ 716475 w 12192000"/>
              <a:gd name="connsiteY131" fmla="*/ 781134 h 6858000"/>
              <a:gd name="connsiteX132" fmla="*/ 727176 w 12192000"/>
              <a:gd name="connsiteY132" fmla="*/ 788277 h 6858000"/>
              <a:gd name="connsiteX133" fmla="*/ 752222 w 12192000"/>
              <a:gd name="connsiteY133" fmla="*/ 788277 h 6858000"/>
              <a:gd name="connsiteX134" fmla="*/ 759736 w 12192000"/>
              <a:gd name="connsiteY134" fmla="*/ 776892 h 6858000"/>
              <a:gd name="connsiteX135" fmla="*/ 739471 w 12192000"/>
              <a:gd name="connsiteY135" fmla="*/ 724656 h 6858000"/>
              <a:gd name="connsiteX136" fmla="*/ 806416 w 12192000"/>
              <a:gd name="connsiteY136" fmla="*/ 603214 h 6858000"/>
              <a:gd name="connsiteX137" fmla="*/ 661145 w 12192000"/>
              <a:gd name="connsiteY137" fmla="*/ 460120 h 6858000"/>
              <a:gd name="connsiteX138" fmla="*/ 0 w 12192000"/>
              <a:gd name="connsiteY138" fmla="*/ 0 h 6858000"/>
              <a:gd name="connsiteX139" fmla="*/ 12192000 w 12192000"/>
              <a:gd name="connsiteY139" fmla="*/ 0 h 6858000"/>
              <a:gd name="connsiteX140" fmla="*/ 12192000 w 12192000"/>
              <a:gd name="connsiteY140" fmla="*/ 6858000 h 6858000"/>
              <a:gd name="connsiteX141" fmla="*/ 0 w 12192000"/>
              <a:gd name="connsiteY1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625898" y="586917"/>
                </a:moveTo>
                <a:cubicBezTo>
                  <a:pt x="1660280" y="586917"/>
                  <a:pt x="1684416" y="613484"/>
                  <a:pt x="1684416" y="647861"/>
                </a:cubicBezTo>
                <a:cubicBezTo>
                  <a:pt x="1684416" y="681792"/>
                  <a:pt x="1660280" y="708580"/>
                  <a:pt x="1625898" y="708580"/>
                </a:cubicBezTo>
                <a:cubicBezTo>
                  <a:pt x="1591742" y="708580"/>
                  <a:pt x="1567381" y="681792"/>
                  <a:pt x="1567381" y="647861"/>
                </a:cubicBezTo>
                <a:cubicBezTo>
                  <a:pt x="1567381" y="613484"/>
                  <a:pt x="1591742" y="586917"/>
                  <a:pt x="1625898" y="586917"/>
                </a:cubicBezTo>
                <a:close/>
                <a:moveTo>
                  <a:pt x="1144317" y="586917"/>
                </a:moveTo>
                <a:cubicBezTo>
                  <a:pt x="1178244" y="586917"/>
                  <a:pt x="1202834" y="613484"/>
                  <a:pt x="1202834" y="647861"/>
                </a:cubicBezTo>
                <a:cubicBezTo>
                  <a:pt x="1202834" y="681792"/>
                  <a:pt x="1178244" y="709029"/>
                  <a:pt x="1144317" y="709029"/>
                </a:cubicBezTo>
                <a:cubicBezTo>
                  <a:pt x="1110164" y="709029"/>
                  <a:pt x="1085799" y="681792"/>
                  <a:pt x="1085799" y="647861"/>
                </a:cubicBezTo>
                <a:cubicBezTo>
                  <a:pt x="1085799" y="613484"/>
                  <a:pt x="1110164" y="586917"/>
                  <a:pt x="1144317" y="586917"/>
                </a:cubicBezTo>
                <a:close/>
                <a:moveTo>
                  <a:pt x="1801451" y="554101"/>
                </a:moveTo>
                <a:cubicBezTo>
                  <a:pt x="1796669" y="554101"/>
                  <a:pt x="1793027" y="556557"/>
                  <a:pt x="1790979" y="561469"/>
                </a:cubicBezTo>
                <a:cubicBezTo>
                  <a:pt x="1790979" y="561469"/>
                  <a:pt x="1790979" y="561469"/>
                  <a:pt x="1724489" y="732021"/>
                </a:cubicBezTo>
                <a:cubicBezTo>
                  <a:pt x="1722669" y="736708"/>
                  <a:pt x="1724943" y="741396"/>
                  <a:pt x="1730867" y="741396"/>
                </a:cubicBezTo>
                <a:cubicBezTo>
                  <a:pt x="1730867" y="741396"/>
                  <a:pt x="1730867" y="741396"/>
                  <a:pt x="1756367" y="741396"/>
                </a:cubicBezTo>
                <a:cubicBezTo>
                  <a:pt x="1761149" y="741396"/>
                  <a:pt x="1765249" y="739164"/>
                  <a:pt x="1766843" y="734477"/>
                </a:cubicBezTo>
                <a:cubicBezTo>
                  <a:pt x="1766843" y="734477"/>
                  <a:pt x="1766843" y="734477"/>
                  <a:pt x="1815798" y="605670"/>
                </a:cubicBezTo>
                <a:cubicBezTo>
                  <a:pt x="1815798" y="605670"/>
                  <a:pt x="1815798" y="605670"/>
                  <a:pt x="1864753" y="734477"/>
                </a:cubicBezTo>
                <a:cubicBezTo>
                  <a:pt x="1866573" y="739389"/>
                  <a:pt x="1870215" y="741396"/>
                  <a:pt x="1874996" y="741396"/>
                </a:cubicBezTo>
                <a:cubicBezTo>
                  <a:pt x="1874996" y="741396"/>
                  <a:pt x="1874996" y="741396"/>
                  <a:pt x="1898451" y="741396"/>
                </a:cubicBezTo>
                <a:cubicBezTo>
                  <a:pt x="1903233" y="741396"/>
                  <a:pt x="1906875" y="739389"/>
                  <a:pt x="1908924" y="734477"/>
                </a:cubicBezTo>
                <a:cubicBezTo>
                  <a:pt x="1908924" y="734477"/>
                  <a:pt x="1908924" y="734477"/>
                  <a:pt x="1959018" y="605670"/>
                </a:cubicBezTo>
                <a:cubicBezTo>
                  <a:pt x="1959018" y="605670"/>
                  <a:pt x="1959018" y="605670"/>
                  <a:pt x="2007518" y="734477"/>
                </a:cubicBezTo>
                <a:cubicBezTo>
                  <a:pt x="2009566" y="739164"/>
                  <a:pt x="2013209" y="741396"/>
                  <a:pt x="2017993" y="741396"/>
                </a:cubicBezTo>
                <a:cubicBezTo>
                  <a:pt x="2017993" y="741396"/>
                  <a:pt x="2017993" y="741396"/>
                  <a:pt x="2042584" y="741396"/>
                </a:cubicBezTo>
                <a:cubicBezTo>
                  <a:pt x="2047365" y="741396"/>
                  <a:pt x="2051007" y="739164"/>
                  <a:pt x="2053056" y="734477"/>
                </a:cubicBezTo>
                <a:cubicBezTo>
                  <a:pt x="2053056" y="734477"/>
                  <a:pt x="2053056" y="734477"/>
                  <a:pt x="2102011" y="605670"/>
                </a:cubicBezTo>
                <a:cubicBezTo>
                  <a:pt x="2102011" y="605670"/>
                  <a:pt x="2102011" y="605670"/>
                  <a:pt x="2151650" y="734477"/>
                </a:cubicBezTo>
                <a:cubicBezTo>
                  <a:pt x="2153699" y="739389"/>
                  <a:pt x="2157341" y="741396"/>
                  <a:pt x="2162126" y="741396"/>
                </a:cubicBezTo>
                <a:cubicBezTo>
                  <a:pt x="2162126" y="741396"/>
                  <a:pt x="2162126" y="741396"/>
                  <a:pt x="2185577" y="741396"/>
                </a:cubicBezTo>
                <a:cubicBezTo>
                  <a:pt x="2190359" y="741396"/>
                  <a:pt x="2193775" y="739389"/>
                  <a:pt x="2195824" y="734477"/>
                </a:cubicBezTo>
                <a:cubicBezTo>
                  <a:pt x="2195824" y="734477"/>
                  <a:pt x="2195824" y="734477"/>
                  <a:pt x="2245234" y="606340"/>
                </a:cubicBezTo>
                <a:cubicBezTo>
                  <a:pt x="2245234" y="606340"/>
                  <a:pt x="2245234" y="606340"/>
                  <a:pt x="2293734" y="734477"/>
                </a:cubicBezTo>
                <a:cubicBezTo>
                  <a:pt x="2295328" y="739164"/>
                  <a:pt x="2299425" y="741396"/>
                  <a:pt x="2304206" y="741396"/>
                </a:cubicBezTo>
                <a:cubicBezTo>
                  <a:pt x="2304206" y="741396"/>
                  <a:pt x="2304206" y="741396"/>
                  <a:pt x="2330394" y="741396"/>
                </a:cubicBezTo>
                <a:cubicBezTo>
                  <a:pt x="2336314" y="741396"/>
                  <a:pt x="2338818" y="736708"/>
                  <a:pt x="2336769" y="732021"/>
                </a:cubicBezTo>
                <a:cubicBezTo>
                  <a:pt x="2336769" y="732021"/>
                  <a:pt x="2336769" y="732021"/>
                  <a:pt x="2270279" y="561469"/>
                </a:cubicBezTo>
                <a:cubicBezTo>
                  <a:pt x="2268230" y="556557"/>
                  <a:pt x="2264817" y="554101"/>
                  <a:pt x="2260033" y="554101"/>
                </a:cubicBezTo>
                <a:cubicBezTo>
                  <a:pt x="2260033" y="554101"/>
                  <a:pt x="2260033" y="554101"/>
                  <a:pt x="2231345" y="554101"/>
                </a:cubicBezTo>
                <a:cubicBezTo>
                  <a:pt x="2226564" y="554101"/>
                  <a:pt x="2222918" y="556557"/>
                  <a:pt x="2220869" y="561469"/>
                </a:cubicBezTo>
                <a:cubicBezTo>
                  <a:pt x="2220869" y="561469"/>
                  <a:pt x="2220869" y="561469"/>
                  <a:pt x="2174421" y="686034"/>
                </a:cubicBezTo>
                <a:cubicBezTo>
                  <a:pt x="2174421" y="686034"/>
                  <a:pt x="2174421" y="686034"/>
                  <a:pt x="2126605" y="561469"/>
                </a:cubicBezTo>
                <a:cubicBezTo>
                  <a:pt x="2124553" y="556557"/>
                  <a:pt x="2120911" y="554101"/>
                  <a:pt x="2116358" y="554101"/>
                </a:cubicBezTo>
                <a:cubicBezTo>
                  <a:pt x="2116358" y="554101"/>
                  <a:pt x="2116358" y="554101"/>
                  <a:pt x="2087896" y="554101"/>
                </a:cubicBezTo>
                <a:cubicBezTo>
                  <a:pt x="2083112" y="554101"/>
                  <a:pt x="2079699" y="556557"/>
                  <a:pt x="2077650" y="561469"/>
                </a:cubicBezTo>
                <a:cubicBezTo>
                  <a:pt x="2077650" y="561469"/>
                  <a:pt x="2077650" y="561469"/>
                  <a:pt x="2030743" y="686034"/>
                </a:cubicBezTo>
                <a:cubicBezTo>
                  <a:pt x="2030743" y="686034"/>
                  <a:pt x="2030743" y="686034"/>
                  <a:pt x="1983608" y="561469"/>
                </a:cubicBezTo>
                <a:cubicBezTo>
                  <a:pt x="1981788" y="556557"/>
                  <a:pt x="1978146" y="554101"/>
                  <a:pt x="1973365" y="554101"/>
                </a:cubicBezTo>
                <a:cubicBezTo>
                  <a:pt x="1973365" y="554101"/>
                  <a:pt x="1973365" y="554101"/>
                  <a:pt x="1945128" y="554101"/>
                </a:cubicBezTo>
                <a:cubicBezTo>
                  <a:pt x="1940347" y="554101"/>
                  <a:pt x="1936705" y="556557"/>
                  <a:pt x="1934656" y="561469"/>
                </a:cubicBezTo>
                <a:cubicBezTo>
                  <a:pt x="1934656" y="561469"/>
                  <a:pt x="1934656" y="561469"/>
                  <a:pt x="1887295" y="686034"/>
                </a:cubicBezTo>
                <a:cubicBezTo>
                  <a:pt x="1887295" y="686034"/>
                  <a:pt x="1887295" y="686034"/>
                  <a:pt x="1840389" y="561469"/>
                </a:cubicBezTo>
                <a:cubicBezTo>
                  <a:pt x="1838340" y="556557"/>
                  <a:pt x="1834923" y="554101"/>
                  <a:pt x="1830142" y="554101"/>
                </a:cubicBezTo>
                <a:cubicBezTo>
                  <a:pt x="1830142" y="554101"/>
                  <a:pt x="1830142" y="554101"/>
                  <a:pt x="1801451" y="554101"/>
                </a:cubicBezTo>
                <a:close/>
                <a:moveTo>
                  <a:pt x="841937" y="554101"/>
                </a:moveTo>
                <a:cubicBezTo>
                  <a:pt x="837152" y="554101"/>
                  <a:pt x="832600" y="557897"/>
                  <a:pt x="832600" y="562809"/>
                </a:cubicBezTo>
                <a:cubicBezTo>
                  <a:pt x="832600" y="562809"/>
                  <a:pt x="832600" y="562809"/>
                  <a:pt x="832600" y="666168"/>
                </a:cubicBezTo>
                <a:cubicBezTo>
                  <a:pt x="832600" y="714162"/>
                  <a:pt x="863340" y="746532"/>
                  <a:pt x="913205" y="746532"/>
                </a:cubicBezTo>
                <a:cubicBezTo>
                  <a:pt x="943035" y="746532"/>
                  <a:pt x="963299" y="734701"/>
                  <a:pt x="975139" y="717513"/>
                </a:cubicBezTo>
                <a:cubicBezTo>
                  <a:pt x="975139" y="717513"/>
                  <a:pt x="975139" y="717513"/>
                  <a:pt x="975139" y="733136"/>
                </a:cubicBezTo>
                <a:cubicBezTo>
                  <a:pt x="975139" y="737824"/>
                  <a:pt x="979466" y="741396"/>
                  <a:pt x="984018" y="741396"/>
                </a:cubicBezTo>
                <a:cubicBezTo>
                  <a:pt x="984018" y="741396"/>
                  <a:pt x="984018" y="741396"/>
                  <a:pt x="1007473" y="741396"/>
                </a:cubicBezTo>
                <a:cubicBezTo>
                  <a:pt x="1012254" y="741396"/>
                  <a:pt x="1016580" y="737603"/>
                  <a:pt x="1016580" y="732915"/>
                </a:cubicBezTo>
                <a:cubicBezTo>
                  <a:pt x="1016580" y="732915"/>
                  <a:pt x="1016580" y="732915"/>
                  <a:pt x="1016580" y="563034"/>
                </a:cubicBezTo>
                <a:cubicBezTo>
                  <a:pt x="1016580" y="557897"/>
                  <a:pt x="1012254" y="554101"/>
                  <a:pt x="1007473" y="554101"/>
                </a:cubicBezTo>
                <a:cubicBezTo>
                  <a:pt x="1007473" y="554101"/>
                  <a:pt x="1007473" y="554101"/>
                  <a:pt x="984018" y="554101"/>
                </a:cubicBezTo>
                <a:cubicBezTo>
                  <a:pt x="979466" y="554101"/>
                  <a:pt x="975139" y="557897"/>
                  <a:pt x="975139" y="562809"/>
                </a:cubicBezTo>
                <a:cubicBezTo>
                  <a:pt x="975139" y="562809"/>
                  <a:pt x="975139" y="562809"/>
                  <a:pt x="975139" y="659916"/>
                </a:cubicBezTo>
                <a:cubicBezTo>
                  <a:pt x="975139" y="689830"/>
                  <a:pt x="956011" y="711261"/>
                  <a:pt x="923906" y="711261"/>
                </a:cubicBezTo>
                <a:cubicBezTo>
                  <a:pt x="890892" y="711261"/>
                  <a:pt x="874041" y="690721"/>
                  <a:pt x="874041" y="659470"/>
                </a:cubicBezTo>
                <a:cubicBezTo>
                  <a:pt x="874041" y="659470"/>
                  <a:pt x="874041" y="659470"/>
                  <a:pt x="874041" y="562809"/>
                </a:cubicBezTo>
                <a:cubicBezTo>
                  <a:pt x="874041" y="557897"/>
                  <a:pt x="870170" y="554101"/>
                  <a:pt x="865389" y="554101"/>
                </a:cubicBezTo>
                <a:cubicBezTo>
                  <a:pt x="865389" y="554101"/>
                  <a:pt x="865389" y="554101"/>
                  <a:pt x="841937" y="554101"/>
                </a:cubicBezTo>
                <a:close/>
                <a:moveTo>
                  <a:pt x="1625898" y="548968"/>
                </a:moveTo>
                <a:cubicBezTo>
                  <a:pt x="1570110" y="548968"/>
                  <a:pt x="1525711" y="592053"/>
                  <a:pt x="1525711" y="647861"/>
                </a:cubicBezTo>
                <a:cubicBezTo>
                  <a:pt x="1525711" y="703893"/>
                  <a:pt x="1570110" y="746532"/>
                  <a:pt x="1625898" y="746532"/>
                </a:cubicBezTo>
                <a:cubicBezTo>
                  <a:pt x="1681683" y="746532"/>
                  <a:pt x="1726312" y="703893"/>
                  <a:pt x="1726312" y="647861"/>
                </a:cubicBezTo>
                <a:cubicBezTo>
                  <a:pt x="1726312" y="592053"/>
                  <a:pt x="1681683" y="548968"/>
                  <a:pt x="1625898" y="548968"/>
                </a:cubicBezTo>
                <a:close/>
                <a:moveTo>
                  <a:pt x="1451936" y="548743"/>
                </a:moveTo>
                <a:cubicBezTo>
                  <a:pt x="1392734" y="548743"/>
                  <a:pt x="1353346" y="591608"/>
                  <a:pt x="1353346" y="647861"/>
                </a:cubicBezTo>
                <a:cubicBezTo>
                  <a:pt x="1353346" y="703893"/>
                  <a:pt x="1392734" y="746532"/>
                  <a:pt x="1451936" y="746532"/>
                </a:cubicBezTo>
                <a:cubicBezTo>
                  <a:pt x="1475391" y="746532"/>
                  <a:pt x="1497019" y="739834"/>
                  <a:pt x="1513415" y="727779"/>
                </a:cubicBezTo>
                <a:cubicBezTo>
                  <a:pt x="1516148" y="725772"/>
                  <a:pt x="1520474" y="721085"/>
                  <a:pt x="1515235" y="714832"/>
                </a:cubicBezTo>
                <a:lnTo>
                  <a:pt x="1503398" y="700100"/>
                </a:lnTo>
                <a:cubicBezTo>
                  <a:pt x="1498613" y="693848"/>
                  <a:pt x="1493832" y="695858"/>
                  <a:pt x="1489506" y="698090"/>
                </a:cubicBezTo>
                <a:cubicBezTo>
                  <a:pt x="1479033" y="703893"/>
                  <a:pt x="1467418" y="709475"/>
                  <a:pt x="1453304" y="709475"/>
                </a:cubicBezTo>
                <a:cubicBezTo>
                  <a:pt x="1418463" y="709475"/>
                  <a:pt x="1395467" y="682462"/>
                  <a:pt x="1395467" y="647861"/>
                </a:cubicBezTo>
                <a:cubicBezTo>
                  <a:pt x="1395467" y="613038"/>
                  <a:pt x="1418463" y="585801"/>
                  <a:pt x="1453304" y="585801"/>
                </a:cubicBezTo>
                <a:cubicBezTo>
                  <a:pt x="1467418" y="585801"/>
                  <a:pt x="1479943" y="590713"/>
                  <a:pt x="1490189" y="596965"/>
                </a:cubicBezTo>
                <a:cubicBezTo>
                  <a:pt x="1494516" y="599867"/>
                  <a:pt x="1499752" y="601428"/>
                  <a:pt x="1504078" y="595401"/>
                </a:cubicBezTo>
                <a:cubicBezTo>
                  <a:pt x="1504078" y="595401"/>
                  <a:pt x="1504078" y="595401"/>
                  <a:pt x="1515235" y="580222"/>
                </a:cubicBezTo>
                <a:cubicBezTo>
                  <a:pt x="1520019" y="573525"/>
                  <a:pt x="1516148" y="569283"/>
                  <a:pt x="1513415" y="567272"/>
                </a:cubicBezTo>
                <a:cubicBezTo>
                  <a:pt x="1497019" y="555220"/>
                  <a:pt x="1475391" y="548743"/>
                  <a:pt x="1451936" y="548743"/>
                </a:cubicBezTo>
                <a:close/>
                <a:moveTo>
                  <a:pt x="1139990" y="548743"/>
                </a:moveTo>
                <a:cubicBezTo>
                  <a:pt x="1088303" y="548743"/>
                  <a:pt x="1043674" y="588927"/>
                  <a:pt x="1043674" y="647415"/>
                </a:cubicBezTo>
                <a:cubicBezTo>
                  <a:pt x="1043674" y="706794"/>
                  <a:pt x="1088303" y="746532"/>
                  <a:pt x="1139536" y="746532"/>
                </a:cubicBezTo>
                <a:cubicBezTo>
                  <a:pt x="1167317" y="746532"/>
                  <a:pt x="1190084" y="734031"/>
                  <a:pt x="1202380" y="716394"/>
                </a:cubicBezTo>
                <a:cubicBezTo>
                  <a:pt x="1202380" y="732915"/>
                  <a:pt x="1202380" y="732915"/>
                  <a:pt x="1202380" y="732915"/>
                </a:cubicBezTo>
                <a:cubicBezTo>
                  <a:pt x="1202380" y="737603"/>
                  <a:pt x="1206935" y="741396"/>
                  <a:pt x="1211487" y="741396"/>
                </a:cubicBezTo>
                <a:cubicBezTo>
                  <a:pt x="1235168" y="741396"/>
                  <a:pt x="1235168" y="741396"/>
                  <a:pt x="1235168" y="741396"/>
                </a:cubicBezTo>
                <a:cubicBezTo>
                  <a:pt x="1239949" y="741396"/>
                  <a:pt x="1243820" y="737603"/>
                  <a:pt x="1243820" y="732915"/>
                </a:cubicBezTo>
                <a:cubicBezTo>
                  <a:pt x="1243820" y="563034"/>
                  <a:pt x="1243820" y="563034"/>
                  <a:pt x="1243820" y="563034"/>
                </a:cubicBezTo>
                <a:cubicBezTo>
                  <a:pt x="1243820" y="557897"/>
                  <a:pt x="1239949" y="554101"/>
                  <a:pt x="1235168" y="554101"/>
                </a:cubicBezTo>
                <a:cubicBezTo>
                  <a:pt x="1211487" y="554101"/>
                  <a:pt x="1211487" y="554101"/>
                  <a:pt x="1211487" y="554101"/>
                </a:cubicBezTo>
                <a:cubicBezTo>
                  <a:pt x="1206935" y="554101"/>
                  <a:pt x="1202380" y="557897"/>
                  <a:pt x="1202380" y="563034"/>
                </a:cubicBezTo>
                <a:cubicBezTo>
                  <a:pt x="1202380" y="578658"/>
                  <a:pt x="1202380" y="578658"/>
                  <a:pt x="1202380" y="578658"/>
                </a:cubicBezTo>
                <a:cubicBezTo>
                  <a:pt x="1190539" y="561023"/>
                  <a:pt x="1167317" y="548743"/>
                  <a:pt x="1139990" y="548743"/>
                </a:cubicBezTo>
                <a:close/>
                <a:moveTo>
                  <a:pt x="661145" y="498739"/>
                </a:moveTo>
                <a:cubicBezTo>
                  <a:pt x="720117" y="498739"/>
                  <a:pt x="761788" y="544056"/>
                  <a:pt x="761788" y="603214"/>
                </a:cubicBezTo>
                <a:cubicBezTo>
                  <a:pt x="761788" y="637816"/>
                  <a:pt x="747670" y="667505"/>
                  <a:pt x="724444" y="686259"/>
                </a:cubicBezTo>
                <a:cubicBezTo>
                  <a:pt x="705999" y="639601"/>
                  <a:pt x="705999" y="639601"/>
                  <a:pt x="705999" y="639601"/>
                </a:cubicBezTo>
                <a:cubicBezTo>
                  <a:pt x="704406" y="635584"/>
                  <a:pt x="701218" y="632234"/>
                  <a:pt x="694159" y="632234"/>
                </a:cubicBezTo>
                <a:cubicBezTo>
                  <a:pt x="670253" y="632234"/>
                  <a:pt x="670253" y="632234"/>
                  <a:pt x="670253" y="632234"/>
                </a:cubicBezTo>
                <a:cubicBezTo>
                  <a:pt x="664332" y="632234"/>
                  <a:pt x="659551" y="636030"/>
                  <a:pt x="662284" y="643397"/>
                </a:cubicBezTo>
                <a:cubicBezTo>
                  <a:pt x="686419" y="704787"/>
                  <a:pt x="686419" y="704787"/>
                  <a:pt x="686419" y="704787"/>
                </a:cubicBezTo>
                <a:cubicBezTo>
                  <a:pt x="678451" y="706794"/>
                  <a:pt x="670024" y="707913"/>
                  <a:pt x="661145" y="707913"/>
                </a:cubicBezTo>
                <a:cubicBezTo>
                  <a:pt x="602169" y="707913"/>
                  <a:pt x="560502" y="662597"/>
                  <a:pt x="560502" y="603214"/>
                </a:cubicBezTo>
                <a:cubicBezTo>
                  <a:pt x="560502" y="544056"/>
                  <a:pt x="602169" y="498739"/>
                  <a:pt x="661145" y="498739"/>
                </a:cubicBezTo>
                <a:close/>
                <a:moveTo>
                  <a:pt x="1293915" y="465253"/>
                </a:moveTo>
                <a:cubicBezTo>
                  <a:pt x="1289133" y="465253"/>
                  <a:pt x="1284807" y="469495"/>
                  <a:pt x="1284807" y="474183"/>
                </a:cubicBezTo>
                <a:cubicBezTo>
                  <a:pt x="1284807" y="474183"/>
                  <a:pt x="1284807" y="474183"/>
                  <a:pt x="1284807" y="732467"/>
                </a:cubicBezTo>
                <a:cubicBezTo>
                  <a:pt x="1284807" y="737157"/>
                  <a:pt x="1289133" y="741396"/>
                  <a:pt x="1293915" y="741396"/>
                </a:cubicBezTo>
                <a:cubicBezTo>
                  <a:pt x="1293915" y="741396"/>
                  <a:pt x="1293915" y="741396"/>
                  <a:pt x="1317366" y="741396"/>
                </a:cubicBezTo>
                <a:cubicBezTo>
                  <a:pt x="1322606" y="741396"/>
                  <a:pt x="1326248" y="737157"/>
                  <a:pt x="1326248" y="732467"/>
                </a:cubicBezTo>
                <a:cubicBezTo>
                  <a:pt x="1326248" y="732467"/>
                  <a:pt x="1326248" y="732467"/>
                  <a:pt x="1326248" y="474183"/>
                </a:cubicBezTo>
                <a:cubicBezTo>
                  <a:pt x="1326248" y="469495"/>
                  <a:pt x="1322606" y="465253"/>
                  <a:pt x="1317366" y="465253"/>
                </a:cubicBezTo>
                <a:cubicBezTo>
                  <a:pt x="1317366" y="465253"/>
                  <a:pt x="1317366" y="465253"/>
                  <a:pt x="1293915" y="465253"/>
                </a:cubicBezTo>
                <a:close/>
                <a:moveTo>
                  <a:pt x="661145" y="460120"/>
                </a:moveTo>
                <a:cubicBezTo>
                  <a:pt x="580766" y="460120"/>
                  <a:pt x="515874" y="521285"/>
                  <a:pt x="515874" y="603214"/>
                </a:cubicBezTo>
                <a:cubicBezTo>
                  <a:pt x="515874" y="685143"/>
                  <a:pt x="580766" y="746532"/>
                  <a:pt x="661145" y="746532"/>
                </a:cubicBezTo>
                <a:cubicBezTo>
                  <a:pt x="674805" y="746532"/>
                  <a:pt x="688239" y="744746"/>
                  <a:pt x="700763" y="741396"/>
                </a:cubicBezTo>
                <a:cubicBezTo>
                  <a:pt x="716475" y="781134"/>
                  <a:pt x="716475" y="781134"/>
                  <a:pt x="716475" y="781134"/>
                </a:cubicBezTo>
                <a:cubicBezTo>
                  <a:pt x="718069" y="785597"/>
                  <a:pt x="721256" y="788277"/>
                  <a:pt x="727176" y="788277"/>
                </a:cubicBezTo>
                <a:cubicBezTo>
                  <a:pt x="752222" y="788277"/>
                  <a:pt x="752222" y="788277"/>
                  <a:pt x="752222" y="788277"/>
                </a:cubicBezTo>
                <a:cubicBezTo>
                  <a:pt x="758142" y="788277"/>
                  <a:pt x="762697" y="784260"/>
                  <a:pt x="759736" y="776892"/>
                </a:cubicBezTo>
                <a:cubicBezTo>
                  <a:pt x="739471" y="724656"/>
                  <a:pt x="739471" y="724656"/>
                  <a:pt x="739471" y="724656"/>
                </a:cubicBezTo>
                <a:cubicBezTo>
                  <a:pt x="779774" y="699875"/>
                  <a:pt x="806416" y="655899"/>
                  <a:pt x="806416" y="603214"/>
                </a:cubicBezTo>
                <a:cubicBezTo>
                  <a:pt x="806416" y="521285"/>
                  <a:pt x="741520" y="460120"/>
                  <a:pt x="661145" y="460120"/>
                </a:cubicBezTo>
                <a:close/>
                <a:moveTo>
                  <a:pt x="0" y="0"/>
                </a:moveTo>
                <a:lnTo>
                  <a:pt x="12192000" y="0"/>
                </a:lnTo>
                <a:lnTo>
                  <a:pt x="12192000" y="6858000"/>
                </a:lnTo>
                <a:lnTo>
                  <a:pt x="0" y="6858000"/>
                </a:lnTo>
                <a:close/>
              </a:path>
            </a:pathLst>
          </a:custGeom>
          <a:gradFill>
            <a:gsLst>
              <a:gs pos="39000">
                <a:srgbClr val="202B3F">
                  <a:alpha val="65483"/>
                </a:srgbClr>
              </a:gs>
              <a:gs pos="0">
                <a:srgbClr val="202B3F">
                  <a:alpha val="73000"/>
                </a:srgbClr>
              </a:gs>
              <a:gs pos="99000">
                <a:srgbClr val="202B3F">
                  <a:alpha val="0"/>
                </a:srgbClr>
              </a:gs>
            </a:gsLst>
            <a:lin ang="0" scaled="0"/>
          </a:gradFill>
        </p:spPr>
        <p:txBody>
          <a:bodyPr wrap="square" lIns="72000">
            <a:noAutofit/>
          </a:bodyPr>
          <a:lstStyle>
            <a:lvl1pPr>
              <a:defRPr>
                <a:noFill/>
              </a:defRPr>
            </a:lvl1pPr>
          </a:lstStyle>
          <a:p>
            <a:pPr lvl="0"/>
            <a:r>
              <a:rPr lang="en-US"/>
              <a:t>Click to edit Master text styles</a:t>
            </a:r>
          </a:p>
        </p:txBody>
      </p:sp>
      <p:sp>
        <p:nvSpPr>
          <p:cNvPr id="47" name="Graphic 34">
            <a:extLst>
              <a:ext uri="{FF2B5EF4-FFF2-40B4-BE49-F238E27FC236}">
                <a16:creationId xmlns:a16="http://schemas.microsoft.com/office/drawing/2014/main" id="{9B9819F6-CC6A-D170-1AD4-5296A4CE8A14}"/>
              </a:ext>
            </a:extLst>
          </p:cNvPr>
          <p:cNvSpPr>
            <a:spLocks noChangeAspect="1"/>
          </p:cNvSpPr>
          <p:nvPr userDrawn="1"/>
        </p:nvSpPr>
        <p:spPr>
          <a:xfrm>
            <a:off x="515936" y="460180"/>
            <a:ext cx="1821600" cy="328157"/>
          </a:xfrm>
          <a:custGeom>
            <a:avLst/>
            <a:gdLst>
              <a:gd name="connsiteX0" fmla="*/ 1326970 w 4917659"/>
              <a:gd name="connsiteY0" fmla="*/ 258982 h 904875"/>
              <a:gd name="connsiteX1" fmla="*/ 1351557 w 4917659"/>
              <a:gd name="connsiteY1" fmla="*/ 283613 h 904875"/>
              <a:gd name="connsiteX2" fmla="*/ 1351557 w 4917659"/>
              <a:gd name="connsiteY2" fmla="*/ 752053 h 904875"/>
              <a:gd name="connsiteX3" fmla="*/ 1326970 w 4917659"/>
              <a:gd name="connsiteY3" fmla="*/ 775437 h 904875"/>
              <a:gd name="connsiteX4" fmla="*/ 1263650 w 4917659"/>
              <a:gd name="connsiteY4" fmla="*/ 775437 h 904875"/>
              <a:gd name="connsiteX5" fmla="*/ 1239681 w 4917659"/>
              <a:gd name="connsiteY5" fmla="*/ 752662 h 904875"/>
              <a:gd name="connsiteX6" fmla="*/ 1239681 w 4917659"/>
              <a:gd name="connsiteY6" fmla="*/ 709581 h 904875"/>
              <a:gd name="connsiteX7" fmla="*/ 1072481 w 4917659"/>
              <a:gd name="connsiteY7" fmla="*/ 789600 h 904875"/>
              <a:gd name="connsiteX8" fmla="*/ 854878 w 4917659"/>
              <a:gd name="connsiteY8" fmla="*/ 568001 h 904875"/>
              <a:gd name="connsiteX9" fmla="*/ 854878 w 4917659"/>
              <a:gd name="connsiteY9" fmla="*/ 282994 h 904875"/>
              <a:gd name="connsiteX10" fmla="*/ 880084 w 4917659"/>
              <a:gd name="connsiteY10" fmla="*/ 258982 h 904875"/>
              <a:gd name="connsiteX11" fmla="*/ 943395 w 4917659"/>
              <a:gd name="connsiteY11" fmla="*/ 258982 h 904875"/>
              <a:gd name="connsiteX12" fmla="*/ 966754 w 4917659"/>
              <a:gd name="connsiteY12" fmla="*/ 282994 h 904875"/>
              <a:gd name="connsiteX13" fmla="*/ 966754 w 4917659"/>
              <a:gd name="connsiteY13" fmla="*/ 549532 h 904875"/>
              <a:gd name="connsiteX14" fmla="*/ 1101371 w 4917659"/>
              <a:gd name="connsiteY14" fmla="*/ 692341 h 904875"/>
              <a:gd name="connsiteX15" fmla="*/ 1239681 w 4917659"/>
              <a:gd name="connsiteY15" fmla="*/ 550761 h 904875"/>
              <a:gd name="connsiteX16" fmla="*/ 1239681 w 4917659"/>
              <a:gd name="connsiteY16" fmla="*/ 282994 h 904875"/>
              <a:gd name="connsiteX17" fmla="*/ 1263650 w 4917659"/>
              <a:gd name="connsiteY17" fmla="*/ 258982 h 904875"/>
              <a:gd name="connsiteX18" fmla="*/ 1326970 w 4917659"/>
              <a:gd name="connsiteY18" fmla="*/ 258982 h 904875"/>
              <a:gd name="connsiteX19" fmla="*/ 392011 w 4917659"/>
              <a:gd name="connsiteY19" fmla="*/ -165 h 904875"/>
              <a:gd name="connsiteX20" fmla="*/ -169 w 4917659"/>
              <a:gd name="connsiteY20" fmla="*/ 394408 h 904875"/>
              <a:gd name="connsiteX21" fmla="*/ 392011 w 4917659"/>
              <a:gd name="connsiteY21" fmla="*/ 789600 h 904875"/>
              <a:gd name="connsiteX22" fmla="*/ 498966 w 4917659"/>
              <a:gd name="connsiteY22" fmla="*/ 775437 h 904875"/>
              <a:gd name="connsiteX23" fmla="*/ 541382 w 4917659"/>
              <a:gd name="connsiteY23" fmla="*/ 885012 h 904875"/>
              <a:gd name="connsiteX24" fmla="*/ 570272 w 4917659"/>
              <a:gd name="connsiteY24" fmla="*/ 904710 h 904875"/>
              <a:gd name="connsiteX25" fmla="*/ 637885 w 4917659"/>
              <a:gd name="connsiteY25" fmla="*/ 904710 h 904875"/>
              <a:gd name="connsiteX26" fmla="*/ 658170 w 4917659"/>
              <a:gd name="connsiteY26" fmla="*/ 873316 h 904875"/>
              <a:gd name="connsiteX27" fmla="*/ 603464 w 4917659"/>
              <a:gd name="connsiteY27" fmla="*/ 729279 h 904875"/>
              <a:gd name="connsiteX28" fmla="*/ 784191 w 4917659"/>
              <a:gd name="connsiteY28" fmla="*/ 394408 h 904875"/>
              <a:gd name="connsiteX29" fmla="*/ 392011 w 4917659"/>
              <a:gd name="connsiteY29" fmla="*/ -165 h 904875"/>
              <a:gd name="connsiteX30" fmla="*/ 562895 w 4917659"/>
              <a:gd name="connsiteY30" fmla="*/ 623399 h 904875"/>
              <a:gd name="connsiteX31" fmla="*/ 513101 w 4917659"/>
              <a:gd name="connsiteY31" fmla="*/ 494744 h 904875"/>
              <a:gd name="connsiteX32" fmla="*/ 481137 w 4917659"/>
              <a:gd name="connsiteY32" fmla="*/ 474428 h 904875"/>
              <a:gd name="connsiteX33" fmla="*/ 416598 w 4917659"/>
              <a:gd name="connsiteY33" fmla="*/ 474428 h 904875"/>
              <a:gd name="connsiteX34" fmla="*/ 395085 w 4917659"/>
              <a:gd name="connsiteY34" fmla="*/ 505212 h 904875"/>
              <a:gd name="connsiteX35" fmla="*/ 460243 w 4917659"/>
              <a:gd name="connsiteY35" fmla="*/ 674491 h 904875"/>
              <a:gd name="connsiteX36" fmla="*/ 392011 w 4917659"/>
              <a:gd name="connsiteY36" fmla="*/ 683111 h 904875"/>
              <a:gd name="connsiteX37" fmla="*/ 120312 w 4917659"/>
              <a:gd name="connsiteY37" fmla="*/ 394408 h 904875"/>
              <a:gd name="connsiteX38" fmla="*/ 392011 w 4917659"/>
              <a:gd name="connsiteY38" fmla="*/ 106324 h 904875"/>
              <a:gd name="connsiteX39" fmla="*/ 663710 w 4917659"/>
              <a:gd name="connsiteY39" fmla="*/ 394408 h 904875"/>
              <a:gd name="connsiteX40" fmla="*/ 562895 w 4917659"/>
              <a:gd name="connsiteY40" fmla="*/ 623399 h 904875"/>
              <a:gd name="connsiteX41" fmla="*/ 4915587 w 4917659"/>
              <a:gd name="connsiteY41" fmla="*/ 749586 h 904875"/>
              <a:gd name="connsiteX42" fmla="*/ 4898377 w 4917659"/>
              <a:gd name="connsiteY42" fmla="*/ 775437 h 904875"/>
              <a:gd name="connsiteX43" fmla="*/ 4827680 w 4917659"/>
              <a:gd name="connsiteY43" fmla="*/ 775437 h 904875"/>
              <a:gd name="connsiteX44" fmla="*/ 4799409 w 4917659"/>
              <a:gd name="connsiteY44" fmla="*/ 756358 h 904875"/>
              <a:gd name="connsiteX45" fmla="*/ 4668476 w 4917659"/>
              <a:gd name="connsiteY45" fmla="*/ 403028 h 904875"/>
              <a:gd name="connsiteX46" fmla="*/ 4535087 w 4917659"/>
              <a:gd name="connsiteY46" fmla="*/ 756358 h 904875"/>
              <a:gd name="connsiteX47" fmla="*/ 4507425 w 4917659"/>
              <a:gd name="connsiteY47" fmla="*/ 775437 h 904875"/>
              <a:gd name="connsiteX48" fmla="*/ 4444114 w 4917659"/>
              <a:gd name="connsiteY48" fmla="*/ 775437 h 904875"/>
              <a:gd name="connsiteX49" fmla="*/ 4415834 w 4917659"/>
              <a:gd name="connsiteY49" fmla="*/ 756358 h 904875"/>
              <a:gd name="connsiteX50" fmla="*/ 4281827 w 4917659"/>
              <a:gd name="connsiteY50" fmla="*/ 401180 h 904875"/>
              <a:gd name="connsiteX51" fmla="*/ 4149665 w 4917659"/>
              <a:gd name="connsiteY51" fmla="*/ 756358 h 904875"/>
              <a:gd name="connsiteX52" fmla="*/ 4121394 w 4917659"/>
              <a:gd name="connsiteY52" fmla="*/ 775437 h 904875"/>
              <a:gd name="connsiteX53" fmla="*/ 4055009 w 4917659"/>
              <a:gd name="connsiteY53" fmla="*/ 775437 h 904875"/>
              <a:gd name="connsiteX54" fmla="*/ 4026729 w 4917659"/>
              <a:gd name="connsiteY54" fmla="*/ 756358 h 904875"/>
              <a:gd name="connsiteX55" fmla="*/ 3895796 w 4917659"/>
              <a:gd name="connsiteY55" fmla="*/ 401180 h 904875"/>
              <a:gd name="connsiteX56" fmla="*/ 3760560 w 4917659"/>
              <a:gd name="connsiteY56" fmla="*/ 756358 h 904875"/>
              <a:gd name="connsiteX57" fmla="*/ 3732289 w 4917659"/>
              <a:gd name="connsiteY57" fmla="*/ 775437 h 904875"/>
              <a:gd name="connsiteX58" fmla="*/ 3668969 w 4917659"/>
              <a:gd name="connsiteY58" fmla="*/ 775437 h 904875"/>
              <a:gd name="connsiteX59" fmla="*/ 3641317 w 4917659"/>
              <a:gd name="connsiteY59" fmla="*/ 756358 h 904875"/>
              <a:gd name="connsiteX60" fmla="*/ 3509156 w 4917659"/>
              <a:gd name="connsiteY60" fmla="*/ 401180 h 904875"/>
              <a:gd name="connsiteX61" fmla="*/ 3376995 w 4917659"/>
              <a:gd name="connsiteY61" fmla="*/ 756358 h 904875"/>
              <a:gd name="connsiteX62" fmla="*/ 3348714 w 4917659"/>
              <a:gd name="connsiteY62" fmla="*/ 775437 h 904875"/>
              <a:gd name="connsiteX63" fmla="*/ 3279873 w 4917659"/>
              <a:gd name="connsiteY63" fmla="*/ 775437 h 904875"/>
              <a:gd name="connsiteX64" fmla="*/ 3262653 w 4917659"/>
              <a:gd name="connsiteY64" fmla="*/ 749586 h 904875"/>
              <a:gd name="connsiteX65" fmla="*/ 3442152 w 4917659"/>
              <a:gd name="connsiteY65" fmla="*/ 279298 h 904875"/>
              <a:gd name="connsiteX66" fmla="*/ 3470423 w 4917659"/>
              <a:gd name="connsiteY66" fmla="*/ 258982 h 904875"/>
              <a:gd name="connsiteX67" fmla="*/ 3547879 w 4917659"/>
              <a:gd name="connsiteY67" fmla="*/ 258982 h 904875"/>
              <a:gd name="connsiteX68" fmla="*/ 3575541 w 4917659"/>
              <a:gd name="connsiteY68" fmla="*/ 279298 h 904875"/>
              <a:gd name="connsiteX69" fmla="*/ 3702171 w 4917659"/>
              <a:gd name="connsiteY69" fmla="*/ 622780 h 904875"/>
              <a:gd name="connsiteX70" fmla="*/ 3830029 w 4917659"/>
              <a:gd name="connsiteY70" fmla="*/ 279298 h 904875"/>
              <a:gd name="connsiteX71" fmla="*/ 3858300 w 4917659"/>
              <a:gd name="connsiteY71" fmla="*/ 258982 h 904875"/>
              <a:gd name="connsiteX72" fmla="*/ 3934528 w 4917659"/>
              <a:gd name="connsiteY72" fmla="*/ 258982 h 904875"/>
              <a:gd name="connsiteX73" fmla="*/ 3962181 w 4917659"/>
              <a:gd name="connsiteY73" fmla="*/ 279298 h 904875"/>
              <a:gd name="connsiteX74" fmla="*/ 4089430 w 4917659"/>
              <a:gd name="connsiteY74" fmla="*/ 622780 h 904875"/>
              <a:gd name="connsiteX75" fmla="*/ 4216060 w 4917659"/>
              <a:gd name="connsiteY75" fmla="*/ 279298 h 904875"/>
              <a:gd name="connsiteX76" fmla="*/ 4243722 w 4917659"/>
              <a:gd name="connsiteY76" fmla="*/ 258982 h 904875"/>
              <a:gd name="connsiteX77" fmla="*/ 4320559 w 4917659"/>
              <a:gd name="connsiteY77" fmla="*/ 258982 h 904875"/>
              <a:gd name="connsiteX78" fmla="*/ 4348221 w 4917659"/>
              <a:gd name="connsiteY78" fmla="*/ 279298 h 904875"/>
              <a:gd name="connsiteX79" fmla="*/ 4477307 w 4917659"/>
              <a:gd name="connsiteY79" fmla="*/ 622780 h 904875"/>
              <a:gd name="connsiteX80" fmla="*/ 4602700 w 4917659"/>
              <a:gd name="connsiteY80" fmla="*/ 279298 h 904875"/>
              <a:gd name="connsiteX81" fmla="*/ 4630981 w 4917659"/>
              <a:gd name="connsiteY81" fmla="*/ 258982 h 904875"/>
              <a:gd name="connsiteX82" fmla="*/ 4708427 w 4917659"/>
              <a:gd name="connsiteY82" fmla="*/ 258982 h 904875"/>
              <a:gd name="connsiteX83" fmla="*/ 4736089 w 4917659"/>
              <a:gd name="connsiteY83" fmla="*/ 279298 h 904875"/>
              <a:gd name="connsiteX84" fmla="*/ 4915587 w 4917659"/>
              <a:gd name="connsiteY84" fmla="*/ 749586 h 904875"/>
              <a:gd name="connsiteX85" fmla="*/ 1941664 w 4917659"/>
              <a:gd name="connsiteY85" fmla="*/ 258982 h 904875"/>
              <a:gd name="connsiteX86" fmla="*/ 1877735 w 4917659"/>
              <a:gd name="connsiteY86" fmla="*/ 258982 h 904875"/>
              <a:gd name="connsiteX87" fmla="*/ 1853148 w 4917659"/>
              <a:gd name="connsiteY87" fmla="*/ 283613 h 904875"/>
              <a:gd name="connsiteX88" fmla="*/ 1853148 w 4917659"/>
              <a:gd name="connsiteY88" fmla="*/ 326695 h 904875"/>
              <a:gd name="connsiteX89" fmla="*/ 1684720 w 4917659"/>
              <a:gd name="connsiteY89" fmla="*/ 244208 h 904875"/>
              <a:gd name="connsiteX90" fmla="*/ 1424700 w 4917659"/>
              <a:gd name="connsiteY90" fmla="*/ 516290 h 904875"/>
              <a:gd name="connsiteX91" fmla="*/ 1683492 w 4917659"/>
              <a:gd name="connsiteY91" fmla="*/ 789600 h 904875"/>
              <a:gd name="connsiteX92" fmla="*/ 1853148 w 4917659"/>
              <a:gd name="connsiteY92" fmla="*/ 706495 h 904875"/>
              <a:gd name="connsiteX93" fmla="*/ 1853148 w 4917659"/>
              <a:gd name="connsiteY93" fmla="*/ 752053 h 904875"/>
              <a:gd name="connsiteX94" fmla="*/ 1877735 w 4917659"/>
              <a:gd name="connsiteY94" fmla="*/ 775437 h 904875"/>
              <a:gd name="connsiteX95" fmla="*/ 1941664 w 4917659"/>
              <a:gd name="connsiteY95" fmla="*/ 775437 h 904875"/>
              <a:gd name="connsiteX96" fmla="*/ 1965023 w 4917659"/>
              <a:gd name="connsiteY96" fmla="*/ 752053 h 904875"/>
              <a:gd name="connsiteX97" fmla="*/ 1965023 w 4917659"/>
              <a:gd name="connsiteY97" fmla="*/ 283613 h 904875"/>
              <a:gd name="connsiteX98" fmla="*/ 1941664 w 4917659"/>
              <a:gd name="connsiteY98" fmla="*/ 258982 h 904875"/>
              <a:gd name="connsiteX99" fmla="*/ 1696399 w 4917659"/>
              <a:gd name="connsiteY99" fmla="*/ 686187 h 904875"/>
              <a:gd name="connsiteX100" fmla="*/ 1538423 w 4917659"/>
              <a:gd name="connsiteY100" fmla="*/ 517519 h 904875"/>
              <a:gd name="connsiteX101" fmla="*/ 1696399 w 4917659"/>
              <a:gd name="connsiteY101" fmla="*/ 349469 h 904875"/>
              <a:gd name="connsiteX102" fmla="*/ 1854375 w 4917659"/>
              <a:gd name="connsiteY102" fmla="*/ 517519 h 904875"/>
              <a:gd name="connsiteX103" fmla="*/ 1696399 w 4917659"/>
              <a:gd name="connsiteY103" fmla="*/ 686187 h 904875"/>
              <a:gd name="connsiteX104" fmla="*/ 2697743 w 4917659"/>
              <a:gd name="connsiteY104" fmla="*/ 702190 h 904875"/>
              <a:gd name="connsiteX105" fmla="*/ 2692831 w 4917659"/>
              <a:gd name="connsiteY105" fmla="*/ 737889 h 904875"/>
              <a:gd name="connsiteX106" fmla="*/ 2526859 w 4917659"/>
              <a:gd name="connsiteY106" fmla="*/ 789600 h 904875"/>
              <a:gd name="connsiteX107" fmla="*/ 2260701 w 4917659"/>
              <a:gd name="connsiteY107" fmla="*/ 517519 h 904875"/>
              <a:gd name="connsiteX108" fmla="*/ 2526859 w 4917659"/>
              <a:gd name="connsiteY108" fmla="*/ 244208 h 904875"/>
              <a:gd name="connsiteX109" fmla="*/ 2692831 w 4917659"/>
              <a:gd name="connsiteY109" fmla="*/ 295301 h 904875"/>
              <a:gd name="connsiteX110" fmla="*/ 2697743 w 4917659"/>
              <a:gd name="connsiteY110" fmla="*/ 331010 h 904875"/>
              <a:gd name="connsiteX111" fmla="*/ 2667625 w 4917659"/>
              <a:gd name="connsiteY111" fmla="*/ 372863 h 904875"/>
              <a:gd name="connsiteX112" fmla="*/ 2630130 w 4917659"/>
              <a:gd name="connsiteY112" fmla="*/ 377177 h 904875"/>
              <a:gd name="connsiteX113" fmla="*/ 2530553 w 4917659"/>
              <a:gd name="connsiteY113" fmla="*/ 346393 h 904875"/>
              <a:gd name="connsiteX114" fmla="*/ 2374414 w 4917659"/>
              <a:gd name="connsiteY114" fmla="*/ 517519 h 904875"/>
              <a:gd name="connsiteX115" fmla="*/ 2530553 w 4917659"/>
              <a:gd name="connsiteY115" fmla="*/ 687416 h 904875"/>
              <a:gd name="connsiteX116" fmla="*/ 2628284 w 4917659"/>
              <a:gd name="connsiteY116" fmla="*/ 656022 h 904875"/>
              <a:gd name="connsiteX117" fmla="*/ 2665788 w 4917659"/>
              <a:gd name="connsiteY117" fmla="*/ 661565 h 904875"/>
              <a:gd name="connsiteX118" fmla="*/ 2697743 w 4917659"/>
              <a:gd name="connsiteY118" fmla="*/ 702190 h 904875"/>
              <a:gd name="connsiteX119" fmla="*/ 2996495 w 4917659"/>
              <a:gd name="connsiteY119" fmla="*/ 244827 h 904875"/>
              <a:gd name="connsiteX120" fmla="*/ 2726024 w 4917659"/>
              <a:gd name="connsiteY120" fmla="*/ 517519 h 904875"/>
              <a:gd name="connsiteX121" fmla="*/ 2996495 w 4917659"/>
              <a:gd name="connsiteY121" fmla="*/ 789600 h 904875"/>
              <a:gd name="connsiteX122" fmla="*/ 3267575 w 4917659"/>
              <a:gd name="connsiteY122" fmla="*/ 517519 h 904875"/>
              <a:gd name="connsiteX123" fmla="*/ 2996495 w 4917659"/>
              <a:gd name="connsiteY123" fmla="*/ 244827 h 904875"/>
              <a:gd name="connsiteX124" fmla="*/ 2996495 w 4917659"/>
              <a:gd name="connsiteY124" fmla="*/ 684949 h 904875"/>
              <a:gd name="connsiteX125" fmla="*/ 2838519 w 4917659"/>
              <a:gd name="connsiteY125" fmla="*/ 517519 h 904875"/>
              <a:gd name="connsiteX126" fmla="*/ 2996495 w 4917659"/>
              <a:gd name="connsiteY126" fmla="*/ 349469 h 904875"/>
              <a:gd name="connsiteX127" fmla="*/ 3154471 w 4917659"/>
              <a:gd name="connsiteY127" fmla="*/ 517519 h 904875"/>
              <a:gd name="connsiteX128" fmla="*/ 2996495 w 4917659"/>
              <a:gd name="connsiteY128" fmla="*/ 684949 h 904875"/>
              <a:gd name="connsiteX129" fmla="*/ 2163569 w 4917659"/>
              <a:gd name="connsiteY129" fmla="*/ 13989 h 904875"/>
              <a:gd name="connsiteX130" fmla="*/ 2187548 w 4917659"/>
              <a:gd name="connsiteY130" fmla="*/ 38611 h 904875"/>
              <a:gd name="connsiteX131" fmla="*/ 2187548 w 4917659"/>
              <a:gd name="connsiteY131" fmla="*/ 750815 h 904875"/>
              <a:gd name="connsiteX132" fmla="*/ 2163569 w 4917659"/>
              <a:gd name="connsiteY132" fmla="*/ 775437 h 904875"/>
              <a:gd name="connsiteX133" fmla="*/ 2100259 w 4917659"/>
              <a:gd name="connsiteY133" fmla="*/ 775437 h 904875"/>
              <a:gd name="connsiteX134" fmla="*/ 2075672 w 4917659"/>
              <a:gd name="connsiteY134" fmla="*/ 750815 h 904875"/>
              <a:gd name="connsiteX135" fmla="*/ 2075672 w 4917659"/>
              <a:gd name="connsiteY135" fmla="*/ 38611 h 904875"/>
              <a:gd name="connsiteX136" fmla="*/ 2100259 w 4917659"/>
              <a:gd name="connsiteY136" fmla="*/ 13989 h 904875"/>
              <a:gd name="connsiteX137" fmla="*/ 2163569 w 4917659"/>
              <a:gd name="connsiteY137" fmla="*/ 13989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4917659" h="904875">
                <a:moveTo>
                  <a:pt x="1326970" y="258982"/>
                </a:moveTo>
                <a:cubicBezTo>
                  <a:pt x="1339877" y="258982"/>
                  <a:pt x="1351557" y="269450"/>
                  <a:pt x="1351557" y="283613"/>
                </a:cubicBezTo>
                <a:cubicBezTo>
                  <a:pt x="1351557" y="752053"/>
                  <a:pt x="1351557" y="752053"/>
                  <a:pt x="1351557" y="752053"/>
                </a:cubicBezTo>
                <a:cubicBezTo>
                  <a:pt x="1351557" y="764978"/>
                  <a:pt x="1339877" y="775437"/>
                  <a:pt x="1326970" y="775437"/>
                </a:cubicBezTo>
                <a:cubicBezTo>
                  <a:pt x="1263650" y="775437"/>
                  <a:pt x="1263650" y="775437"/>
                  <a:pt x="1263650" y="775437"/>
                </a:cubicBezTo>
                <a:cubicBezTo>
                  <a:pt x="1251361" y="775437"/>
                  <a:pt x="1239681" y="765588"/>
                  <a:pt x="1239681" y="752662"/>
                </a:cubicBezTo>
                <a:cubicBezTo>
                  <a:pt x="1239681" y="709581"/>
                  <a:pt x="1239681" y="709581"/>
                  <a:pt x="1239681" y="709581"/>
                </a:cubicBezTo>
                <a:cubicBezTo>
                  <a:pt x="1207717" y="756977"/>
                  <a:pt x="1153011" y="789600"/>
                  <a:pt x="1072481" y="789600"/>
                </a:cubicBezTo>
                <a:cubicBezTo>
                  <a:pt x="937864" y="789600"/>
                  <a:pt x="854878" y="700342"/>
                  <a:pt x="854878" y="568001"/>
                </a:cubicBezTo>
                <a:cubicBezTo>
                  <a:pt x="854878" y="282994"/>
                  <a:pt x="854878" y="282994"/>
                  <a:pt x="854878" y="282994"/>
                </a:cubicBezTo>
                <a:cubicBezTo>
                  <a:pt x="854878" y="269450"/>
                  <a:pt x="867167" y="258982"/>
                  <a:pt x="880084" y="258982"/>
                </a:cubicBezTo>
                <a:cubicBezTo>
                  <a:pt x="943395" y="258982"/>
                  <a:pt x="943395" y="258982"/>
                  <a:pt x="943395" y="258982"/>
                </a:cubicBezTo>
                <a:cubicBezTo>
                  <a:pt x="956302" y="258982"/>
                  <a:pt x="966754" y="269450"/>
                  <a:pt x="966754" y="282994"/>
                </a:cubicBezTo>
                <a:cubicBezTo>
                  <a:pt x="966754" y="549532"/>
                  <a:pt x="966754" y="549532"/>
                  <a:pt x="966754" y="549532"/>
                </a:cubicBezTo>
                <a:cubicBezTo>
                  <a:pt x="966754" y="635705"/>
                  <a:pt x="1012245" y="692341"/>
                  <a:pt x="1101371" y="692341"/>
                </a:cubicBezTo>
                <a:cubicBezTo>
                  <a:pt x="1188041" y="692341"/>
                  <a:pt x="1239681" y="633248"/>
                  <a:pt x="1239681" y="550761"/>
                </a:cubicBezTo>
                <a:cubicBezTo>
                  <a:pt x="1239681" y="282994"/>
                  <a:pt x="1239681" y="282994"/>
                  <a:pt x="1239681" y="282994"/>
                </a:cubicBezTo>
                <a:cubicBezTo>
                  <a:pt x="1239681" y="269450"/>
                  <a:pt x="1251361" y="258982"/>
                  <a:pt x="1263650" y="258982"/>
                </a:cubicBezTo>
                <a:cubicBezTo>
                  <a:pt x="1326970" y="258982"/>
                  <a:pt x="1326970" y="258982"/>
                  <a:pt x="1326970" y="258982"/>
                </a:cubicBezTo>
                <a:moveTo>
                  <a:pt x="392011" y="-165"/>
                </a:moveTo>
                <a:cubicBezTo>
                  <a:pt x="175017" y="-165"/>
                  <a:pt x="-169" y="168494"/>
                  <a:pt x="-169" y="394408"/>
                </a:cubicBezTo>
                <a:cubicBezTo>
                  <a:pt x="-169" y="620322"/>
                  <a:pt x="175017" y="789600"/>
                  <a:pt x="392011" y="789600"/>
                </a:cubicBezTo>
                <a:cubicBezTo>
                  <a:pt x="428887" y="789600"/>
                  <a:pt x="465154" y="784676"/>
                  <a:pt x="498966" y="775437"/>
                </a:cubicBezTo>
                <a:cubicBezTo>
                  <a:pt x="541382" y="885012"/>
                  <a:pt x="541382" y="885012"/>
                  <a:pt x="541382" y="885012"/>
                </a:cubicBezTo>
                <a:cubicBezTo>
                  <a:pt x="545684" y="897319"/>
                  <a:pt x="554290" y="904710"/>
                  <a:pt x="570272" y="904710"/>
                </a:cubicBezTo>
                <a:cubicBezTo>
                  <a:pt x="637885" y="904710"/>
                  <a:pt x="637885" y="904710"/>
                  <a:pt x="637885" y="904710"/>
                </a:cubicBezTo>
                <a:cubicBezTo>
                  <a:pt x="653867" y="904710"/>
                  <a:pt x="666166" y="893633"/>
                  <a:pt x="658170" y="873316"/>
                </a:cubicBezTo>
                <a:cubicBezTo>
                  <a:pt x="603464" y="729279"/>
                  <a:pt x="603464" y="729279"/>
                  <a:pt x="603464" y="729279"/>
                </a:cubicBezTo>
                <a:cubicBezTo>
                  <a:pt x="712266" y="660946"/>
                  <a:pt x="784191" y="539683"/>
                  <a:pt x="784191" y="394408"/>
                </a:cubicBezTo>
                <a:cubicBezTo>
                  <a:pt x="784191" y="168494"/>
                  <a:pt x="608995" y="-165"/>
                  <a:pt x="392011" y="-165"/>
                </a:cubicBezTo>
                <a:moveTo>
                  <a:pt x="562895" y="623399"/>
                </a:moveTo>
                <a:cubicBezTo>
                  <a:pt x="513101" y="494744"/>
                  <a:pt x="513101" y="494744"/>
                  <a:pt x="513101" y="494744"/>
                </a:cubicBezTo>
                <a:cubicBezTo>
                  <a:pt x="508799" y="483667"/>
                  <a:pt x="500194" y="474428"/>
                  <a:pt x="481137" y="474428"/>
                </a:cubicBezTo>
                <a:cubicBezTo>
                  <a:pt x="416598" y="474428"/>
                  <a:pt x="416598" y="474428"/>
                  <a:pt x="416598" y="474428"/>
                </a:cubicBezTo>
                <a:cubicBezTo>
                  <a:pt x="400616" y="474428"/>
                  <a:pt x="387708" y="484896"/>
                  <a:pt x="395085" y="505212"/>
                </a:cubicBezTo>
                <a:cubicBezTo>
                  <a:pt x="460243" y="674491"/>
                  <a:pt x="460243" y="674491"/>
                  <a:pt x="460243" y="674491"/>
                </a:cubicBezTo>
                <a:cubicBezTo>
                  <a:pt x="438730" y="680025"/>
                  <a:pt x="415980" y="683111"/>
                  <a:pt x="392011" y="683111"/>
                </a:cubicBezTo>
                <a:cubicBezTo>
                  <a:pt x="232797" y="683111"/>
                  <a:pt x="120312" y="558152"/>
                  <a:pt x="120312" y="394408"/>
                </a:cubicBezTo>
                <a:cubicBezTo>
                  <a:pt x="120312" y="231283"/>
                  <a:pt x="232797" y="106324"/>
                  <a:pt x="392011" y="106324"/>
                </a:cubicBezTo>
                <a:cubicBezTo>
                  <a:pt x="551215" y="106324"/>
                  <a:pt x="663710" y="231283"/>
                  <a:pt x="663710" y="394408"/>
                </a:cubicBezTo>
                <a:cubicBezTo>
                  <a:pt x="663710" y="489820"/>
                  <a:pt x="625596" y="571687"/>
                  <a:pt x="562895" y="623399"/>
                </a:cubicBezTo>
                <a:moveTo>
                  <a:pt x="4915587" y="749586"/>
                </a:moveTo>
                <a:cubicBezTo>
                  <a:pt x="4921118" y="762511"/>
                  <a:pt x="4914359" y="775437"/>
                  <a:pt x="4898377" y="775437"/>
                </a:cubicBezTo>
                <a:cubicBezTo>
                  <a:pt x="4827680" y="775437"/>
                  <a:pt x="4827680" y="775437"/>
                  <a:pt x="4827680" y="775437"/>
                </a:cubicBezTo>
                <a:cubicBezTo>
                  <a:pt x="4814772" y="775437"/>
                  <a:pt x="4803711" y="769284"/>
                  <a:pt x="4799409" y="756358"/>
                </a:cubicBezTo>
                <a:cubicBezTo>
                  <a:pt x="4668476" y="403028"/>
                  <a:pt x="4668476" y="403028"/>
                  <a:pt x="4668476" y="403028"/>
                </a:cubicBezTo>
                <a:cubicBezTo>
                  <a:pt x="4535087" y="756358"/>
                  <a:pt x="4535087" y="756358"/>
                  <a:pt x="4535087" y="756358"/>
                </a:cubicBezTo>
                <a:cubicBezTo>
                  <a:pt x="4529556" y="769903"/>
                  <a:pt x="4520333" y="775437"/>
                  <a:pt x="4507425" y="775437"/>
                </a:cubicBezTo>
                <a:cubicBezTo>
                  <a:pt x="4444114" y="775437"/>
                  <a:pt x="4444114" y="775437"/>
                  <a:pt x="4444114" y="775437"/>
                </a:cubicBezTo>
                <a:cubicBezTo>
                  <a:pt x="4431197" y="775437"/>
                  <a:pt x="4421365" y="769903"/>
                  <a:pt x="4415834" y="756358"/>
                </a:cubicBezTo>
                <a:cubicBezTo>
                  <a:pt x="4281827" y="401180"/>
                  <a:pt x="4281827" y="401180"/>
                  <a:pt x="4281827" y="401180"/>
                </a:cubicBezTo>
                <a:cubicBezTo>
                  <a:pt x="4149665" y="756358"/>
                  <a:pt x="4149665" y="756358"/>
                  <a:pt x="4149665" y="756358"/>
                </a:cubicBezTo>
                <a:cubicBezTo>
                  <a:pt x="4144135" y="769284"/>
                  <a:pt x="4134302" y="775437"/>
                  <a:pt x="4121394" y="775437"/>
                </a:cubicBezTo>
                <a:cubicBezTo>
                  <a:pt x="4055009" y="775437"/>
                  <a:pt x="4055009" y="775437"/>
                  <a:pt x="4055009" y="775437"/>
                </a:cubicBezTo>
                <a:cubicBezTo>
                  <a:pt x="4042092" y="775437"/>
                  <a:pt x="4032259" y="769284"/>
                  <a:pt x="4026729" y="756358"/>
                </a:cubicBezTo>
                <a:cubicBezTo>
                  <a:pt x="3895796" y="401180"/>
                  <a:pt x="3895796" y="401180"/>
                  <a:pt x="3895796" y="401180"/>
                </a:cubicBezTo>
                <a:cubicBezTo>
                  <a:pt x="3760560" y="756358"/>
                  <a:pt x="3760560" y="756358"/>
                  <a:pt x="3760560" y="756358"/>
                </a:cubicBezTo>
                <a:cubicBezTo>
                  <a:pt x="3755030" y="769903"/>
                  <a:pt x="3745197" y="775437"/>
                  <a:pt x="3732289" y="775437"/>
                </a:cubicBezTo>
                <a:cubicBezTo>
                  <a:pt x="3668969" y="775437"/>
                  <a:pt x="3668969" y="775437"/>
                  <a:pt x="3668969" y="775437"/>
                </a:cubicBezTo>
                <a:cubicBezTo>
                  <a:pt x="3656061" y="775437"/>
                  <a:pt x="3646228" y="769903"/>
                  <a:pt x="3641317" y="756358"/>
                </a:cubicBezTo>
                <a:cubicBezTo>
                  <a:pt x="3509156" y="401180"/>
                  <a:pt x="3509156" y="401180"/>
                  <a:pt x="3509156" y="401180"/>
                </a:cubicBezTo>
                <a:cubicBezTo>
                  <a:pt x="3376995" y="756358"/>
                  <a:pt x="3376995" y="756358"/>
                  <a:pt x="3376995" y="756358"/>
                </a:cubicBezTo>
                <a:cubicBezTo>
                  <a:pt x="3372692" y="769284"/>
                  <a:pt x="3361622" y="775437"/>
                  <a:pt x="3348714" y="775437"/>
                </a:cubicBezTo>
                <a:cubicBezTo>
                  <a:pt x="3279873" y="775437"/>
                  <a:pt x="3279873" y="775437"/>
                  <a:pt x="3279873" y="775437"/>
                </a:cubicBezTo>
                <a:cubicBezTo>
                  <a:pt x="3263881" y="775437"/>
                  <a:pt x="3257742" y="762511"/>
                  <a:pt x="3262653" y="749586"/>
                </a:cubicBezTo>
                <a:cubicBezTo>
                  <a:pt x="3442152" y="279298"/>
                  <a:pt x="3442152" y="279298"/>
                  <a:pt x="3442152" y="279298"/>
                </a:cubicBezTo>
                <a:cubicBezTo>
                  <a:pt x="3447683" y="265754"/>
                  <a:pt x="3457515" y="258982"/>
                  <a:pt x="3470423" y="258982"/>
                </a:cubicBezTo>
                <a:cubicBezTo>
                  <a:pt x="3547879" y="258982"/>
                  <a:pt x="3547879" y="258982"/>
                  <a:pt x="3547879" y="258982"/>
                </a:cubicBezTo>
                <a:cubicBezTo>
                  <a:pt x="3560786" y="258982"/>
                  <a:pt x="3570010" y="265754"/>
                  <a:pt x="3575541" y="279298"/>
                </a:cubicBezTo>
                <a:cubicBezTo>
                  <a:pt x="3702171" y="622780"/>
                  <a:pt x="3702171" y="622780"/>
                  <a:pt x="3702171" y="622780"/>
                </a:cubicBezTo>
                <a:cubicBezTo>
                  <a:pt x="3830029" y="279298"/>
                  <a:pt x="3830029" y="279298"/>
                  <a:pt x="3830029" y="279298"/>
                </a:cubicBezTo>
                <a:cubicBezTo>
                  <a:pt x="3835560" y="265754"/>
                  <a:pt x="3845393" y="258982"/>
                  <a:pt x="3858300" y="258982"/>
                </a:cubicBezTo>
                <a:cubicBezTo>
                  <a:pt x="3934528" y="258982"/>
                  <a:pt x="3934528" y="258982"/>
                  <a:pt x="3934528" y="258982"/>
                </a:cubicBezTo>
                <a:cubicBezTo>
                  <a:pt x="3947436" y="258982"/>
                  <a:pt x="3957269" y="265754"/>
                  <a:pt x="3962181" y="279298"/>
                </a:cubicBezTo>
                <a:cubicBezTo>
                  <a:pt x="4089430" y="622780"/>
                  <a:pt x="4089430" y="622780"/>
                  <a:pt x="4089430" y="622780"/>
                </a:cubicBezTo>
                <a:cubicBezTo>
                  <a:pt x="4216060" y="279298"/>
                  <a:pt x="4216060" y="279298"/>
                  <a:pt x="4216060" y="279298"/>
                </a:cubicBezTo>
                <a:cubicBezTo>
                  <a:pt x="4221591" y="265754"/>
                  <a:pt x="4230805" y="258982"/>
                  <a:pt x="4243722" y="258982"/>
                </a:cubicBezTo>
                <a:cubicBezTo>
                  <a:pt x="4320559" y="258982"/>
                  <a:pt x="4320559" y="258982"/>
                  <a:pt x="4320559" y="258982"/>
                </a:cubicBezTo>
                <a:cubicBezTo>
                  <a:pt x="4332848" y="258982"/>
                  <a:pt x="4342681" y="265754"/>
                  <a:pt x="4348221" y="279298"/>
                </a:cubicBezTo>
                <a:cubicBezTo>
                  <a:pt x="4477307" y="622780"/>
                  <a:pt x="4477307" y="622780"/>
                  <a:pt x="4477307" y="622780"/>
                </a:cubicBezTo>
                <a:cubicBezTo>
                  <a:pt x="4602700" y="279298"/>
                  <a:pt x="4602700" y="279298"/>
                  <a:pt x="4602700" y="279298"/>
                </a:cubicBezTo>
                <a:cubicBezTo>
                  <a:pt x="4608231" y="265754"/>
                  <a:pt x="4618073" y="258982"/>
                  <a:pt x="4630981" y="258982"/>
                </a:cubicBezTo>
                <a:cubicBezTo>
                  <a:pt x="4708427" y="258982"/>
                  <a:pt x="4708427" y="258982"/>
                  <a:pt x="4708427" y="258982"/>
                </a:cubicBezTo>
                <a:cubicBezTo>
                  <a:pt x="4721344" y="258982"/>
                  <a:pt x="4730558" y="265754"/>
                  <a:pt x="4736089" y="279298"/>
                </a:cubicBezTo>
                <a:cubicBezTo>
                  <a:pt x="4915587" y="749586"/>
                  <a:pt x="4915587" y="749586"/>
                  <a:pt x="4915587" y="749586"/>
                </a:cubicBezTo>
                <a:moveTo>
                  <a:pt x="1941664" y="258982"/>
                </a:moveTo>
                <a:cubicBezTo>
                  <a:pt x="1877735" y="258982"/>
                  <a:pt x="1877735" y="258982"/>
                  <a:pt x="1877735" y="258982"/>
                </a:cubicBezTo>
                <a:cubicBezTo>
                  <a:pt x="1865446" y="258982"/>
                  <a:pt x="1853148" y="269450"/>
                  <a:pt x="1853148" y="283613"/>
                </a:cubicBezTo>
                <a:cubicBezTo>
                  <a:pt x="1853148" y="326695"/>
                  <a:pt x="1853148" y="326695"/>
                  <a:pt x="1853148" y="326695"/>
                </a:cubicBezTo>
                <a:cubicBezTo>
                  <a:pt x="1821183" y="278070"/>
                  <a:pt x="1758491" y="244208"/>
                  <a:pt x="1684720" y="244208"/>
                </a:cubicBezTo>
                <a:cubicBezTo>
                  <a:pt x="1545182" y="244208"/>
                  <a:pt x="1424700" y="355013"/>
                  <a:pt x="1424700" y="516290"/>
                </a:cubicBezTo>
                <a:cubicBezTo>
                  <a:pt x="1424700" y="680025"/>
                  <a:pt x="1545182" y="789600"/>
                  <a:pt x="1683492" y="789600"/>
                </a:cubicBezTo>
                <a:cubicBezTo>
                  <a:pt x="1758491" y="789600"/>
                  <a:pt x="1819955" y="755129"/>
                  <a:pt x="1853148" y="706495"/>
                </a:cubicBezTo>
                <a:cubicBezTo>
                  <a:pt x="1853148" y="752053"/>
                  <a:pt x="1853148" y="752053"/>
                  <a:pt x="1853148" y="752053"/>
                </a:cubicBezTo>
                <a:cubicBezTo>
                  <a:pt x="1853148" y="764978"/>
                  <a:pt x="1865446" y="775437"/>
                  <a:pt x="1877735" y="775437"/>
                </a:cubicBezTo>
                <a:cubicBezTo>
                  <a:pt x="1941664" y="775437"/>
                  <a:pt x="1941664" y="775437"/>
                  <a:pt x="1941664" y="775437"/>
                </a:cubicBezTo>
                <a:cubicBezTo>
                  <a:pt x="1954572" y="775437"/>
                  <a:pt x="1965023" y="764978"/>
                  <a:pt x="1965023" y="752053"/>
                </a:cubicBezTo>
                <a:cubicBezTo>
                  <a:pt x="1965023" y="283613"/>
                  <a:pt x="1965023" y="283613"/>
                  <a:pt x="1965023" y="283613"/>
                </a:cubicBezTo>
                <a:cubicBezTo>
                  <a:pt x="1965023" y="269450"/>
                  <a:pt x="1954572" y="258982"/>
                  <a:pt x="1941664" y="258982"/>
                </a:cubicBezTo>
                <a:moveTo>
                  <a:pt x="1696399" y="686187"/>
                </a:moveTo>
                <a:cubicBezTo>
                  <a:pt x="1604199" y="686187"/>
                  <a:pt x="1538423" y="611083"/>
                  <a:pt x="1538423" y="517519"/>
                </a:cubicBezTo>
                <a:cubicBezTo>
                  <a:pt x="1538423" y="422726"/>
                  <a:pt x="1604199" y="349469"/>
                  <a:pt x="1696399" y="349469"/>
                </a:cubicBezTo>
                <a:cubicBezTo>
                  <a:pt x="1787990" y="349469"/>
                  <a:pt x="1854375" y="422726"/>
                  <a:pt x="1854375" y="517519"/>
                </a:cubicBezTo>
                <a:cubicBezTo>
                  <a:pt x="1854375" y="611083"/>
                  <a:pt x="1787990" y="686187"/>
                  <a:pt x="1696399" y="686187"/>
                </a:cubicBezTo>
                <a:moveTo>
                  <a:pt x="2697743" y="702190"/>
                </a:moveTo>
                <a:cubicBezTo>
                  <a:pt x="2711888" y="719430"/>
                  <a:pt x="2700209" y="732355"/>
                  <a:pt x="2692831" y="737889"/>
                </a:cubicBezTo>
                <a:cubicBezTo>
                  <a:pt x="2648568" y="771131"/>
                  <a:pt x="2590179" y="789600"/>
                  <a:pt x="2526859" y="789600"/>
                </a:cubicBezTo>
                <a:cubicBezTo>
                  <a:pt x="2367036" y="789600"/>
                  <a:pt x="2260701" y="672024"/>
                  <a:pt x="2260701" y="517519"/>
                </a:cubicBezTo>
                <a:cubicBezTo>
                  <a:pt x="2260701" y="362404"/>
                  <a:pt x="2367036" y="244208"/>
                  <a:pt x="2526859" y="244208"/>
                </a:cubicBezTo>
                <a:cubicBezTo>
                  <a:pt x="2590179" y="244208"/>
                  <a:pt x="2648568" y="262068"/>
                  <a:pt x="2692831" y="295301"/>
                </a:cubicBezTo>
                <a:cubicBezTo>
                  <a:pt x="2700209" y="300844"/>
                  <a:pt x="2710660" y="312541"/>
                  <a:pt x="2697743" y="331010"/>
                </a:cubicBezTo>
                <a:cubicBezTo>
                  <a:pt x="2667625" y="372863"/>
                  <a:pt x="2667625" y="372863"/>
                  <a:pt x="2667625" y="372863"/>
                </a:cubicBezTo>
                <a:cubicBezTo>
                  <a:pt x="2655946" y="389484"/>
                  <a:pt x="2641810" y="385178"/>
                  <a:pt x="2630130" y="377177"/>
                </a:cubicBezTo>
                <a:cubicBezTo>
                  <a:pt x="2602468" y="359937"/>
                  <a:pt x="2568657" y="346393"/>
                  <a:pt x="2530553" y="346393"/>
                </a:cubicBezTo>
                <a:cubicBezTo>
                  <a:pt x="2436496" y="346393"/>
                  <a:pt x="2374414" y="421497"/>
                  <a:pt x="2374414" y="517519"/>
                </a:cubicBezTo>
                <a:cubicBezTo>
                  <a:pt x="2374414" y="612931"/>
                  <a:pt x="2436496" y="687416"/>
                  <a:pt x="2530553" y="687416"/>
                </a:cubicBezTo>
                <a:cubicBezTo>
                  <a:pt x="2568657" y="687416"/>
                  <a:pt x="2600012" y="672024"/>
                  <a:pt x="2628284" y="656022"/>
                </a:cubicBezTo>
                <a:cubicBezTo>
                  <a:pt x="2639963" y="649869"/>
                  <a:pt x="2652871" y="644325"/>
                  <a:pt x="2665788" y="661565"/>
                </a:cubicBezTo>
                <a:lnTo>
                  <a:pt x="2697743" y="702190"/>
                </a:lnTo>
                <a:close/>
                <a:moveTo>
                  <a:pt x="2996495" y="244827"/>
                </a:moveTo>
                <a:cubicBezTo>
                  <a:pt x="2845886" y="244827"/>
                  <a:pt x="2726024" y="363633"/>
                  <a:pt x="2726024" y="517519"/>
                </a:cubicBezTo>
                <a:cubicBezTo>
                  <a:pt x="2726024" y="672024"/>
                  <a:pt x="2845886" y="789600"/>
                  <a:pt x="2996495" y="789600"/>
                </a:cubicBezTo>
                <a:cubicBezTo>
                  <a:pt x="3147094" y="789600"/>
                  <a:pt x="3267575" y="672024"/>
                  <a:pt x="3267575" y="517519"/>
                </a:cubicBezTo>
                <a:cubicBezTo>
                  <a:pt x="3267575" y="363633"/>
                  <a:pt x="3147094" y="244827"/>
                  <a:pt x="2996495" y="244827"/>
                </a:cubicBezTo>
                <a:moveTo>
                  <a:pt x="2996495" y="684949"/>
                </a:moveTo>
                <a:cubicBezTo>
                  <a:pt x="2904285" y="684949"/>
                  <a:pt x="2838519" y="611083"/>
                  <a:pt x="2838519" y="517519"/>
                </a:cubicBezTo>
                <a:cubicBezTo>
                  <a:pt x="2838519" y="422726"/>
                  <a:pt x="2904285" y="349469"/>
                  <a:pt x="2996495" y="349469"/>
                </a:cubicBezTo>
                <a:cubicBezTo>
                  <a:pt x="3089314" y="349469"/>
                  <a:pt x="3154471" y="422726"/>
                  <a:pt x="3154471" y="517519"/>
                </a:cubicBezTo>
                <a:cubicBezTo>
                  <a:pt x="3154471" y="611083"/>
                  <a:pt x="3089314" y="684949"/>
                  <a:pt x="2996495" y="684949"/>
                </a:cubicBezTo>
                <a:moveTo>
                  <a:pt x="2163569" y="13989"/>
                </a:moveTo>
                <a:cubicBezTo>
                  <a:pt x="2177715" y="13989"/>
                  <a:pt x="2187548" y="25686"/>
                  <a:pt x="2187548" y="38611"/>
                </a:cubicBezTo>
                <a:cubicBezTo>
                  <a:pt x="2187548" y="750815"/>
                  <a:pt x="2187548" y="750815"/>
                  <a:pt x="2187548" y="750815"/>
                </a:cubicBezTo>
                <a:cubicBezTo>
                  <a:pt x="2187548" y="763750"/>
                  <a:pt x="2177715" y="775437"/>
                  <a:pt x="2163569" y="775437"/>
                </a:cubicBezTo>
                <a:cubicBezTo>
                  <a:pt x="2100259" y="775437"/>
                  <a:pt x="2100259" y="775437"/>
                  <a:pt x="2100259" y="775437"/>
                </a:cubicBezTo>
                <a:cubicBezTo>
                  <a:pt x="2087351" y="775437"/>
                  <a:pt x="2075672" y="763750"/>
                  <a:pt x="2075672" y="750815"/>
                </a:cubicBezTo>
                <a:cubicBezTo>
                  <a:pt x="2075672" y="38611"/>
                  <a:pt x="2075672" y="38611"/>
                  <a:pt x="2075672" y="38611"/>
                </a:cubicBezTo>
                <a:cubicBezTo>
                  <a:pt x="2075672" y="25686"/>
                  <a:pt x="2087351" y="13989"/>
                  <a:pt x="2100259" y="13989"/>
                </a:cubicBezTo>
                <a:cubicBezTo>
                  <a:pt x="2163569" y="13989"/>
                  <a:pt x="2163569" y="13989"/>
                  <a:pt x="2163569" y="13989"/>
                </a:cubicBezTo>
              </a:path>
            </a:pathLst>
          </a:custGeom>
          <a:solidFill>
            <a:schemeClr val="tx1"/>
          </a:solidFill>
          <a:ln w="9507" cap="flat">
            <a:noFill/>
            <a:prstDash val="solid"/>
            <a:miter/>
          </a:ln>
        </p:spPr>
        <p:txBody>
          <a:bodyPr rtlCol="0" anchor="ctr"/>
          <a:lstStyle/>
          <a:p>
            <a:endParaRPr lang="en-US"/>
          </a:p>
        </p:txBody>
      </p:sp>
      <p:sp>
        <p:nvSpPr>
          <p:cNvPr id="4" name="Title 2">
            <a:extLst>
              <a:ext uri="{FF2B5EF4-FFF2-40B4-BE49-F238E27FC236}">
                <a16:creationId xmlns:a16="http://schemas.microsoft.com/office/drawing/2014/main" id="{AE26A26D-3BB6-3DA7-C72C-3F2C422C0EEE}"/>
              </a:ext>
            </a:extLst>
          </p:cNvPr>
          <p:cNvSpPr>
            <a:spLocks noGrp="1"/>
          </p:cNvSpPr>
          <p:nvPr>
            <p:ph type="title" hasCustomPrompt="1"/>
          </p:nvPr>
        </p:nvSpPr>
        <p:spPr bwMode="gray">
          <a:xfrm>
            <a:off x="515939" y="1628775"/>
            <a:ext cx="4787900" cy="2160588"/>
          </a:xfrm>
        </p:spPr>
        <p:txBody>
          <a:bodyPr wrap="square" anchor="b">
            <a:noAutofit/>
          </a:bodyPr>
          <a:lstStyle>
            <a:lvl1pPr marL="0" algn="l" defTabSz="914400" rtl="0" eaLnBrk="1" latinLnBrk="0" hangingPunct="1">
              <a:lnSpc>
                <a:spcPct val="80000"/>
              </a:lnSpc>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Presentation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title goes her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4 lines</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maximum</a:t>
            </a:r>
            <a:endParaRPr lang="en-US"/>
          </a:p>
        </p:txBody>
      </p:sp>
      <p:sp>
        <p:nvSpPr>
          <p:cNvPr id="5" name="Text Placeholder 22">
            <a:extLst>
              <a:ext uri="{FF2B5EF4-FFF2-40B4-BE49-F238E27FC236}">
                <a16:creationId xmlns:a16="http://schemas.microsoft.com/office/drawing/2014/main" id="{39A1C756-596E-F77D-84E5-F1DB03F7856F}"/>
              </a:ext>
            </a:extLst>
          </p:cNvPr>
          <p:cNvSpPr>
            <a:spLocks noGrp="1"/>
          </p:cNvSpPr>
          <p:nvPr>
            <p:ph type="body" sz="quarter" idx="13" hasCustomPrompt="1"/>
          </p:nvPr>
        </p:nvSpPr>
        <p:spPr>
          <a:xfrm>
            <a:off x="515938" y="4518160"/>
            <a:ext cx="4787899" cy="263149"/>
          </a:xfrm>
        </p:spPr>
        <p:txBody>
          <a:bodyPr wrap="square" anchor="t">
            <a:noAutofit/>
          </a:bodyPr>
          <a:lstStyle>
            <a:lvl1pPr marL="0" indent="0">
              <a:buNone/>
              <a:defRPr sz="1600" spc="0">
                <a:solidFill>
                  <a:schemeClr val="tx1"/>
                </a:solidFill>
              </a:defRPr>
            </a:lvl1pPr>
          </a:lstStyle>
          <a:p>
            <a:pPr lvl="0"/>
            <a:r>
              <a:rPr lang="en-US"/>
              <a:t>Speaker title, Employing entity</a:t>
            </a:r>
          </a:p>
        </p:txBody>
      </p:sp>
      <p:grpSp>
        <p:nvGrpSpPr>
          <p:cNvPr id="16" name="Group 15">
            <a:extLst>
              <a:ext uri="{FF2B5EF4-FFF2-40B4-BE49-F238E27FC236}">
                <a16:creationId xmlns:a16="http://schemas.microsoft.com/office/drawing/2014/main" id="{8E16927F-82CD-278F-FF9D-C6A28CC273C4}"/>
              </a:ext>
            </a:extLst>
          </p:cNvPr>
          <p:cNvGrpSpPr/>
          <p:nvPr userDrawn="1"/>
        </p:nvGrpSpPr>
        <p:grpSpPr>
          <a:xfrm>
            <a:off x="12290489" y="-1"/>
            <a:ext cx="2910882" cy="6858001"/>
            <a:chOff x="12290489" y="-1"/>
            <a:chExt cx="2910882" cy="6858001"/>
          </a:xfrm>
        </p:grpSpPr>
        <p:sp>
          <p:nvSpPr>
            <p:cNvPr id="8" name="Rectangle 7">
              <a:extLst>
                <a:ext uri="{FF2B5EF4-FFF2-40B4-BE49-F238E27FC236}">
                  <a16:creationId xmlns:a16="http://schemas.microsoft.com/office/drawing/2014/main" id="{7CF50A69-0086-3DFD-F8A1-D5E846AB33E5}"/>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grpSp>
          <p:nvGrpSpPr>
            <p:cNvPr id="15" name="Group 14">
              <a:extLst>
                <a:ext uri="{FF2B5EF4-FFF2-40B4-BE49-F238E27FC236}">
                  <a16:creationId xmlns:a16="http://schemas.microsoft.com/office/drawing/2014/main" id="{77113677-2D7C-DD8C-5EFC-327EE41809C0}"/>
                </a:ext>
              </a:extLst>
            </p:cNvPr>
            <p:cNvGrpSpPr/>
            <p:nvPr userDrawn="1"/>
          </p:nvGrpSpPr>
          <p:grpSpPr>
            <a:xfrm>
              <a:off x="12429548" y="173148"/>
              <a:ext cx="2771823" cy="5642861"/>
              <a:chOff x="12429548" y="173148"/>
              <a:chExt cx="2771823" cy="5642861"/>
            </a:xfrm>
          </p:grpSpPr>
          <p:grpSp>
            <p:nvGrpSpPr>
              <p:cNvPr id="7" name="Group 6">
                <a:extLst>
                  <a:ext uri="{FF2B5EF4-FFF2-40B4-BE49-F238E27FC236}">
                    <a16:creationId xmlns:a16="http://schemas.microsoft.com/office/drawing/2014/main" id="{159C415E-F380-7375-5AD3-2E9ACD4DF94C}"/>
                  </a:ext>
                </a:extLst>
              </p:cNvPr>
              <p:cNvGrpSpPr/>
              <p:nvPr userDrawn="1"/>
            </p:nvGrpSpPr>
            <p:grpSpPr>
              <a:xfrm>
                <a:off x="12449814" y="173148"/>
                <a:ext cx="2751557" cy="2005214"/>
                <a:chOff x="12449814" y="173148"/>
                <a:chExt cx="2751557" cy="2005214"/>
              </a:xfrm>
            </p:grpSpPr>
            <p:grpSp>
              <p:nvGrpSpPr>
                <p:cNvPr id="2" name="Group 1">
                  <a:extLst>
                    <a:ext uri="{FF2B5EF4-FFF2-40B4-BE49-F238E27FC236}">
                      <a16:creationId xmlns:a16="http://schemas.microsoft.com/office/drawing/2014/main" id="{5D4D145D-9446-D229-C022-A3ECE1F64AB9}"/>
                    </a:ext>
                  </a:extLst>
                </p:cNvPr>
                <p:cNvGrpSpPr/>
                <p:nvPr userDrawn="1"/>
              </p:nvGrpSpPr>
              <p:grpSpPr>
                <a:xfrm>
                  <a:off x="12449814" y="173148"/>
                  <a:ext cx="1534074" cy="249864"/>
                  <a:chOff x="12449814" y="173148"/>
                  <a:chExt cx="1534074" cy="249864"/>
                </a:xfrm>
              </p:grpSpPr>
              <p:sp>
                <p:nvSpPr>
                  <p:cNvPr id="9" name="TextBox 8">
                    <a:extLst>
                      <a:ext uri="{FF2B5EF4-FFF2-40B4-BE49-F238E27FC236}">
                        <a16:creationId xmlns:a16="http://schemas.microsoft.com/office/drawing/2014/main" id="{A3057112-442E-4CD7-B1AB-27BCA434F0CD}"/>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MAGE</a:t>
                    </a:r>
                  </a:p>
                </p:txBody>
              </p:sp>
              <p:cxnSp>
                <p:nvCxnSpPr>
                  <p:cNvPr id="10" name="Straight Connector 9">
                    <a:extLst>
                      <a:ext uri="{FF2B5EF4-FFF2-40B4-BE49-F238E27FC236}">
                        <a16:creationId xmlns:a16="http://schemas.microsoft.com/office/drawing/2014/main" id="{7E6860D8-A0E2-7509-3307-FE6ABC7193BB}"/>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8C0ED071-E3D5-D617-0311-6EA1B0C02087}"/>
                    </a:ext>
                  </a:extLst>
                </p:cNvPr>
                <p:cNvGrpSpPr/>
                <p:nvPr userDrawn="1"/>
              </p:nvGrpSpPr>
              <p:grpSpPr>
                <a:xfrm>
                  <a:off x="12449814" y="545515"/>
                  <a:ext cx="2751557" cy="1632847"/>
                  <a:chOff x="12449814" y="545515"/>
                  <a:chExt cx="2751557" cy="1632847"/>
                </a:xfrm>
              </p:grpSpPr>
              <p:sp>
                <p:nvSpPr>
                  <p:cNvPr id="11" name="TextBox 10">
                    <a:extLst>
                      <a:ext uri="{FF2B5EF4-FFF2-40B4-BE49-F238E27FC236}">
                        <a16:creationId xmlns:a16="http://schemas.microsoft.com/office/drawing/2014/main" id="{16DA6383-5AF6-171A-518D-549F73EC7D6A}"/>
                      </a:ext>
                    </a:extLst>
                  </p:cNvPr>
                  <p:cNvSpPr txBox="1"/>
                  <p:nvPr userDrawn="1"/>
                </p:nvSpPr>
                <p:spPr>
                  <a:xfrm>
                    <a:off x="12614407" y="1281322"/>
                    <a:ext cx="1828957" cy="89704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mage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The image placeholder is on the bottom. To change and existing image, select the overlay, right-click &gt; </a:t>
                    </a:r>
                    <a:r>
                      <a:rPr lang="en-US" sz="700" i="1">
                        <a:latin typeface="Aptos" panose="020B0004020202020204" pitchFamily="34" charset="0"/>
                        <a:cs typeface="Aparajita" panose="02020603050405020304" pitchFamily="18" charset="0"/>
                      </a:rPr>
                      <a:t>Send to Back…</a:t>
                    </a:r>
                    <a:r>
                      <a:rPr lang="en-US" sz="700">
                        <a:latin typeface="Aptos" panose="020B0004020202020204" pitchFamily="34" charset="0"/>
                        <a:cs typeface="Aparajita" panose="02020603050405020304" pitchFamily="18" charset="0"/>
                      </a:rPr>
                      <a:t> &gt; Send to Back. Next, use the tip below to change the image. Then, reset the slide or send the image to the back again.</a:t>
                    </a:r>
                    <a:endParaRPr lang="en-US" sz="1000">
                      <a:latin typeface="Aptos" panose="020B0004020202020204" pitchFamily="34" charset="0"/>
                      <a:cs typeface="Aparajita" panose="02020603050405020304" pitchFamily="18" charset="0"/>
                    </a:endParaRPr>
                  </a:p>
                </p:txBody>
              </p:sp>
              <p:sp>
                <p:nvSpPr>
                  <p:cNvPr id="12" name="TextBox 11">
                    <a:extLst>
                      <a:ext uri="{FF2B5EF4-FFF2-40B4-BE49-F238E27FC236}">
                        <a16:creationId xmlns:a16="http://schemas.microsoft.com/office/drawing/2014/main" id="{77A83939-F838-416B-1CFC-06BB970803B4}"/>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13" name="TextBox 12">
                    <a:extLst>
                      <a:ext uri="{FF2B5EF4-FFF2-40B4-BE49-F238E27FC236}">
                        <a16:creationId xmlns:a16="http://schemas.microsoft.com/office/drawing/2014/main" id="{2189B7A8-17CF-B28A-1454-915888893AB4}"/>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14" name="TextBox 13">
                    <a:extLst>
                      <a:ext uri="{FF2B5EF4-FFF2-40B4-BE49-F238E27FC236}">
                        <a16:creationId xmlns:a16="http://schemas.microsoft.com/office/drawing/2014/main" id="{973E0BBC-9695-998B-B368-22C8F079394D}"/>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mages from the </a:t>
                    </a:r>
                    <a:r>
                      <a:rPr lang="en-US">
                        <a:solidFill>
                          <a:schemeClr val="accent1"/>
                        </a:solidFill>
                        <a:latin typeface="Aptos" panose="020B0004020202020204" pitchFamily="34" charset="0"/>
                        <a:cs typeface="Aparajita" panose="02020603050405020304" pitchFamily="18" charset="0"/>
                      </a:rPr>
                      <a:t>Qualcomm Brand Portal</a:t>
                    </a:r>
                  </a:p>
                  <a:p>
                    <a:pPr lvl="0">
                      <a:spcBef>
                        <a:spcPts val="700"/>
                      </a:spcBef>
                    </a:pPr>
                    <a:r>
                      <a:rPr lang="en-US">
                        <a:latin typeface="Aptos" panose="020B0004020202020204" pitchFamily="34" charset="0"/>
                        <a:cs typeface="Aparajita" panose="02020603050405020304" pitchFamily="18" charset="0"/>
                      </a:rPr>
                      <a:t>Add the image to the placeholder.</a:t>
                    </a:r>
                  </a:p>
                </p:txBody>
              </p:sp>
            </p:grpSp>
          </p:grpSp>
          <p:grpSp>
            <p:nvGrpSpPr>
              <p:cNvPr id="17" name="Group 16">
                <a:extLst>
                  <a:ext uri="{FF2B5EF4-FFF2-40B4-BE49-F238E27FC236}">
                    <a16:creationId xmlns:a16="http://schemas.microsoft.com/office/drawing/2014/main" id="{9EAD45E2-1365-A92C-1F7B-8B35FD5E3817}"/>
                  </a:ext>
                </a:extLst>
              </p:cNvPr>
              <p:cNvGrpSpPr/>
              <p:nvPr userDrawn="1"/>
            </p:nvGrpSpPr>
            <p:grpSpPr>
              <a:xfrm>
                <a:off x="12429548" y="2309174"/>
                <a:ext cx="2735151" cy="1280928"/>
                <a:chOff x="9286315" y="6976989"/>
                <a:chExt cx="2735151" cy="1280928"/>
              </a:xfrm>
            </p:grpSpPr>
            <p:sp>
              <p:nvSpPr>
                <p:cNvPr id="29" name="Rectangle 28">
                  <a:extLst>
                    <a:ext uri="{FF2B5EF4-FFF2-40B4-BE49-F238E27FC236}">
                      <a16:creationId xmlns:a16="http://schemas.microsoft.com/office/drawing/2014/main" id="{2C75C5B4-54FD-CD9F-6004-24A5CF5AB881}"/>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30" name="TextBox 29">
                  <a:extLst>
                    <a:ext uri="{FF2B5EF4-FFF2-40B4-BE49-F238E27FC236}">
                      <a16:creationId xmlns:a16="http://schemas.microsoft.com/office/drawing/2014/main" id="{12AA6BDC-9581-2416-8FCF-B639C7874A6F}"/>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Images</a:t>
                  </a:r>
                </a:p>
              </p:txBody>
            </p:sp>
            <p:pic>
              <p:nvPicPr>
                <p:cNvPr id="31" name="Graphic 30">
                  <a:extLst>
                    <a:ext uri="{FF2B5EF4-FFF2-40B4-BE49-F238E27FC236}">
                      <a16:creationId xmlns:a16="http://schemas.microsoft.com/office/drawing/2014/main" id="{707DE680-B659-AA14-3DA6-FB810A7096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2" name="TextBox 31">
                  <a:extLst>
                    <a:ext uri="{FF2B5EF4-FFF2-40B4-BE49-F238E27FC236}">
                      <a16:creationId xmlns:a16="http://schemas.microsoft.com/office/drawing/2014/main" id="{4AA67D63-8AA8-4A9B-3D31-E4198794E6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33" name="Picture 32">
                  <a:extLst>
                    <a:ext uri="{FF2B5EF4-FFF2-40B4-BE49-F238E27FC236}">
                      <a16:creationId xmlns:a16="http://schemas.microsoft.com/office/drawing/2014/main" id="{A72EF414-721B-FBA5-FD95-E553CFAC16C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34" name="TextBox 33">
                  <a:extLst>
                    <a:ext uri="{FF2B5EF4-FFF2-40B4-BE49-F238E27FC236}">
                      <a16:creationId xmlns:a16="http://schemas.microsoft.com/office/drawing/2014/main" id="{02318D11-BFD1-1429-4B0B-F2CEE2CCA884}"/>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18" name="Group 17">
                <a:extLst>
                  <a:ext uri="{FF2B5EF4-FFF2-40B4-BE49-F238E27FC236}">
                    <a16:creationId xmlns:a16="http://schemas.microsoft.com/office/drawing/2014/main" id="{D7FF212E-AA60-50B3-8621-551BA74B31E3}"/>
                  </a:ext>
                </a:extLst>
              </p:cNvPr>
              <p:cNvGrpSpPr/>
              <p:nvPr userDrawn="1"/>
            </p:nvGrpSpPr>
            <p:grpSpPr>
              <a:xfrm>
                <a:off x="12429548" y="3615901"/>
                <a:ext cx="2735151" cy="2200108"/>
                <a:chOff x="9538241" y="5155416"/>
                <a:chExt cx="2735151" cy="2200108"/>
              </a:xfrm>
            </p:grpSpPr>
            <p:sp>
              <p:nvSpPr>
                <p:cNvPr id="19" name="Rectangle 18">
                  <a:extLst>
                    <a:ext uri="{FF2B5EF4-FFF2-40B4-BE49-F238E27FC236}">
                      <a16:creationId xmlns:a16="http://schemas.microsoft.com/office/drawing/2014/main" id="{F952CBEE-EDAC-0869-1112-AAD15E4B0E40}"/>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0" name="TextBox 19">
                  <a:extLst>
                    <a:ext uri="{FF2B5EF4-FFF2-40B4-BE49-F238E27FC236}">
                      <a16:creationId xmlns:a16="http://schemas.microsoft.com/office/drawing/2014/main" id="{AD940715-F001-536F-7A25-FA3F088FAB35}"/>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mages</a:t>
                  </a:r>
                </a:p>
              </p:txBody>
            </p:sp>
            <p:pic>
              <p:nvPicPr>
                <p:cNvPr id="22" name="Graphic 21">
                  <a:extLst>
                    <a:ext uri="{FF2B5EF4-FFF2-40B4-BE49-F238E27FC236}">
                      <a16:creationId xmlns:a16="http://schemas.microsoft.com/office/drawing/2014/main" id="{84D7E2A3-F06D-FD70-A217-487EF552C6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3" name="TextBox 22">
                  <a:extLst>
                    <a:ext uri="{FF2B5EF4-FFF2-40B4-BE49-F238E27FC236}">
                      <a16:creationId xmlns:a16="http://schemas.microsoft.com/office/drawing/2014/main" id="{61CCA6E5-0618-E143-3C2F-C4123C7F2481}"/>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mage and select “Change Picture”</a:t>
                  </a:r>
                </a:p>
              </p:txBody>
            </p:sp>
            <p:sp>
              <p:nvSpPr>
                <p:cNvPr id="24" name="TextBox 23">
                  <a:extLst>
                    <a:ext uri="{FF2B5EF4-FFF2-40B4-BE49-F238E27FC236}">
                      <a16:creationId xmlns:a16="http://schemas.microsoft.com/office/drawing/2014/main" id="{13381E4C-1F94-5284-9A2E-A7EE2720B039}"/>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5" name="TextBox 24">
                  <a:extLst>
                    <a:ext uri="{FF2B5EF4-FFF2-40B4-BE49-F238E27FC236}">
                      <a16:creationId xmlns:a16="http://schemas.microsoft.com/office/drawing/2014/main" id="{6AC5059D-A958-0D6E-F617-DA08E66FE158}"/>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26" name="TextBox 25">
                  <a:extLst>
                    <a:ext uri="{FF2B5EF4-FFF2-40B4-BE49-F238E27FC236}">
                      <a16:creationId xmlns:a16="http://schemas.microsoft.com/office/drawing/2014/main" id="{2AA3306C-FE79-59C9-5DCC-63D2DF20636C}"/>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mage as normal.</a:t>
                  </a:r>
                </a:p>
              </p:txBody>
            </p:sp>
            <p:cxnSp>
              <p:nvCxnSpPr>
                <p:cNvPr id="27" name="Straight Connector 26">
                  <a:extLst>
                    <a:ext uri="{FF2B5EF4-FFF2-40B4-BE49-F238E27FC236}">
                      <a16:creationId xmlns:a16="http://schemas.microsoft.com/office/drawing/2014/main" id="{286AAF4E-AA4F-9737-1BC4-4B8A70508177}"/>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B2F455C-F85E-6BE9-B90C-47F429186A08}"/>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grpSp>
      <p:sp>
        <p:nvSpPr>
          <p:cNvPr id="36" name="Text Placeholder 22">
            <a:extLst>
              <a:ext uri="{FF2B5EF4-FFF2-40B4-BE49-F238E27FC236}">
                <a16:creationId xmlns:a16="http://schemas.microsoft.com/office/drawing/2014/main" id="{9AA5EA8C-68B4-06D3-5949-DB4A6B5DE9DE}"/>
              </a:ext>
            </a:extLst>
          </p:cNvPr>
          <p:cNvSpPr>
            <a:spLocks noGrp="1"/>
          </p:cNvSpPr>
          <p:nvPr>
            <p:ph type="body" sz="quarter" idx="15" hasCustomPrompt="1"/>
          </p:nvPr>
        </p:nvSpPr>
        <p:spPr>
          <a:xfrm>
            <a:off x="515939" y="5886850"/>
            <a:ext cx="4787899"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
        <p:nvSpPr>
          <p:cNvPr id="37" name="Text Placeholder 7">
            <a:extLst>
              <a:ext uri="{FF2B5EF4-FFF2-40B4-BE49-F238E27FC236}">
                <a16:creationId xmlns:a16="http://schemas.microsoft.com/office/drawing/2014/main" id="{8D83F911-9A89-2C00-EB5B-2C510B40C22F}"/>
              </a:ext>
            </a:extLst>
          </p:cNvPr>
          <p:cNvSpPr>
            <a:spLocks noGrp="1"/>
          </p:cNvSpPr>
          <p:nvPr>
            <p:ph type="body" sz="quarter" idx="10" hasCustomPrompt="1"/>
          </p:nvPr>
        </p:nvSpPr>
        <p:spPr bwMode="gray">
          <a:xfrm>
            <a:off x="515937" y="4041775"/>
            <a:ext cx="4787901" cy="450485"/>
          </a:xfrm>
          <a:prstGeom prst="rect">
            <a:avLst/>
          </a:prstGeom>
        </p:spPr>
        <p:txBody>
          <a:bodyPr>
            <a:noAutofit/>
          </a:bodyPr>
          <a:lstStyle>
            <a:lvl1pPr marL="0" indent="0" algn="l" defTabSz="914400" rtl="0" eaLnBrk="1" latinLnBrk="0" hangingPunct="1">
              <a:lnSpc>
                <a:spcPct val="96000"/>
              </a:lnSpc>
              <a:spcBef>
                <a:spcPts val="0"/>
              </a:spcBef>
              <a:spcAft>
                <a:spcPts val="600"/>
              </a:spcAft>
              <a:buFont typeface="Microsoft Sans Serif" panose="020B0604020202020204" pitchFamily="34" charset="0"/>
              <a:buChar char="​"/>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p:txBody>
      </p:sp>
      <p:sp>
        <p:nvSpPr>
          <p:cNvPr id="42" name="Text Placeholder 41">
            <a:extLst>
              <a:ext uri="{FF2B5EF4-FFF2-40B4-BE49-F238E27FC236}">
                <a16:creationId xmlns:a16="http://schemas.microsoft.com/office/drawing/2014/main" id="{29FE9151-3621-EA29-D8EC-2BCB091B1B92}"/>
              </a:ext>
            </a:extLst>
          </p:cNvPr>
          <p:cNvSpPr>
            <a:spLocks noGrp="1"/>
          </p:cNvSpPr>
          <p:nvPr>
            <p:ph type="body" sz="quarter" idx="17" hasCustomPrompt="1"/>
          </p:nvPr>
        </p:nvSpPr>
        <p:spPr>
          <a:xfrm>
            <a:off x="515938" y="6396526"/>
            <a:ext cx="11160125" cy="116955"/>
          </a:xfrm>
        </p:spPr>
        <p:txBody>
          <a:bodyPr>
            <a:spAutoFit/>
          </a:bodyPr>
          <a:lstStyle>
            <a:lvl1pPr marL="0" indent="0">
              <a:buNone/>
              <a:defRPr sz="800">
                <a:solidFill>
                  <a:schemeClr val="accent6">
                    <a:lumMod val="90000"/>
                  </a:schemeClr>
                </a:solidFill>
              </a:defRPr>
            </a:lvl1pPr>
          </a:lstStyle>
          <a:p>
            <a:pPr lvl="0" algn="l"/>
            <a:r>
              <a:rPr lang="en-US">
                <a:solidFill>
                  <a:schemeClr val="accent6">
                    <a:lumMod val="90000"/>
                  </a:schemeClr>
                </a:solidFill>
              </a:rPr>
              <a:t>Confidential – Qualcomm Technologies, Inc. and/or its affiliated companies – May Contain Trade Secrets</a:t>
            </a:r>
          </a:p>
        </p:txBody>
      </p:sp>
      <p:sp>
        <p:nvSpPr>
          <p:cNvPr id="43" name="Text Placeholder 41">
            <a:extLst>
              <a:ext uri="{FF2B5EF4-FFF2-40B4-BE49-F238E27FC236}">
                <a16:creationId xmlns:a16="http://schemas.microsoft.com/office/drawing/2014/main" id="{CEC40FEA-4875-3D17-B0B1-ED7156EBAB17}"/>
              </a:ext>
            </a:extLst>
          </p:cNvPr>
          <p:cNvSpPr>
            <a:spLocks noGrp="1"/>
          </p:cNvSpPr>
          <p:nvPr>
            <p:ph type="body" sz="quarter" idx="18" hasCustomPrompt="1"/>
          </p:nvPr>
        </p:nvSpPr>
        <p:spPr>
          <a:xfrm>
            <a:off x="515938" y="6209389"/>
            <a:ext cx="11160125" cy="116955"/>
          </a:xfrm>
        </p:spPr>
        <p:txBody>
          <a:bodyPr>
            <a:spAutoFit/>
          </a:bodyPr>
          <a:lstStyle>
            <a:lvl1pPr marL="0" indent="0">
              <a:buNone/>
              <a:defRPr sz="800">
                <a:solidFill>
                  <a:schemeClr val="accent6">
                    <a:lumMod val="90000"/>
                  </a:schemeClr>
                </a:solidFill>
              </a:defRPr>
            </a:lvl1pPr>
          </a:lstStyle>
          <a:p>
            <a:pPr lvl="0" algn="l"/>
            <a:r>
              <a:rPr lang="en-US">
                <a:solidFill>
                  <a:schemeClr val="accent6">
                    <a:lumMod val="90000"/>
                  </a:schemeClr>
                </a:solidFill>
              </a:rPr>
              <a:t>Footer</a:t>
            </a:r>
          </a:p>
        </p:txBody>
      </p:sp>
    </p:spTree>
    <p:extLst>
      <p:ext uri="{BB962C8B-B14F-4D97-AF65-F5344CB8AC3E}">
        <p14:creationId xmlns:p14="http://schemas.microsoft.com/office/powerpoint/2010/main" val="276682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523">
          <p15:clr>
            <a:srgbClr val="FBAE40"/>
          </p15:clr>
        </p15:guide>
        <p15:guide id="4" orient="horz" pos="2387">
          <p15:clr>
            <a:srgbClr val="FBAE40"/>
          </p15:clr>
        </p15:guide>
        <p15:guide id="5" orient="horz" pos="3022">
          <p15:clr>
            <a:srgbClr val="FBAE40"/>
          </p15:clr>
        </p15:guide>
        <p15:guide id="6" pos="334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370133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showMasterSp="0" preserve="1" userDrawn="1">
  <p:cSld name="Title+Photo_Dark Blue">
    <p:bg>
      <p:bgPr>
        <a:solidFill>
          <a:schemeClr val="accent2"/>
        </a:solidFill>
        <a:effectLst/>
      </p:bgPr>
    </p:bg>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7E7F3CFB-9BFC-B97E-E28E-E1CC3CEB589E}"/>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 name="Title 2">
            <a:extLst>
              <a:ext uri="{FF2B5EF4-FFF2-40B4-BE49-F238E27FC236}">
                <a16:creationId xmlns:a16="http://schemas.microsoft.com/office/drawing/2014/main" id="{89B859C2-4BEA-9848-AC63-40AF86018B01}"/>
              </a:ext>
            </a:extLst>
          </p:cNvPr>
          <p:cNvSpPr>
            <a:spLocks noGrp="1"/>
          </p:cNvSpPr>
          <p:nvPr>
            <p:ph type="title" hasCustomPrompt="1"/>
          </p:nvPr>
        </p:nvSpPr>
        <p:spPr bwMode="gray">
          <a:xfrm>
            <a:off x="515939" y="1628775"/>
            <a:ext cx="4787900" cy="2160588"/>
          </a:xfrm>
        </p:spPr>
        <p:txBody>
          <a:bodyPr wrap="square"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Presentation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title goes her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4 lines</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maximum</a:t>
            </a:r>
            <a:endParaRPr lang="en-US"/>
          </a:p>
        </p:txBody>
      </p:sp>
      <p:sp>
        <p:nvSpPr>
          <p:cNvPr id="6" name="Picture Placeholder 5">
            <a:extLst>
              <a:ext uri="{FF2B5EF4-FFF2-40B4-BE49-F238E27FC236}">
                <a16:creationId xmlns:a16="http://schemas.microsoft.com/office/drawing/2014/main" id="{A653871A-ABE6-AE14-4749-BCCA9C632B11}"/>
              </a:ext>
            </a:extLst>
          </p:cNvPr>
          <p:cNvSpPr>
            <a:spLocks noGrp="1" noChangeAspect="1"/>
          </p:cNvSpPr>
          <p:nvPr>
            <p:ph type="pic" sz="quarter" idx="12" hasCustomPrompt="1"/>
          </p:nvPr>
        </p:nvSpPr>
        <p:spPr>
          <a:xfrm>
            <a:off x="6448428" y="0"/>
            <a:ext cx="5743572" cy="6858000"/>
          </a:xfrm>
          <a:custGeom>
            <a:avLst/>
            <a:gdLst>
              <a:gd name="connsiteX0" fmla="*/ 1678722 w 5743572"/>
              <a:gd name="connsiteY0" fmla="*/ 0 h 6858000"/>
              <a:gd name="connsiteX1" fmla="*/ 5743572 w 5743572"/>
              <a:gd name="connsiteY1" fmla="*/ 0 h 6858000"/>
              <a:gd name="connsiteX2" fmla="*/ 5743572 w 5743572"/>
              <a:gd name="connsiteY2" fmla="*/ 6858000 h 6858000"/>
              <a:gd name="connsiteX3" fmla="*/ 1672152 w 5743572"/>
              <a:gd name="connsiteY3" fmla="*/ 6858000 h 6858000"/>
              <a:gd name="connsiteX4" fmla="*/ 1582239 w 5743572"/>
              <a:gd name="connsiteY4" fmla="*/ 6787328 h 6858000"/>
              <a:gd name="connsiteX5" fmla="*/ 0 w 5743572"/>
              <a:gd name="connsiteY5" fmla="*/ 3431582 h 6858000"/>
              <a:gd name="connsiteX6" fmla="*/ 1582239 w 5743572"/>
              <a:gd name="connsiteY6" fmla="*/ 758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3572" h="6858000">
                <a:moveTo>
                  <a:pt x="1678722" y="0"/>
                </a:moveTo>
                <a:lnTo>
                  <a:pt x="5743572" y="0"/>
                </a:lnTo>
                <a:lnTo>
                  <a:pt x="5743572" y="6858000"/>
                </a:lnTo>
                <a:lnTo>
                  <a:pt x="1672152" y="6858000"/>
                </a:lnTo>
                <a:lnTo>
                  <a:pt x="1582239" y="6787328"/>
                </a:lnTo>
                <a:cubicBezTo>
                  <a:pt x="615926" y="5989694"/>
                  <a:pt x="0" y="4782581"/>
                  <a:pt x="0" y="3431582"/>
                </a:cubicBezTo>
                <a:cubicBezTo>
                  <a:pt x="0" y="2080583"/>
                  <a:pt x="615926" y="873471"/>
                  <a:pt x="1582239" y="75837"/>
                </a:cubicBezTo>
                <a:close/>
              </a:path>
            </a:pathLst>
          </a:custGeom>
          <a:noFill/>
        </p:spPr>
        <p:txBody>
          <a:bodyPr wrap="square" lIns="360000" rIns="0" bIns="1440000" anchor="ctr">
            <a:no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2800" kern="1200" baseline="0" dirty="0">
                <a:solidFill>
                  <a:schemeClr val="tx2"/>
                </a:solidFill>
                <a:latin typeface="+mj-lt"/>
                <a:ea typeface="+mn-ea"/>
                <a:cs typeface="+mn-cs"/>
              </a:defRPr>
            </a:lvl1pPr>
          </a:lstStyle>
          <a:p>
            <a:r>
              <a:rPr lang="en-US"/>
              <a:t>Click the icon to insert photo</a:t>
            </a:r>
          </a:p>
        </p:txBody>
      </p:sp>
      <p:grpSp>
        <p:nvGrpSpPr>
          <p:cNvPr id="69" name="Group 68">
            <a:extLst>
              <a:ext uri="{FF2B5EF4-FFF2-40B4-BE49-F238E27FC236}">
                <a16:creationId xmlns:a16="http://schemas.microsoft.com/office/drawing/2014/main" id="{D01F1EB7-3875-6F2E-6810-8D4458FCF0B0}"/>
              </a:ext>
            </a:extLst>
          </p:cNvPr>
          <p:cNvGrpSpPr/>
          <p:nvPr userDrawn="1"/>
        </p:nvGrpSpPr>
        <p:grpSpPr>
          <a:xfrm>
            <a:off x="12290489" y="-1"/>
            <a:ext cx="2910882" cy="6858001"/>
            <a:chOff x="12290489" y="-1"/>
            <a:chExt cx="2910882" cy="6858001"/>
          </a:xfrm>
        </p:grpSpPr>
        <p:sp>
          <p:nvSpPr>
            <p:cNvPr id="70" name="Rectangle 69">
              <a:extLst>
                <a:ext uri="{FF2B5EF4-FFF2-40B4-BE49-F238E27FC236}">
                  <a16:creationId xmlns:a16="http://schemas.microsoft.com/office/drawing/2014/main" id="{910B572A-6F6C-AE6E-92A2-01DEA3B384B1}"/>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71" name="TextBox 70">
              <a:extLst>
                <a:ext uri="{FF2B5EF4-FFF2-40B4-BE49-F238E27FC236}">
                  <a16:creationId xmlns:a16="http://schemas.microsoft.com/office/drawing/2014/main" id="{2721C162-E5A5-870C-BEF7-D2E5976CCF2B}"/>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MAGE</a:t>
              </a:r>
            </a:p>
          </p:txBody>
        </p:sp>
        <p:cxnSp>
          <p:nvCxnSpPr>
            <p:cNvPr id="72" name="Straight Connector 71">
              <a:extLst>
                <a:ext uri="{FF2B5EF4-FFF2-40B4-BE49-F238E27FC236}">
                  <a16:creationId xmlns:a16="http://schemas.microsoft.com/office/drawing/2014/main" id="{77C2ED05-B79A-2483-18C7-4D808AC45261}"/>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223D940-A19F-7D58-BE9D-084303740E00}"/>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mage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74" name="TextBox 73">
              <a:extLst>
                <a:ext uri="{FF2B5EF4-FFF2-40B4-BE49-F238E27FC236}">
                  <a16:creationId xmlns:a16="http://schemas.microsoft.com/office/drawing/2014/main" id="{5A536D75-7601-C857-68EF-8862CC5D10FD}"/>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75" name="TextBox 74">
              <a:extLst>
                <a:ext uri="{FF2B5EF4-FFF2-40B4-BE49-F238E27FC236}">
                  <a16:creationId xmlns:a16="http://schemas.microsoft.com/office/drawing/2014/main" id="{82597C60-F330-194D-A5B5-F6F78B4B6FA1}"/>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76" name="TextBox 75">
              <a:extLst>
                <a:ext uri="{FF2B5EF4-FFF2-40B4-BE49-F238E27FC236}">
                  <a16:creationId xmlns:a16="http://schemas.microsoft.com/office/drawing/2014/main" id="{89CCF034-C9C9-597E-046F-ED3CBC6E3DDF}"/>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mages from the </a:t>
              </a:r>
              <a:r>
                <a:rPr lang="en-US">
                  <a:solidFill>
                    <a:schemeClr val="accent1"/>
                  </a:solidFill>
                  <a:latin typeface="Aptos" panose="020B0004020202020204" pitchFamily="34" charset="0"/>
                  <a:cs typeface="Aparajita" panose="02020603050405020304" pitchFamily="18" charset="0"/>
                </a:rPr>
                <a:t>Qualcomm Brand Portal</a:t>
              </a:r>
            </a:p>
            <a:p>
              <a:pPr lvl="0">
                <a:spcBef>
                  <a:spcPts val="700"/>
                </a:spcBef>
              </a:pPr>
              <a:r>
                <a:rPr lang="en-US">
                  <a:latin typeface="Aptos" panose="020B0004020202020204" pitchFamily="34" charset="0"/>
                  <a:cs typeface="Aparajita" panose="02020603050405020304" pitchFamily="18" charset="0"/>
                </a:rPr>
                <a:t>Add the image to the placeholder.</a:t>
              </a:r>
            </a:p>
          </p:txBody>
        </p:sp>
        <p:sp>
          <p:nvSpPr>
            <p:cNvPr id="77" name="TextBox 76">
              <a:extLst>
                <a:ext uri="{FF2B5EF4-FFF2-40B4-BE49-F238E27FC236}">
                  <a16:creationId xmlns:a16="http://schemas.microsoft.com/office/drawing/2014/main" id="{EEADB430-BFDD-4691-9AE8-139AC2026205}"/>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mage placeholder.</a:t>
              </a:r>
            </a:p>
            <a:p>
              <a:pPr lvl="1">
                <a:buNone/>
              </a:pPr>
              <a:r>
                <a:rPr lang="en-US" sz="1050">
                  <a:latin typeface="Aptos" panose="020B0004020202020204" pitchFamily="34" charset="0"/>
                  <a:cs typeface="Aparajita" panose="02020603050405020304" pitchFamily="18" charset="0"/>
                </a:rPr>
                <a:t>Right-click or use keyboard shortcuts to paste the image.</a:t>
              </a:r>
            </a:p>
          </p:txBody>
        </p:sp>
        <p:sp>
          <p:nvSpPr>
            <p:cNvPr id="78" name="TextBox 77">
              <a:extLst>
                <a:ext uri="{FF2B5EF4-FFF2-40B4-BE49-F238E27FC236}">
                  <a16:creationId xmlns:a16="http://schemas.microsoft.com/office/drawing/2014/main" id="{898460C8-78EA-91E4-834D-F15A8E2FD6C7}"/>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mage.</a:t>
              </a:r>
            </a:p>
          </p:txBody>
        </p:sp>
        <p:grpSp>
          <p:nvGrpSpPr>
            <p:cNvPr id="79" name="Group 78">
              <a:extLst>
                <a:ext uri="{FF2B5EF4-FFF2-40B4-BE49-F238E27FC236}">
                  <a16:creationId xmlns:a16="http://schemas.microsoft.com/office/drawing/2014/main" id="{0B0828C1-C99F-F3B8-00AD-2B9E20E5ECAB}"/>
                </a:ext>
              </a:extLst>
            </p:cNvPr>
            <p:cNvGrpSpPr/>
            <p:nvPr userDrawn="1"/>
          </p:nvGrpSpPr>
          <p:grpSpPr>
            <a:xfrm>
              <a:off x="12429548" y="3236396"/>
              <a:ext cx="2735151" cy="1280928"/>
              <a:chOff x="9286315" y="6976989"/>
              <a:chExt cx="2735151" cy="1280928"/>
            </a:xfrm>
          </p:grpSpPr>
          <p:sp>
            <p:nvSpPr>
              <p:cNvPr id="90" name="Rectangle 89">
                <a:extLst>
                  <a:ext uri="{FF2B5EF4-FFF2-40B4-BE49-F238E27FC236}">
                    <a16:creationId xmlns:a16="http://schemas.microsoft.com/office/drawing/2014/main" id="{BCA9A0D3-18C9-EB84-F3B0-D4932A927440}"/>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91" name="TextBox 90">
                <a:extLst>
                  <a:ext uri="{FF2B5EF4-FFF2-40B4-BE49-F238E27FC236}">
                    <a16:creationId xmlns:a16="http://schemas.microsoft.com/office/drawing/2014/main" id="{A63B7FDA-EDC1-2420-ECDD-ADF1CFFC431D}"/>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Images</a:t>
                </a:r>
              </a:p>
            </p:txBody>
          </p:sp>
          <p:pic>
            <p:nvPicPr>
              <p:cNvPr id="92" name="Graphic 91">
                <a:extLst>
                  <a:ext uri="{FF2B5EF4-FFF2-40B4-BE49-F238E27FC236}">
                    <a16:creationId xmlns:a16="http://schemas.microsoft.com/office/drawing/2014/main" id="{FE7532BB-EDFB-CC6D-0216-A249193538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93" name="TextBox 92">
                <a:extLst>
                  <a:ext uri="{FF2B5EF4-FFF2-40B4-BE49-F238E27FC236}">
                    <a16:creationId xmlns:a16="http://schemas.microsoft.com/office/drawing/2014/main" id="{BF07FF1C-692A-1113-3BA8-468E6AC5B66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94" name="Picture 93">
                <a:extLst>
                  <a:ext uri="{FF2B5EF4-FFF2-40B4-BE49-F238E27FC236}">
                    <a16:creationId xmlns:a16="http://schemas.microsoft.com/office/drawing/2014/main" id="{916609B1-3E3C-9817-C94D-240B7C8E1648}"/>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95" name="TextBox 94">
                <a:extLst>
                  <a:ext uri="{FF2B5EF4-FFF2-40B4-BE49-F238E27FC236}">
                    <a16:creationId xmlns:a16="http://schemas.microsoft.com/office/drawing/2014/main" id="{DF229F99-26B7-F915-0AD2-D7E144ACEFE6}"/>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80" name="Group 79">
              <a:extLst>
                <a:ext uri="{FF2B5EF4-FFF2-40B4-BE49-F238E27FC236}">
                  <a16:creationId xmlns:a16="http://schemas.microsoft.com/office/drawing/2014/main" id="{202797B2-52D9-3B3F-B1DF-CAC764192258}"/>
                </a:ext>
              </a:extLst>
            </p:cNvPr>
            <p:cNvGrpSpPr/>
            <p:nvPr userDrawn="1"/>
          </p:nvGrpSpPr>
          <p:grpSpPr>
            <a:xfrm>
              <a:off x="12429548" y="4543123"/>
              <a:ext cx="2735151" cy="2200108"/>
              <a:chOff x="9538241" y="5155416"/>
              <a:chExt cx="2735151" cy="2200108"/>
            </a:xfrm>
          </p:grpSpPr>
          <p:sp>
            <p:nvSpPr>
              <p:cNvPr id="81" name="Rectangle 80">
                <a:extLst>
                  <a:ext uri="{FF2B5EF4-FFF2-40B4-BE49-F238E27FC236}">
                    <a16:creationId xmlns:a16="http://schemas.microsoft.com/office/drawing/2014/main" id="{0E0036C0-7960-CA85-022B-1746BF93DB5E}"/>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82" name="TextBox 81">
                <a:extLst>
                  <a:ext uri="{FF2B5EF4-FFF2-40B4-BE49-F238E27FC236}">
                    <a16:creationId xmlns:a16="http://schemas.microsoft.com/office/drawing/2014/main" id="{9AD4720B-5134-EBDB-479F-4AEFD7808B7C}"/>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mages</a:t>
                </a:r>
              </a:p>
            </p:txBody>
          </p:sp>
          <p:pic>
            <p:nvPicPr>
              <p:cNvPr id="83" name="Graphic 82">
                <a:extLst>
                  <a:ext uri="{FF2B5EF4-FFF2-40B4-BE49-F238E27FC236}">
                    <a16:creationId xmlns:a16="http://schemas.microsoft.com/office/drawing/2014/main" id="{723941AD-9419-FC12-D18A-F0C2092116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84" name="TextBox 83">
                <a:extLst>
                  <a:ext uri="{FF2B5EF4-FFF2-40B4-BE49-F238E27FC236}">
                    <a16:creationId xmlns:a16="http://schemas.microsoft.com/office/drawing/2014/main" id="{2AFC8782-1651-9B42-E469-1DB05A7BCB5E}"/>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mage and select “Change Picture”</a:t>
                </a:r>
              </a:p>
            </p:txBody>
          </p:sp>
          <p:sp>
            <p:nvSpPr>
              <p:cNvPr id="85" name="TextBox 84">
                <a:extLst>
                  <a:ext uri="{FF2B5EF4-FFF2-40B4-BE49-F238E27FC236}">
                    <a16:creationId xmlns:a16="http://schemas.microsoft.com/office/drawing/2014/main" id="{213BFA95-8984-E338-F0AF-77F8051174B7}"/>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86" name="TextBox 85">
                <a:extLst>
                  <a:ext uri="{FF2B5EF4-FFF2-40B4-BE49-F238E27FC236}">
                    <a16:creationId xmlns:a16="http://schemas.microsoft.com/office/drawing/2014/main" id="{DD27BFE6-06FF-B3CE-A08D-6B5E84B42A9F}"/>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87" name="TextBox 86">
                <a:extLst>
                  <a:ext uri="{FF2B5EF4-FFF2-40B4-BE49-F238E27FC236}">
                    <a16:creationId xmlns:a16="http://schemas.microsoft.com/office/drawing/2014/main" id="{988BAC7E-BD8C-BBD4-F01A-A5234672389F}"/>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mage as normal.</a:t>
                </a:r>
              </a:p>
            </p:txBody>
          </p:sp>
          <p:cxnSp>
            <p:nvCxnSpPr>
              <p:cNvPr id="88" name="Straight Connector 87">
                <a:extLst>
                  <a:ext uri="{FF2B5EF4-FFF2-40B4-BE49-F238E27FC236}">
                    <a16:creationId xmlns:a16="http://schemas.microsoft.com/office/drawing/2014/main" id="{521707E9-6017-D9DD-6258-9D1046541ED0}"/>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023955C5-7F4D-E0E5-945F-A25AC673C5AA}"/>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7" name="Text Placeholder 22">
            <a:extLst>
              <a:ext uri="{FF2B5EF4-FFF2-40B4-BE49-F238E27FC236}">
                <a16:creationId xmlns:a16="http://schemas.microsoft.com/office/drawing/2014/main" id="{B5DE35B9-A6C1-F642-76AA-57E9301FEDD8}"/>
              </a:ext>
            </a:extLst>
          </p:cNvPr>
          <p:cNvSpPr>
            <a:spLocks noGrp="1"/>
          </p:cNvSpPr>
          <p:nvPr>
            <p:ph type="body" sz="quarter" idx="13" hasCustomPrompt="1"/>
          </p:nvPr>
        </p:nvSpPr>
        <p:spPr>
          <a:xfrm>
            <a:off x="515939" y="4539039"/>
            <a:ext cx="4786822" cy="263149"/>
          </a:xfrm>
        </p:spPr>
        <p:txBody>
          <a:bodyPr wrap="square" anchor="t">
            <a:noAutofit/>
          </a:bodyPr>
          <a:lstStyle>
            <a:lvl1pPr marL="0" indent="0">
              <a:buNone/>
              <a:defRPr sz="1800" spc="0">
                <a:solidFill>
                  <a:schemeClr val="tx1"/>
                </a:solidFill>
              </a:defRPr>
            </a:lvl1pPr>
          </a:lstStyle>
          <a:p>
            <a:pPr lvl="0"/>
            <a:r>
              <a:rPr lang="en-US"/>
              <a:t>Speaker title, Employing entity</a:t>
            </a:r>
          </a:p>
          <a:p>
            <a:pPr lvl="0"/>
            <a:endParaRPr lang="en-US"/>
          </a:p>
        </p:txBody>
      </p:sp>
      <p:sp>
        <p:nvSpPr>
          <p:cNvPr id="9" name="Text Placeholder 7">
            <a:extLst>
              <a:ext uri="{FF2B5EF4-FFF2-40B4-BE49-F238E27FC236}">
                <a16:creationId xmlns:a16="http://schemas.microsoft.com/office/drawing/2014/main" id="{56D0D8D4-9FF5-368F-7FF8-03A41AC95FFB}"/>
              </a:ext>
            </a:extLst>
          </p:cNvPr>
          <p:cNvSpPr>
            <a:spLocks noGrp="1"/>
          </p:cNvSpPr>
          <p:nvPr>
            <p:ph type="body" sz="quarter" idx="10" hasCustomPrompt="1"/>
          </p:nvPr>
        </p:nvSpPr>
        <p:spPr bwMode="gray">
          <a:xfrm>
            <a:off x="515937" y="4080516"/>
            <a:ext cx="4787901" cy="450485"/>
          </a:xfrm>
          <a:prstGeom prst="rect">
            <a:avLst/>
          </a:prstGeom>
        </p:spPr>
        <p:txBody>
          <a:bodyPr>
            <a:noAutofit/>
          </a:bodyPr>
          <a:lstStyle>
            <a:lvl1pPr marL="0" indent="0" algn="l" defTabSz="914400" rtl="0" eaLnBrk="1" latinLnBrk="0" hangingPunct="1">
              <a:lnSpc>
                <a:spcPct val="96000"/>
              </a:lnSpc>
              <a:spcBef>
                <a:spcPts val="0"/>
              </a:spcBef>
              <a:spcAft>
                <a:spcPts val="600"/>
              </a:spcAft>
              <a:buFont typeface="Microsoft Sans Serif" panose="020B0604020202020204" pitchFamily="34" charset="0"/>
              <a:buChar char="​"/>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p:txBody>
      </p:sp>
      <p:sp>
        <p:nvSpPr>
          <p:cNvPr id="11" name="TextBox 10">
            <a:extLst>
              <a:ext uri="{FF2B5EF4-FFF2-40B4-BE49-F238E27FC236}">
                <a16:creationId xmlns:a16="http://schemas.microsoft.com/office/drawing/2014/main" id="{F6AD5693-C1C6-9DF3-0CF6-15688C300F5B}"/>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a:solidFill>
                  <a:schemeClr val="accent6">
                    <a:lumMod val="9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a:solidFill>
                <a:schemeClr val="accent6">
                  <a:lumMod val="90000"/>
                </a:schemeClr>
              </a:solidFill>
              <a:latin typeface="+mn-lt"/>
              <a:ea typeface="+mn-ea"/>
              <a:cs typeface="+mn-cs"/>
            </a:endParaRPr>
          </a:p>
        </p:txBody>
      </p:sp>
      <p:sp>
        <p:nvSpPr>
          <p:cNvPr id="12" name="Text Placeholder 22">
            <a:extLst>
              <a:ext uri="{FF2B5EF4-FFF2-40B4-BE49-F238E27FC236}">
                <a16:creationId xmlns:a16="http://schemas.microsoft.com/office/drawing/2014/main" id="{169A3A7F-36DB-2DDF-329F-F8A56895062D}"/>
              </a:ext>
            </a:extLst>
          </p:cNvPr>
          <p:cNvSpPr>
            <a:spLocks noGrp="1"/>
          </p:cNvSpPr>
          <p:nvPr>
            <p:ph type="body" sz="quarter" idx="14" hasCustomPrompt="1"/>
          </p:nvPr>
        </p:nvSpPr>
        <p:spPr>
          <a:xfrm>
            <a:off x="515939" y="5763332"/>
            <a:ext cx="4786822"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405642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387">
          <p15:clr>
            <a:srgbClr val="FBAE40"/>
          </p15:clr>
        </p15:guide>
        <p15:guide id="4" orient="horz" pos="2568">
          <p15:clr>
            <a:srgbClr val="FBAE40"/>
          </p15:clr>
        </p15:guide>
        <p15:guide id="5" orient="horz" pos="3022">
          <p15:clr>
            <a:srgbClr val="FBAE40"/>
          </p15:clr>
        </p15:guide>
        <p15:guide id="6" pos="3341">
          <p15:clr>
            <a:srgbClr val="FBAE4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preserve="1" userDrawn="1">
  <p:cSld name="Title+Photo_Black">
    <p:spTree>
      <p:nvGrpSpPr>
        <p:cNvPr id="1" name=""/>
        <p:cNvGrpSpPr/>
        <p:nvPr/>
      </p:nvGrpSpPr>
      <p:grpSpPr>
        <a:xfrm>
          <a:off x="0" y="0"/>
          <a:ext cx="0" cy="0"/>
          <a:chOff x="0" y="0"/>
          <a:chExt cx="0" cy="0"/>
        </a:xfrm>
      </p:grpSpPr>
      <p:sp>
        <p:nvSpPr>
          <p:cNvPr id="38" name="Freeform 5">
            <a:extLst>
              <a:ext uri="{FF2B5EF4-FFF2-40B4-BE49-F238E27FC236}">
                <a16:creationId xmlns:a16="http://schemas.microsoft.com/office/drawing/2014/main" id="{B84DB87B-4411-D45F-596A-3F51AD07A0C2}"/>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 name="Title 2">
            <a:extLst>
              <a:ext uri="{FF2B5EF4-FFF2-40B4-BE49-F238E27FC236}">
                <a16:creationId xmlns:a16="http://schemas.microsoft.com/office/drawing/2014/main" id="{8B76B047-B3CB-334D-D7F4-B842FB3D8A89}"/>
              </a:ext>
            </a:extLst>
          </p:cNvPr>
          <p:cNvSpPr>
            <a:spLocks noGrp="1"/>
          </p:cNvSpPr>
          <p:nvPr>
            <p:ph type="title" hasCustomPrompt="1"/>
          </p:nvPr>
        </p:nvSpPr>
        <p:spPr bwMode="gray">
          <a:xfrm>
            <a:off x="515939" y="1628775"/>
            <a:ext cx="4787900" cy="2160588"/>
          </a:xfrm>
        </p:spPr>
        <p:txBody>
          <a:bodyPr wrap="square" anchor="b">
            <a:noAutofit/>
          </a:bodyPr>
          <a:lstStyle>
            <a:lvl1pPr marL="0" algn="l" defTabSz="914400" rtl="0" eaLnBrk="1" latinLnBrk="0" hangingPunct="1">
              <a:lnSpc>
                <a:spcPct val="80000"/>
              </a:lnSpc>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Presentation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title goes her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4 lines</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maximum</a:t>
            </a:r>
            <a:endParaRPr lang="en-US"/>
          </a:p>
        </p:txBody>
      </p:sp>
      <p:sp>
        <p:nvSpPr>
          <p:cNvPr id="40" name="Text Placeholder 7">
            <a:extLst>
              <a:ext uri="{FF2B5EF4-FFF2-40B4-BE49-F238E27FC236}">
                <a16:creationId xmlns:a16="http://schemas.microsoft.com/office/drawing/2014/main" id="{173B11F6-8E4D-8BF2-1D11-5EC207F243EE}"/>
              </a:ext>
            </a:extLst>
          </p:cNvPr>
          <p:cNvSpPr>
            <a:spLocks noGrp="1"/>
          </p:cNvSpPr>
          <p:nvPr>
            <p:ph type="body" sz="quarter" idx="10" hasCustomPrompt="1"/>
          </p:nvPr>
        </p:nvSpPr>
        <p:spPr bwMode="gray">
          <a:xfrm>
            <a:off x="515937" y="4080516"/>
            <a:ext cx="4787901" cy="450485"/>
          </a:xfrm>
          <a:prstGeom prst="rect">
            <a:avLst/>
          </a:prstGeom>
        </p:spPr>
        <p:txBody>
          <a:bodyPr>
            <a:noAutofit/>
          </a:bodyPr>
          <a:lstStyle>
            <a:lvl1pPr marL="457200" indent="-457200" algn="l" defTabSz="914400" rtl="0" eaLnBrk="1" latinLnBrk="0" hangingPunct="1">
              <a:lnSpc>
                <a:spcPct val="96000"/>
              </a:lnSpc>
              <a:spcBef>
                <a:spcPts val="0"/>
              </a:spcBef>
              <a:spcAft>
                <a:spcPts val="600"/>
              </a:spcAft>
              <a:buFontTx/>
              <a:buNone/>
              <a:defRPr lang="en-US" sz="2800" kern="1200" spc="-50" baseline="0" dirty="0">
                <a:solidFill>
                  <a:schemeClr val="tx1"/>
                </a:solidFill>
                <a:latin typeface="+mj-lt"/>
                <a:ea typeface="Alfabet" pitchFamily="2" charset="0"/>
                <a:cs typeface="Microsoft Sans Serif" panose="020B0604020202020204" pitchFamily="34" charset="0"/>
              </a:defRPr>
            </a:lvl1pPr>
            <a:lvl2pPr marL="0" indent="0" algn="l" defTabSz="914400" rtl="0" eaLnBrk="1" latinLnBrk="0" hangingPunct="1">
              <a:lnSpc>
                <a:spcPct val="96000"/>
              </a:lnSpc>
              <a:spcBef>
                <a:spcPts val="0"/>
              </a:spcBef>
              <a:buFont typeface="Microsoft Sans Serif" panose="020B0604020202020204" pitchFamily="34" charset="0"/>
              <a:buNone/>
              <a:defRPr lang="en-US" sz="2000" kern="1200" dirty="0">
                <a:solidFill>
                  <a:schemeClr val="tx1"/>
                </a:solidFill>
                <a:latin typeface="Aptos" panose="020B0004020202020204" pitchFamily="34" charset="0"/>
                <a:ea typeface="Alfabet" pitchFamily="2" charset="0"/>
                <a:cs typeface="Microsoft Sans Serif" panose="020B060402020202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marL="0" lvl="0" indent="0" algn="l" defTabSz="914400" rtl="0" eaLnBrk="1" latinLnBrk="0" hangingPunct="1">
              <a:lnSpc>
                <a:spcPct val="96000"/>
              </a:lnSpc>
              <a:spcBef>
                <a:spcPts val="0"/>
              </a:spcBef>
              <a:spcAft>
                <a:spcPts val="600"/>
              </a:spcAft>
              <a:buClrTx/>
              <a:buFont typeface="Microsoft Sans Serif" panose="020B0604020202020204" pitchFamily="34" charset="0"/>
              <a:buChar char="​"/>
            </a:pPr>
            <a:r>
              <a:rPr lang="en-US"/>
              <a:t>Speaker name</a:t>
            </a:r>
          </a:p>
        </p:txBody>
      </p:sp>
      <p:sp>
        <p:nvSpPr>
          <p:cNvPr id="5" name="Picture Placeholder 4">
            <a:extLst>
              <a:ext uri="{FF2B5EF4-FFF2-40B4-BE49-F238E27FC236}">
                <a16:creationId xmlns:a16="http://schemas.microsoft.com/office/drawing/2014/main" id="{EC64425E-E669-2320-C453-2FA7B3C91BA2}"/>
              </a:ext>
            </a:extLst>
          </p:cNvPr>
          <p:cNvSpPr>
            <a:spLocks noGrp="1" noChangeAspect="1"/>
          </p:cNvSpPr>
          <p:nvPr>
            <p:ph type="pic" sz="quarter" idx="12" hasCustomPrompt="1"/>
          </p:nvPr>
        </p:nvSpPr>
        <p:spPr>
          <a:xfrm>
            <a:off x="6448428" y="0"/>
            <a:ext cx="5743572" cy="6858000"/>
          </a:xfrm>
          <a:custGeom>
            <a:avLst/>
            <a:gdLst>
              <a:gd name="connsiteX0" fmla="*/ 1678722 w 5743572"/>
              <a:gd name="connsiteY0" fmla="*/ 0 h 6858000"/>
              <a:gd name="connsiteX1" fmla="*/ 5743572 w 5743572"/>
              <a:gd name="connsiteY1" fmla="*/ 0 h 6858000"/>
              <a:gd name="connsiteX2" fmla="*/ 5743572 w 5743572"/>
              <a:gd name="connsiteY2" fmla="*/ 6858000 h 6858000"/>
              <a:gd name="connsiteX3" fmla="*/ 1672152 w 5743572"/>
              <a:gd name="connsiteY3" fmla="*/ 6858000 h 6858000"/>
              <a:gd name="connsiteX4" fmla="*/ 1582239 w 5743572"/>
              <a:gd name="connsiteY4" fmla="*/ 6787328 h 6858000"/>
              <a:gd name="connsiteX5" fmla="*/ 0 w 5743572"/>
              <a:gd name="connsiteY5" fmla="*/ 3431582 h 6858000"/>
              <a:gd name="connsiteX6" fmla="*/ 1582239 w 5743572"/>
              <a:gd name="connsiteY6" fmla="*/ 758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3572" h="6858000">
                <a:moveTo>
                  <a:pt x="1678722" y="0"/>
                </a:moveTo>
                <a:lnTo>
                  <a:pt x="5743572" y="0"/>
                </a:lnTo>
                <a:lnTo>
                  <a:pt x="5743572" y="6858000"/>
                </a:lnTo>
                <a:lnTo>
                  <a:pt x="1672152" y="6858000"/>
                </a:lnTo>
                <a:lnTo>
                  <a:pt x="1582239" y="6787328"/>
                </a:lnTo>
                <a:cubicBezTo>
                  <a:pt x="615926" y="5989694"/>
                  <a:pt x="0" y="4782581"/>
                  <a:pt x="0" y="3431582"/>
                </a:cubicBezTo>
                <a:cubicBezTo>
                  <a:pt x="0" y="2080583"/>
                  <a:pt x="615926" y="873471"/>
                  <a:pt x="1582239" y="75837"/>
                </a:cubicBezTo>
                <a:close/>
              </a:path>
            </a:pathLst>
          </a:custGeom>
          <a:noFill/>
        </p:spPr>
        <p:txBody>
          <a:bodyPr wrap="square" lIns="360000" rIns="0" bIns="1440000" anchor="ctr">
            <a:no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2800" kern="1200" baseline="0" dirty="0">
                <a:solidFill>
                  <a:schemeClr val="tx2"/>
                </a:solidFill>
                <a:latin typeface="+mj-lt"/>
                <a:ea typeface="+mn-ea"/>
                <a:cs typeface="+mn-cs"/>
              </a:defRPr>
            </a:lvl1pPr>
          </a:lstStyle>
          <a:p>
            <a:r>
              <a:rPr lang="en-US"/>
              <a:t>Click the icon to insert photo</a:t>
            </a:r>
          </a:p>
        </p:txBody>
      </p:sp>
      <p:grpSp>
        <p:nvGrpSpPr>
          <p:cNvPr id="7" name="Group 6">
            <a:extLst>
              <a:ext uri="{FF2B5EF4-FFF2-40B4-BE49-F238E27FC236}">
                <a16:creationId xmlns:a16="http://schemas.microsoft.com/office/drawing/2014/main" id="{E37B91EA-919A-7638-0BA3-B129FE4D943F}"/>
              </a:ext>
            </a:extLst>
          </p:cNvPr>
          <p:cNvGrpSpPr/>
          <p:nvPr userDrawn="1"/>
        </p:nvGrpSpPr>
        <p:grpSpPr>
          <a:xfrm>
            <a:off x="12290489" y="-1"/>
            <a:ext cx="2910882" cy="6858001"/>
            <a:chOff x="12290489" y="-1"/>
            <a:chExt cx="2910882" cy="6858001"/>
          </a:xfrm>
        </p:grpSpPr>
        <p:sp>
          <p:nvSpPr>
            <p:cNvPr id="8" name="Rectangle 7">
              <a:extLst>
                <a:ext uri="{FF2B5EF4-FFF2-40B4-BE49-F238E27FC236}">
                  <a16:creationId xmlns:a16="http://schemas.microsoft.com/office/drawing/2014/main" id="{2EDA7097-6BD6-5F3A-BE43-2276781396DA}"/>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9" name="TextBox 8">
              <a:extLst>
                <a:ext uri="{FF2B5EF4-FFF2-40B4-BE49-F238E27FC236}">
                  <a16:creationId xmlns:a16="http://schemas.microsoft.com/office/drawing/2014/main" id="{B2C20B70-21BA-6DCA-5971-AD83BA107546}"/>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MAGE</a:t>
              </a:r>
            </a:p>
          </p:txBody>
        </p:sp>
        <p:cxnSp>
          <p:nvCxnSpPr>
            <p:cNvPr id="10" name="Straight Connector 9">
              <a:extLst>
                <a:ext uri="{FF2B5EF4-FFF2-40B4-BE49-F238E27FC236}">
                  <a16:creationId xmlns:a16="http://schemas.microsoft.com/office/drawing/2014/main" id="{6B019D8F-CF6D-52FB-9386-AD25FEDB7709}"/>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95B849A-03DE-1D9D-8CD2-42E7163D9647}"/>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mage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12" name="TextBox 11">
              <a:extLst>
                <a:ext uri="{FF2B5EF4-FFF2-40B4-BE49-F238E27FC236}">
                  <a16:creationId xmlns:a16="http://schemas.microsoft.com/office/drawing/2014/main" id="{28304DE3-9AD6-BE3E-6D17-CDF04FB498E7}"/>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13" name="TextBox 12">
              <a:extLst>
                <a:ext uri="{FF2B5EF4-FFF2-40B4-BE49-F238E27FC236}">
                  <a16:creationId xmlns:a16="http://schemas.microsoft.com/office/drawing/2014/main" id="{FBD9A725-248B-2C7F-A33D-ECC81EA8B752}"/>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14" name="TextBox 13">
              <a:extLst>
                <a:ext uri="{FF2B5EF4-FFF2-40B4-BE49-F238E27FC236}">
                  <a16:creationId xmlns:a16="http://schemas.microsoft.com/office/drawing/2014/main" id="{C2A7AB11-C1E1-8FC7-2ADA-B558F7355D9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mages from the </a:t>
              </a:r>
              <a:r>
                <a:rPr lang="en-US">
                  <a:solidFill>
                    <a:schemeClr val="accent1"/>
                  </a:solidFill>
                  <a:latin typeface="Aptos" panose="020B0004020202020204" pitchFamily="34" charset="0"/>
                  <a:cs typeface="Aparajita" panose="02020603050405020304" pitchFamily="18" charset="0"/>
                </a:rPr>
                <a:t>Qualcomm Brand Portal</a:t>
              </a:r>
            </a:p>
            <a:p>
              <a:pPr lvl="0">
                <a:spcBef>
                  <a:spcPts val="700"/>
                </a:spcBef>
              </a:pPr>
              <a:r>
                <a:rPr lang="en-US">
                  <a:latin typeface="Aptos" panose="020B0004020202020204" pitchFamily="34" charset="0"/>
                  <a:cs typeface="Aparajita" panose="02020603050405020304" pitchFamily="18" charset="0"/>
                </a:rPr>
                <a:t>Add the image to the placeholder.</a:t>
              </a:r>
            </a:p>
          </p:txBody>
        </p:sp>
        <p:sp>
          <p:nvSpPr>
            <p:cNvPr id="15" name="TextBox 14">
              <a:extLst>
                <a:ext uri="{FF2B5EF4-FFF2-40B4-BE49-F238E27FC236}">
                  <a16:creationId xmlns:a16="http://schemas.microsoft.com/office/drawing/2014/main" id="{542A33C5-F04C-9963-9CE2-6531F6D3963E}"/>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mage placeholder.</a:t>
              </a:r>
            </a:p>
            <a:p>
              <a:pPr lvl="1">
                <a:buNone/>
              </a:pPr>
              <a:r>
                <a:rPr lang="en-US" sz="1050">
                  <a:latin typeface="Aptos" panose="020B0004020202020204" pitchFamily="34" charset="0"/>
                  <a:cs typeface="Aparajita" panose="02020603050405020304" pitchFamily="18" charset="0"/>
                </a:rPr>
                <a:t>Right-click or use keyboard shortcuts to paste the image.</a:t>
              </a:r>
            </a:p>
          </p:txBody>
        </p:sp>
        <p:sp>
          <p:nvSpPr>
            <p:cNvPr id="16" name="TextBox 15">
              <a:extLst>
                <a:ext uri="{FF2B5EF4-FFF2-40B4-BE49-F238E27FC236}">
                  <a16:creationId xmlns:a16="http://schemas.microsoft.com/office/drawing/2014/main" id="{A24A1867-B209-8D6E-A7CA-30564448C193}"/>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mage.</a:t>
              </a:r>
            </a:p>
          </p:txBody>
        </p:sp>
        <p:grpSp>
          <p:nvGrpSpPr>
            <p:cNvPr id="17" name="Group 16">
              <a:extLst>
                <a:ext uri="{FF2B5EF4-FFF2-40B4-BE49-F238E27FC236}">
                  <a16:creationId xmlns:a16="http://schemas.microsoft.com/office/drawing/2014/main" id="{918BAF9A-56C5-0BFC-4A1C-54EDE4760FB6}"/>
                </a:ext>
              </a:extLst>
            </p:cNvPr>
            <p:cNvGrpSpPr/>
            <p:nvPr userDrawn="1"/>
          </p:nvGrpSpPr>
          <p:grpSpPr>
            <a:xfrm>
              <a:off x="12429548" y="3236396"/>
              <a:ext cx="2735151" cy="1280928"/>
              <a:chOff x="9286315" y="6976989"/>
              <a:chExt cx="2735151" cy="1280928"/>
            </a:xfrm>
          </p:grpSpPr>
          <p:sp>
            <p:nvSpPr>
              <p:cNvPr id="28" name="Rectangle 27">
                <a:extLst>
                  <a:ext uri="{FF2B5EF4-FFF2-40B4-BE49-F238E27FC236}">
                    <a16:creationId xmlns:a16="http://schemas.microsoft.com/office/drawing/2014/main" id="{602A8BC7-7AC3-F47D-D037-7C160857FCE9}"/>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9" name="TextBox 28">
                <a:extLst>
                  <a:ext uri="{FF2B5EF4-FFF2-40B4-BE49-F238E27FC236}">
                    <a16:creationId xmlns:a16="http://schemas.microsoft.com/office/drawing/2014/main" id="{0788AE65-C3F4-D60E-3138-8483401C3174}"/>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Images</a:t>
                </a:r>
              </a:p>
            </p:txBody>
          </p:sp>
          <p:pic>
            <p:nvPicPr>
              <p:cNvPr id="30" name="Graphic 29">
                <a:extLst>
                  <a:ext uri="{FF2B5EF4-FFF2-40B4-BE49-F238E27FC236}">
                    <a16:creationId xmlns:a16="http://schemas.microsoft.com/office/drawing/2014/main" id="{F0E09E2D-984E-E6C1-A7D4-FE2C9611DAB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1" name="TextBox 30">
                <a:extLst>
                  <a:ext uri="{FF2B5EF4-FFF2-40B4-BE49-F238E27FC236}">
                    <a16:creationId xmlns:a16="http://schemas.microsoft.com/office/drawing/2014/main" id="{AF0852D7-AE0B-9059-4803-52264E3FDF7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32" name="Picture 31">
                <a:extLst>
                  <a:ext uri="{FF2B5EF4-FFF2-40B4-BE49-F238E27FC236}">
                    <a16:creationId xmlns:a16="http://schemas.microsoft.com/office/drawing/2014/main" id="{1C604B59-3B60-D2BB-118E-FE3FCD7FB8A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33" name="TextBox 32">
                <a:extLst>
                  <a:ext uri="{FF2B5EF4-FFF2-40B4-BE49-F238E27FC236}">
                    <a16:creationId xmlns:a16="http://schemas.microsoft.com/office/drawing/2014/main" id="{2A0EE686-51E2-8DD7-4575-9D2BDC4464A7}"/>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18" name="Group 17">
              <a:extLst>
                <a:ext uri="{FF2B5EF4-FFF2-40B4-BE49-F238E27FC236}">
                  <a16:creationId xmlns:a16="http://schemas.microsoft.com/office/drawing/2014/main" id="{D94A9BFF-954E-1137-1601-F334BCCBC7C3}"/>
                </a:ext>
              </a:extLst>
            </p:cNvPr>
            <p:cNvGrpSpPr/>
            <p:nvPr userDrawn="1"/>
          </p:nvGrpSpPr>
          <p:grpSpPr>
            <a:xfrm>
              <a:off x="12429548" y="4543123"/>
              <a:ext cx="2735151" cy="2200108"/>
              <a:chOff x="9538241" y="5155416"/>
              <a:chExt cx="2735151" cy="2200108"/>
            </a:xfrm>
          </p:grpSpPr>
          <p:sp>
            <p:nvSpPr>
              <p:cNvPr id="19" name="Rectangle 18">
                <a:extLst>
                  <a:ext uri="{FF2B5EF4-FFF2-40B4-BE49-F238E27FC236}">
                    <a16:creationId xmlns:a16="http://schemas.microsoft.com/office/drawing/2014/main" id="{FCA5F60D-195D-7137-B351-926F412EFE37}"/>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0" name="TextBox 19">
                <a:extLst>
                  <a:ext uri="{FF2B5EF4-FFF2-40B4-BE49-F238E27FC236}">
                    <a16:creationId xmlns:a16="http://schemas.microsoft.com/office/drawing/2014/main" id="{2D0765D1-6318-8980-341C-6C5575F2CAA5}"/>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mages</a:t>
                </a:r>
              </a:p>
            </p:txBody>
          </p:sp>
          <p:pic>
            <p:nvPicPr>
              <p:cNvPr id="21" name="Graphic 20">
                <a:extLst>
                  <a:ext uri="{FF2B5EF4-FFF2-40B4-BE49-F238E27FC236}">
                    <a16:creationId xmlns:a16="http://schemas.microsoft.com/office/drawing/2014/main" id="{73265450-984F-A5C7-B9DD-9F557825C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2" name="TextBox 21">
                <a:extLst>
                  <a:ext uri="{FF2B5EF4-FFF2-40B4-BE49-F238E27FC236}">
                    <a16:creationId xmlns:a16="http://schemas.microsoft.com/office/drawing/2014/main" id="{1A5B91AD-3675-916A-77B0-2911D0FB6E4E}"/>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mage and select “Change Picture”</a:t>
                </a:r>
              </a:p>
            </p:txBody>
          </p:sp>
          <p:sp>
            <p:nvSpPr>
              <p:cNvPr id="23" name="TextBox 22">
                <a:extLst>
                  <a:ext uri="{FF2B5EF4-FFF2-40B4-BE49-F238E27FC236}">
                    <a16:creationId xmlns:a16="http://schemas.microsoft.com/office/drawing/2014/main" id="{52968CC0-E353-D7C2-4DED-C4D22414C994}"/>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4" name="TextBox 23">
                <a:extLst>
                  <a:ext uri="{FF2B5EF4-FFF2-40B4-BE49-F238E27FC236}">
                    <a16:creationId xmlns:a16="http://schemas.microsoft.com/office/drawing/2014/main" id="{BA634610-204D-ACD2-871C-4BE8E48E6446}"/>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25" name="TextBox 24">
                <a:extLst>
                  <a:ext uri="{FF2B5EF4-FFF2-40B4-BE49-F238E27FC236}">
                    <a16:creationId xmlns:a16="http://schemas.microsoft.com/office/drawing/2014/main" id="{26F873F0-D1B8-2F28-7877-CCB130F10B61}"/>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mage as normal.</a:t>
                </a:r>
              </a:p>
            </p:txBody>
          </p:sp>
          <p:cxnSp>
            <p:nvCxnSpPr>
              <p:cNvPr id="26" name="Straight Connector 25">
                <a:extLst>
                  <a:ext uri="{FF2B5EF4-FFF2-40B4-BE49-F238E27FC236}">
                    <a16:creationId xmlns:a16="http://schemas.microsoft.com/office/drawing/2014/main" id="{74E03996-18F9-5B34-22DA-0EB0B94B6136}"/>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97EA99C-C1ED-1A46-6825-0BA3DBC6752F}"/>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6" name="Text Placeholder 22">
            <a:extLst>
              <a:ext uri="{FF2B5EF4-FFF2-40B4-BE49-F238E27FC236}">
                <a16:creationId xmlns:a16="http://schemas.microsoft.com/office/drawing/2014/main" id="{F207FFAA-40C6-D488-3F67-778BAA1A9B4B}"/>
              </a:ext>
            </a:extLst>
          </p:cNvPr>
          <p:cNvSpPr>
            <a:spLocks noGrp="1"/>
          </p:cNvSpPr>
          <p:nvPr>
            <p:ph type="body" sz="quarter" idx="13" hasCustomPrompt="1"/>
          </p:nvPr>
        </p:nvSpPr>
        <p:spPr>
          <a:xfrm>
            <a:off x="515939" y="4539039"/>
            <a:ext cx="4786822" cy="263149"/>
          </a:xfrm>
        </p:spPr>
        <p:txBody>
          <a:bodyPr wrap="square" anchor="t">
            <a:noAutofit/>
          </a:bodyPr>
          <a:lstStyle>
            <a:lvl1pPr marL="0" indent="0">
              <a:buNone/>
              <a:defRPr sz="1800" spc="0">
                <a:solidFill>
                  <a:schemeClr val="tx1"/>
                </a:solidFill>
              </a:defRPr>
            </a:lvl1pPr>
          </a:lstStyle>
          <a:p>
            <a:pPr lvl="0"/>
            <a:r>
              <a:rPr lang="en-US"/>
              <a:t>Speaker title, Employing entity</a:t>
            </a:r>
          </a:p>
          <a:p>
            <a:pPr lvl="0"/>
            <a:endParaRPr lang="en-US"/>
          </a:p>
        </p:txBody>
      </p:sp>
      <p:sp>
        <p:nvSpPr>
          <p:cNvPr id="34" name="TextBox 33">
            <a:extLst>
              <a:ext uri="{FF2B5EF4-FFF2-40B4-BE49-F238E27FC236}">
                <a16:creationId xmlns:a16="http://schemas.microsoft.com/office/drawing/2014/main" id="{5858619D-FB76-6901-2D61-B068B8426EC5}"/>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a:solidFill>
                  <a:schemeClr val="accent6">
                    <a:lumMod val="9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a:solidFill>
                <a:schemeClr val="accent6">
                  <a:lumMod val="90000"/>
                </a:schemeClr>
              </a:solidFill>
              <a:latin typeface="+mn-lt"/>
              <a:ea typeface="+mn-ea"/>
              <a:cs typeface="+mn-cs"/>
            </a:endParaRPr>
          </a:p>
        </p:txBody>
      </p:sp>
      <p:sp>
        <p:nvSpPr>
          <p:cNvPr id="35" name="Text Placeholder 22">
            <a:extLst>
              <a:ext uri="{FF2B5EF4-FFF2-40B4-BE49-F238E27FC236}">
                <a16:creationId xmlns:a16="http://schemas.microsoft.com/office/drawing/2014/main" id="{2171F63C-C833-568B-2A5D-D7AA7179F0D9}"/>
              </a:ext>
            </a:extLst>
          </p:cNvPr>
          <p:cNvSpPr>
            <a:spLocks noGrp="1"/>
          </p:cNvSpPr>
          <p:nvPr>
            <p:ph type="body" sz="quarter" idx="14" hasCustomPrompt="1"/>
          </p:nvPr>
        </p:nvSpPr>
        <p:spPr>
          <a:xfrm>
            <a:off x="515939" y="5763332"/>
            <a:ext cx="4786822"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393192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387">
          <p15:clr>
            <a:srgbClr val="FBAE40"/>
          </p15:clr>
        </p15:guide>
        <p15:guide id="4" orient="horz" pos="2568">
          <p15:clr>
            <a:srgbClr val="FBAE40"/>
          </p15:clr>
        </p15:guide>
        <p15:guide id="5" orient="horz" pos="3022">
          <p15:clr>
            <a:srgbClr val="FBAE40"/>
          </p15:clr>
        </p15:guide>
        <p15:guide id="6" pos="3341">
          <p15:clr>
            <a:srgbClr val="FBAE4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userDrawn="1">
  <p:cSld name="Title+Photo_Grey">
    <p:bg>
      <p:bgPr>
        <a:solidFill>
          <a:srgbClr val="EFF1F5"/>
        </a:solidFill>
        <a:effectLst/>
      </p:bgPr>
    </p:bg>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50273CAA-AA8E-2322-C677-61BB5E3B7290}"/>
              </a:ext>
            </a:extLst>
          </p:cNvPr>
          <p:cNvSpPr>
            <a:spLocks noChangeAspect="1" noEditPoints="1"/>
          </p:cNvSpPr>
          <p:nvPr userDrawn="1"/>
        </p:nvSpPr>
        <p:spPr bwMode="black">
          <a:xfrm>
            <a:off x="515937" y="460180"/>
            <a:ext cx="1817861" cy="33319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 name="Title 3">
            <a:extLst>
              <a:ext uri="{FF2B5EF4-FFF2-40B4-BE49-F238E27FC236}">
                <a16:creationId xmlns:a16="http://schemas.microsoft.com/office/drawing/2014/main" id="{2F85B3C7-6442-1485-863A-E4B7FF5300D7}"/>
              </a:ext>
            </a:extLst>
          </p:cNvPr>
          <p:cNvSpPr>
            <a:spLocks noGrp="1"/>
          </p:cNvSpPr>
          <p:nvPr>
            <p:ph type="title" hasCustomPrompt="1"/>
          </p:nvPr>
        </p:nvSpPr>
        <p:spPr>
          <a:xfrm>
            <a:off x="515938" y="1640840"/>
            <a:ext cx="4787900" cy="2148523"/>
          </a:xfrm>
        </p:spPr>
        <p:txBody>
          <a:bodyPr anchor="b"/>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baseline="0" dirty="0">
                <a:solidFill>
                  <a:schemeClr val="accent1"/>
                </a:solidFill>
                <a:latin typeface="Aptos" panose="020B0004020202020204" pitchFamily="34" charset="0"/>
                <a:ea typeface="Alfabet" pitchFamily="2" charset="0"/>
                <a:cs typeface="Microsoft Sans Serif" panose="020B0604020202020204" pitchFamily="34" charset="0"/>
              </a:defRPr>
            </a:lvl1pPr>
          </a:lstStyle>
          <a:p>
            <a:r>
              <a:rPr lang="en-US"/>
              <a:t>Presentation </a:t>
            </a:r>
            <a:br>
              <a:rPr lang="en-US"/>
            </a:br>
            <a:r>
              <a:rPr lang="en-US"/>
              <a:t>title goes here</a:t>
            </a:r>
            <a:br>
              <a:rPr lang="en-US"/>
            </a:br>
            <a:r>
              <a:rPr lang="en-US"/>
              <a:t>four lines</a:t>
            </a:r>
            <a:br>
              <a:rPr lang="en-US"/>
            </a:br>
            <a:r>
              <a:rPr lang="en-US"/>
              <a:t>maximum</a:t>
            </a:r>
          </a:p>
        </p:txBody>
      </p:sp>
      <p:sp>
        <p:nvSpPr>
          <p:cNvPr id="14" name="Text Placeholder 7">
            <a:extLst>
              <a:ext uri="{FF2B5EF4-FFF2-40B4-BE49-F238E27FC236}">
                <a16:creationId xmlns:a16="http://schemas.microsoft.com/office/drawing/2014/main" id="{E20EDF44-7C69-E22E-2904-F047187746FC}"/>
              </a:ext>
            </a:extLst>
          </p:cNvPr>
          <p:cNvSpPr>
            <a:spLocks noGrp="1"/>
          </p:cNvSpPr>
          <p:nvPr>
            <p:ph type="body" sz="quarter" idx="10" hasCustomPrompt="1"/>
          </p:nvPr>
        </p:nvSpPr>
        <p:spPr bwMode="gray">
          <a:xfrm>
            <a:off x="515937" y="4080516"/>
            <a:ext cx="4787901" cy="450485"/>
          </a:xfrm>
          <a:prstGeom prst="rect">
            <a:avLst/>
          </a:prstGeom>
        </p:spPr>
        <p:txBody>
          <a:bodyPr vert="horz" lIns="0" tIns="0" rIns="0" bIns="0" rtlCol="0">
            <a:noAutofit/>
          </a:bodyPr>
          <a:lstStyle>
            <a:lvl1pPr marL="457200" indent="-457200" algn="l" defTabSz="914400" rtl="0" eaLnBrk="1" latinLnBrk="0" hangingPunct="1">
              <a:lnSpc>
                <a:spcPct val="96000"/>
              </a:lnSpc>
              <a:spcBef>
                <a:spcPts val="0"/>
              </a:spcBef>
              <a:spcAft>
                <a:spcPts val="600"/>
              </a:spcAft>
              <a:buClrTx/>
              <a:buFontTx/>
              <a:buNone/>
              <a:defRPr lang="en-US" sz="2800" kern="1200" spc="-50" baseline="0" dirty="0">
                <a:solidFill>
                  <a:schemeClr val="tx1"/>
                </a:solidFill>
                <a:latin typeface="+mj-lt"/>
                <a:ea typeface="Alfabet" pitchFamily="2" charset="0"/>
                <a:cs typeface="Microsoft Sans Serif" panose="020B0604020202020204" pitchFamily="34" charset="0"/>
              </a:defRPr>
            </a:lvl1pPr>
          </a:lstStyle>
          <a:p>
            <a:pPr marL="457200" lvl="0" indent="-457200">
              <a:lnSpc>
                <a:spcPct val="96000"/>
              </a:lnSpc>
              <a:spcBef>
                <a:spcPts val="0"/>
              </a:spcBef>
              <a:spcAft>
                <a:spcPts val="600"/>
              </a:spcAft>
              <a:buFontTx/>
              <a:buNone/>
            </a:pPr>
            <a:r>
              <a:rPr lang="en-US"/>
              <a:t>Speaker name</a:t>
            </a:r>
          </a:p>
        </p:txBody>
      </p:sp>
      <p:sp>
        <p:nvSpPr>
          <p:cNvPr id="5" name="Picture Placeholder 4">
            <a:extLst>
              <a:ext uri="{FF2B5EF4-FFF2-40B4-BE49-F238E27FC236}">
                <a16:creationId xmlns:a16="http://schemas.microsoft.com/office/drawing/2014/main" id="{EC64425E-E669-2320-C453-2FA7B3C91BA2}"/>
              </a:ext>
            </a:extLst>
          </p:cNvPr>
          <p:cNvSpPr>
            <a:spLocks noGrp="1" noChangeAspect="1"/>
          </p:cNvSpPr>
          <p:nvPr>
            <p:ph type="pic" sz="quarter" idx="12" hasCustomPrompt="1"/>
          </p:nvPr>
        </p:nvSpPr>
        <p:spPr>
          <a:xfrm>
            <a:off x="6448428" y="0"/>
            <a:ext cx="5743572" cy="6858000"/>
          </a:xfrm>
          <a:custGeom>
            <a:avLst/>
            <a:gdLst>
              <a:gd name="connsiteX0" fmla="*/ 1678722 w 5743572"/>
              <a:gd name="connsiteY0" fmla="*/ 0 h 6858000"/>
              <a:gd name="connsiteX1" fmla="*/ 5743572 w 5743572"/>
              <a:gd name="connsiteY1" fmla="*/ 0 h 6858000"/>
              <a:gd name="connsiteX2" fmla="*/ 5743572 w 5743572"/>
              <a:gd name="connsiteY2" fmla="*/ 6858000 h 6858000"/>
              <a:gd name="connsiteX3" fmla="*/ 1672152 w 5743572"/>
              <a:gd name="connsiteY3" fmla="*/ 6858000 h 6858000"/>
              <a:gd name="connsiteX4" fmla="*/ 1582239 w 5743572"/>
              <a:gd name="connsiteY4" fmla="*/ 6787328 h 6858000"/>
              <a:gd name="connsiteX5" fmla="*/ 0 w 5743572"/>
              <a:gd name="connsiteY5" fmla="*/ 3431582 h 6858000"/>
              <a:gd name="connsiteX6" fmla="*/ 1582239 w 5743572"/>
              <a:gd name="connsiteY6" fmla="*/ 758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3572" h="6858000">
                <a:moveTo>
                  <a:pt x="1678722" y="0"/>
                </a:moveTo>
                <a:lnTo>
                  <a:pt x="5743572" y="0"/>
                </a:lnTo>
                <a:lnTo>
                  <a:pt x="5743572" y="6858000"/>
                </a:lnTo>
                <a:lnTo>
                  <a:pt x="1672152" y="6858000"/>
                </a:lnTo>
                <a:lnTo>
                  <a:pt x="1582239" y="6787328"/>
                </a:lnTo>
                <a:cubicBezTo>
                  <a:pt x="615926" y="5989694"/>
                  <a:pt x="0" y="4782581"/>
                  <a:pt x="0" y="3431582"/>
                </a:cubicBezTo>
                <a:cubicBezTo>
                  <a:pt x="0" y="2080583"/>
                  <a:pt x="615926" y="873471"/>
                  <a:pt x="1582239" y="75837"/>
                </a:cubicBezTo>
                <a:close/>
              </a:path>
            </a:pathLst>
          </a:custGeom>
          <a:noFill/>
        </p:spPr>
        <p:txBody>
          <a:bodyPr wrap="square" lIns="360000" rIns="0" bIns="1440000" anchor="ctr">
            <a:noAutofit/>
          </a:bodyPr>
          <a:lstStyle>
            <a:lvl1pPr marL="0" indent="0">
              <a:buNone/>
              <a:defRPr sz="3000">
                <a:solidFill>
                  <a:schemeClr val="accent1"/>
                </a:solidFill>
              </a:defRPr>
            </a:lvl1pPr>
          </a:lstStyle>
          <a:p>
            <a:r>
              <a:rPr lang="en-US"/>
              <a:t>Click the icon to insert photo</a:t>
            </a:r>
          </a:p>
        </p:txBody>
      </p:sp>
      <p:grpSp>
        <p:nvGrpSpPr>
          <p:cNvPr id="34" name="Group 33">
            <a:extLst>
              <a:ext uri="{FF2B5EF4-FFF2-40B4-BE49-F238E27FC236}">
                <a16:creationId xmlns:a16="http://schemas.microsoft.com/office/drawing/2014/main" id="{50C9A8B5-AC6A-236D-E22D-40DCC855A024}"/>
              </a:ext>
            </a:extLst>
          </p:cNvPr>
          <p:cNvGrpSpPr/>
          <p:nvPr userDrawn="1"/>
        </p:nvGrpSpPr>
        <p:grpSpPr>
          <a:xfrm>
            <a:off x="12290489" y="-1"/>
            <a:ext cx="2910882" cy="6858001"/>
            <a:chOff x="12290489" y="-1"/>
            <a:chExt cx="2910882" cy="6858001"/>
          </a:xfrm>
        </p:grpSpPr>
        <p:sp>
          <p:nvSpPr>
            <p:cNvPr id="35" name="Rectangle 34">
              <a:extLst>
                <a:ext uri="{FF2B5EF4-FFF2-40B4-BE49-F238E27FC236}">
                  <a16:creationId xmlns:a16="http://schemas.microsoft.com/office/drawing/2014/main" id="{A689B527-45CC-F42E-A4FC-3FB418AAF1A6}"/>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6" name="TextBox 35">
              <a:extLst>
                <a:ext uri="{FF2B5EF4-FFF2-40B4-BE49-F238E27FC236}">
                  <a16:creationId xmlns:a16="http://schemas.microsoft.com/office/drawing/2014/main" id="{2C0B4581-A334-CE2A-A37A-D81D26558B7E}"/>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MAGE</a:t>
              </a:r>
            </a:p>
          </p:txBody>
        </p:sp>
        <p:cxnSp>
          <p:nvCxnSpPr>
            <p:cNvPr id="37" name="Straight Connector 36">
              <a:extLst>
                <a:ext uri="{FF2B5EF4-FFF2-40B4-BE49-F238E27FC236}">
                  <a16:creationId xmlns:a16="http://schemas.microsoft.com/office/drawing/2014/main" id="{9DAA443D-0858-E570-225C-F1EC39B6A835}"/>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38" name="TextBox 37">
              <a:extLst>
                <a:ext uri="{FF2B5EF4-FFF2-40B4-BE49-F238E27FC236}">
                  <a16:creationId xmlns:a16="http://schemas.microsoft.com/office/drawing/2014/main" id="{3F65B3CF-85C7-771A-4E60-F394A9CD64C1}"/>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mage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39" name="TextBox 38">
              <a:extLst>
                <a:ext uri="{FF2B5EF4-FFF2-40B4-BE49-F238E27FC236}">
                  <a16:creationId xmlns:a16="http://schemas.microsoft.com/office/drawing/2014/main" id="{85B610A6-7F63-B61A-ABC2-CA3904046CDB}"/>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40" name="TextBox 39">
              <a:extLst>
                <a:ext uri="{FF2B5EF4-FFF2-40B4-BE49-F238E27FC236}">
                  <a16:creationId xmlns:a16="http://schemas.microsoft.com/office/drawing/2014/main" id="{6CB9AD4D-3F5C-93E8-CBE1-AC58FC6BE644}"/>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41" name="TextBox 40">
              <a:extLst>
                <a:ext uri="{FF2B5EF4-FFF2-40B4-BE49-F238E27FC236}">
                  <a16:creationId xmlns:a16="http://schemas.microsoft.com/office/drawing/2014/main" id="{A5053C27-4766-0802-6F1F-7ACD4B654E8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mages from the </a:t>
              </a: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Brand Portal</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mage to the placeholder.</a:t>
              </a:r>
            </a:p>
          </p:txBody>
        </p:sp>
        <p:sp>
          <p:nvSpPr>
            <p:cNvPr id="42" name="TextBox 41">
              <a:extLst>
                <a:ext uri="{FF2B5EF4-FFF2-40B4-BE49-F238E27FC236}">
                  <a16:creationId xmlns:a16="http://schemas.microsoft.com/office/drawing/2014/main" id="{8FAC4EA3-F60C-12FC-57EE-22F108C68352}"/>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mage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mage.</a:t>
              </a:r>
            </a:p>
          </p:txBody>
        </p:sp>
        <p:sp>
          <p:nvSpPr>
            <p:cNvPr id="43" name="TextBox 42">
              <a:extLst>
                <a:ext uri="{FF2B5EF4-FFF2-40B4-BE49-F238E27FC236}">
                  <a16:creationId xmlns:a16="http://schemas.microsoft.com/office/drawing/2014/main" id="{F97AEC4B-1EE2-22E2-369A-DE8C15A1F510}"/>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mage.</a:t>
              </a:r>
            </a:p>
          </p:txBody>
        </p:sp>
        <p:grpSp>
          <p:nvGrpSpPr>
            <p:cNvPr id="44" name="Group 43">
              <a:extLst>
                <a:ext uri="{FF2B5EF4-FFF2-40B4-BE49-F238E27FC236}">
                  <a16:creationId xmlns:a16="http://schemas.microsoft.com/office/drawing/2014/main" id="{F544BE75-F81C-15B6-4B00-2C772DDE3E51}"/>
                </a:ext>
              </a:extLst>
            </p:cNvPr>
            <p:cNvGrpSpPr/>
            <p:nvPr userDrawn="1"/>
          </p:nvGrpSpPr>
          <p:grpSpPr>
            <a:xfrm>
              <a:off x="12429548" y="3236396"/>
              <a:ext cx="2735151" cy="1280928"/>
              <a:chOff x="9286315" y="6976989"/>
              <a:chExt cx="2735151" cy="1280928"/>
            </a:xfrm>
          </p:grpSpPr>
          <p:sp>
            <p:nvSpPr>
              <p:cNvPr id="55" name="Rectangle 54">
                <a:extLst>
                  <a:ext uri="{FF2B5EF4-FFF2-40B4-BE49-F238E27FC236}">
                    <a16:creationId xmlns:a16="http://schemas.microsoft.com/office/drawing/2014/main" id="{036C04F5-54D3-B9A1-4924-0898772AAA11}"/>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56" name="TextBox 55">
                <a:extLst>
                  <a:ext uri="{FF2B5EF4-FFF2-40B4-BE49-F238E27FC236}">
                    <a16:creationId xmlns:a16="http://schemas.microsoft.com/office/drawing/2014/main" id="{04DB67C2-4DDB-0504-25AB-DB3932495B25}"/>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Images</a:t>
                </a:r>
              </a:p>
            </p:txBody>
          </p:sp>
          <p:pic>
            <p:nvPicPr>
              <p:cNvPr id="57" name="Graphic 56">
                <a:extLst>
                  <a:ext uri="{FF2B5EF4-FFF2-40B4-BE49-F238E27FC236}">
                    <a16:creationId xmlns:a16="http://schemas.microsoft.com/office/drawing/2014/main" id="{D3439BA1-708B-E65A-9BFA-450CBF4E22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C5EBB20-7C79-F0EA-CFE4-D04F4E7890D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59" name="Picture 58">
                <a:extLst>
                  <a:ext uri="{FF2B5EF4-FFF2-40B4-BE49-F238E27FC236}">
                    <a16:creationId xmlns:a16="http://schemas.microsoft.com/office/drawing/2014/main" id="{4039EEA6-30DF-DC7A-CC44-51F9DD32AB1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0" name="TextBox 59">
                <a:extLst>
                  <a:ext uri="{FF2B5EF4-FFF2-40B4-BE49-F238E27FC236}">
                    <a16:creationId xmlns:a16="http://schemas.microsoft.com/office/drawing/2014/main" id="{CF91F6DB-F340-B2C9-3BFE-18C0DE9C6847}"/>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45" name="Group 44">
              <a:extLst>
                <a:ext uri="{FF2B5EF4-FFF2-40B4-BE49-F238E27FC236}">
                  <a16:creationId xmlns:a16="http://schemas.microsoft.com/office/drawing/2014/main" id="{1EA375F6-A1F6-91F3-1CBE-428E305D2342}"/>
                </a:ext>
              </a:extLst>
            </p:cNvPr>
            <p:cNvGrpSpPr/>
            <p:nvPr userDrawn="1"/>
          </p:nvGrpSpPr>
          <p:grpSpPr>
            <a:xfrm>
              <a:off x="12429548" y="4543123"/>
              <a:ext cx="2735151" cy="2200108"/>
              <a:chOff x="9538241" y="5155416"/>
              <a:chExt cx="2735151" cy="2200108"/>
            </a:xfrm>
          </p:grpSpPr>
          <p:sp>
            <p:nvSpPr>
              <p:cNvPr id="46" name="Rectangle 45">
                <a:extLst>
                  <a:ext uri="{FF2B5EF4-FFF2-40B4-BE49-F238E27FC236}">
                    <a16:creationId xmlns:a16="http://schemas.microsoft.com/office/drawing/2014/main" id="{9C3C56B2-E42D-922A-DA19-E79B9F11884D}"/>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47" name="TextBox 46">
                <a:extLst>
                  <a:ext uri="{FF2B5EF4-FFF2-40B4-BE49-F238E27FC236}">
                    <a16:creationId xmlns:a16="http://schemas.microsoft.com/office/drawing/2014/main" id="{E040F3D8-3BB9-CE75-18B0-77A2AFA54271}"/>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mages</a:t>
                </a:r>
              </a:p>
            </p:txBody>
          </p:sp>
          <p:pic>
            <p:nvPicPr>
              <p:cNvPr id="48" name="Graphic 47">
                <a:extLst>
                  <a:ext uri="{FF2B5EF4-FFF2-40B4-BE49-F238E27FC236}">
                    <a16:creationId xmlns:a16="http://schemas.microsoft.com/office/drawing/2014/main" id="{C868B925-125A-75B1-808E-2E4E3779E8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49" name="TextBox 48">
                <a:extLst>
                  <a:ext uri="{FF2B5EF4-FFF2-40B4-BE49-F238E27FC236}">
                    <a16:creationId xmlns:a16="http://schemas.microsoft.com/office/drawing/2014/main" id="{AF476E15-9C1D-9C09-97BA-9AAF64C8E88F}"/>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mage and select “Change Picture”</a:t>
                </a:r>
              </a:p>
            </p:txBody>
          </p:sp>
          <p:sp>
            <p:nvSpPr>
              <p:cNvPr id="50" name="TextBox 49">
                <a:extLst>
                  <a:ext uri="{FF2B5EF4-FFF2-40B4-BE49-F238E27FC236}">
                    <a16:creationId xmlns:a16="http://schemas.microsoft.com/office/drawing/2014/main" id="{524A83E3-D361-5023-38A6-B42A2B6ED73C}"/>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1" name="TextBox 50">
                <a:extLst>
                  <a:ext uri="{FF2B5EF4-FFF2-40B4-BE49-F238E27FC236}">
                    <a16:creationId xmlns:a16="http://schemas.microsoft.com/office/drawing/2014/main" id="{913DCBCB-991C-80AF-4FA9-9B8385605BDC}"/>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mage to reset the photo placeholder functionality.</a:t>
                </a:r>
              </a:p>
            </p:txBody>
          </p:sp>
          <p:sp>
            <p:nvSpPr>
              <p:cNvPr id="52" name="TextBox 51">
                <a:extLst>
                  <a:ext uri="{FF2B5EF4-FFF2-40B4-BE49-F238E27FC236}">
                    <a16:creationId xmlns:a16="http://schemas.microsoft.com/office/drawing/2014/main" id="{0F2CFACC-9589-E1C0-D00C-28B73F029F39}"/>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mage as normal.</a:t>
                </a:r>
              </a:p>
            </p:txBody>
          </p:sp>
          <p:cxnSp>
            <p:nvCxnSpPr>
              <p:cNvPr id="53" name="Straight Connector 52">
                <a:extLst>
                  <a:ext uri="{FF2B5EF4-FFF2-40B4-BE49-F238E27FC236}">
                    <a16:creationId xmlns:a16="http://schemas.microsoft.com/office/drawing/2014/main" id="{3826F3A5-5353-C3E5-0BC6-BC9501B700D7}"/>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54" name="TextBox 53">
                <a:extLst>
                  <a:ext uri="{FF2B5EF4-FFF2-40B4-BE49-F238E27FC236}">
                    <a16:creationId xmlns:a16="http://schemas.microsoft.com/office/drawing/2014/main" id="{D40601AD-9599-687F-35CB-1EA4E5622769}"/>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7" name="Text Placeholder 22">
            <a:extLst>
              <a:ext uri="{FF2B5EF4-FFF2-40B4-BE49-F238E27FC236}">
                <a16:creationId xmlns:a16="http://schemas.microsoft.com/office/drawing/2014/main" id="{6BCFF2BD-3943-C746-CBB3-A3D1F7741349}"/>
              </a:ext>
            </a:extLst>
          </p:cNvPr>
          <p:cNvSpPr>
            <a:spLocks noGrp="1"/>
          </p:cNvSpPr>
          <p:nvPr>
            <p:ph type="body" sz="quarter" idx="13" hasCustomPrompt="1"/>
          </p:nvPr>
        </p:nvSpPr>
        <p:spPr>
          <a:xfrm>
            <a:off x="515939" y="4539039"/>
            <a:ext cx="4786822" cy="263149"/>
          </a:xfrm>
        </p:spPr>
        <p:txBody>
          <a:bodyPr wrap="square" anchor="t">
            <a:noAutofit/>
          </a:bodyPr>
          <a:lstStyle>
            <a:lvl1pPr marL="0" indent="0">
              <a:buNone/>
              <a:defRPr sz="1800" spc="0">
                <a:solidFill>
                  <a:schemeClr val="tx1"/>
                </a:solidFill>
              </a:defRPr>
            </a:lvl1pPr>
          </a:lstStyle>
          <a:p>
            <a:pPr lvl="0"/>
            <a:r>
              <a:rPr lang="en-US"/>
              <a:t>Speaker title, Employing entity</a:t>
            </a:r>
          </a:p>
          <a:p>
            <a:pPr lvl="0"/>
            <a:endParaRPr lang="en-US"/>
          </a:p>
        </p:txBody>
      </p:sp>
      <p:sp>
        <p:nvSpPr>
          <p:cNvPr id="8" name="TextBox 7">
            <a:extLst>
              <a:ext uri="{FF2B5EF4-FFF2-40B4-BE49-F238E27FC236}">
                <a16:creationId xmlns:a16="http://schemas.microsoft.com/office/drawing/2014/main" id="{D144D81E-D1AC-7F55-6217-3E760CA287A8}"/>
              </a:ext>
            </a:extLst>
          </p:cNvPr>
          <p:cNvSpPr txBox="1"/>
          <p:nvPr userDrawn="1"/>
        </p:nvSpPr>
        <p:spPr>
          <a:xfrm>
            <a:off x="515938" y="6096960"/>
            <a:ext cx="5247709"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indent="0" algn="l" defTabSz="685800" rtl="0" eaLnBrk="1" latinLnBrk="0" hangingPunct="1">
              <a:lnSpc>
                <a:spcPct val="95000"/>
              </a:lnSpc>
              <a:spcBef>
                <a:spcPts val="1200"/>
              </a:spcBef>
              <a:buClr>
                <a:srgbClr val="3253DC"/>
              </a:buClr>
              <a:buFont typeface="Arial" panose="020B0604020202020204" pitchFamily="34" charset="0"/>
              <a:buNone/>
              <a:tabLst/>
            </a:pPr>
            <a:r>
              <a:rPr lang="en-CA" sz="800" kern="1200" baseline="0">
                <a:solidFill>
                  <a:schemeClr val="accent6">
                    <a:lumMod val="50000"/>
                  </a:schemeClr>
                </a:solidFill>
                <a:latin typeface="+mn-lt"/>
                <a:ea typeface="+mn-ea"/>
                <a:cs typeface="+mn-cs"/>
              </a:rPr>
              <a:t>Snapdragon and Qualcomm branded products are products of Qualcomm Technologies, Inc. and/or its subsidiaries. Qualcomm patented technologies are licensed by Qualcomm Incorporated.</a:t>
            </a:r>
            <a:endParaRPr lang="en-US" sz="800" kern="1200" baseline="0">
              <a:solidFill>
                <a:schemeClr val="accent6">
                  <a:lumMod val="50000"/>
                </a:schemeClr>
              </a:solidFill>
              <a:latin typeface="+mn-lt"/>
              <a:ea typeface="+mn-ea"/>
              <a:cs typeface="+mn-cs"/>
            </a:endParaRPr>
          </a:p>
        </p:txBody>
      </p:sp>
      <p:sp>
        <p:nvSpPr>
          <p:cNvPr id="9" name="Text Placeholder 22">
            <a:extLst>
              <a:ext uri="{FF2B5EF4-FFF2-40B4-BE49-F238E27FC236}">
                <a16:creationId xmlns:a16="http://schemas.microsoft.com/office/drawing/2014/main" id="{6528CC4D-D4C1-415A-6C4B-F94211148ADE}"/>
              </a:ext>
            </a:extLst>
          </p:cNvPr>
          <p:cNvSpPr>
            <a:spLocks noGrp="1"/>
          </p:cNvSpPr>
          <p:nvPr>
            <p:ph type="body" sz="quarter" idx="14" hasCustomPrompt="1"/>
          </p:nvPr>
        </p:nvSpPr>
        <p:spPr>
          <a:xfrm>
            <a:off x="515939" y="5763332"/>
            <a:ext cx="4786822" cy="263149"/>
          </a:xfrm>
        </p:spPr>
        <p:txBody>
          <a:bodyPr wrap="square" anchor="t">
            <a:noAutofit/>
          </a:bodyPr>
          <a:lstStyle>
            <a:lvl1pPr marL="0" indent="0">
              <a:buNone/>
              <a:defRPr sz="1600" spc="0">
                <a:solidFill>
                  <a:schemeClr val="tx1"/>
                </a:solidFill>
              </a:defRPr>
            </a:lvl1pPr>
          </a:lstStyle>
          <a:p>
            <a:pPr lvl="0"/>
            <a:r>
              <a:rPr lang="en-US"/>
              <a:t>@</a:t>
            </a:r>
            <a:r>
              <a:rPr lang="en-US" err="1"/>
              <a:t>qualcomm</a:t>
            </a:r>
            <a:endParaRPr lang="en-US"/>
          </a:p>
        </p:txBody>
      </p:sp>
    </p:spTree>
    <p:extLst>
      <p:ext uri="{BB962C8B-B14F-4D97-AF65-F5344CB8AC3E}">
        <p14:creationId xmlns:p14="http://schemas.microsoft.com/office/powerpoint/2010/main" val="1424681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387">
          <p15:clr>
            <a:srgbClr val="FBAE40"/>
          </p15:clr>
        </p15:guide>
        <p15:guide id="4" orient="horz" pos="2568">
          <p15:clr>
            <a:srgbClr val="FBAE40"/>
          </p15:clr>
        </p15:guide>
        <p15:guide id="5" orient="horz" pos="3022">
          <p15:clr>
            <a:srgbClr val="FBAE40"/>
          </p15:clr>
        </p15:guide>
        <p15:guide id="6" pos="3341">
          <p15:clr>
            <a:srgbClr val="FBAE4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Holding slide_Dark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F2C5B2-B6B5-8033-1AB2-8EA2C569B77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CA" err="1">
              <a:solidFill>
                <a:schemeClr val="bg1"/>
              </a:solidFill>
              <a:latin typeface="Microsoft Sans Serif"/>
              <a:cs typeface="Microsoft Sans Serif" panose="020B0604020202020204" pitchFamily="34" charset="0"/>
            </a:endParaRPr>
          </a:p>
        </p:txBody>
      </p:sp>
      <p:pic>
        <p:nvPicPr>
          <p:cNvPr id="33" name="Graphic 32">
            <a:extLst>
              <a:ext uri="{FF2B5EF4-FFF2-40B4-BE49-F238E27FC236}">
                <a16:creationId xmlns:a16="http://schemas.microsoft.com/office/drawing/2014/main" id="{B5794193-7C82-4508-9AF6-5E056C12D43E}"/>
              </a:ext>
            </a:extLst>
          </p:cNvPr>
          <p:cNvPicPr>
            <a:picLocks noChangeAspect="1"/>
          </p:cNvPicPr>
          <p:nvPr userDrawn="1"/>
        </p:nvPicPr>
        <p:blipFill>
          <a:blip r:embed="rId2">
            <a:extLst>
              <a:ext uri="{96DAC541-7B7A-43D3-8B79-37D633B846F1}">
                <asvg:svgBlip xmlns:asvg="http://schemas.microsoft.com/office/drawing/2016/SVG/main" r:embed="rId3"/>
              </a:ext>
            </a:extLst>
          </a:blip>
          <a:srcRect l="17291" t="32275" r="17135" b="30839"/>
          <a:stretch>
            <a:fillRect/>
          </a:stretch>
        </p:blipFill>
        <p:spPr>
          <a:xfrm>
            <a:off x="0" y="2"/>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0 w 1219200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2000" h="6857998">
                <a:moveTo>
                  <a:pt x="0" y="0"/>
                </a:moveTo>
                <a:lnTo>
                  <a:pt x="12192000" y="0"/>
                </a:lnTo>
                <a:lnTo>
                  <a:pt x="12192000" y="6857998"/>
                </a:lnTo>
                <a:lnTo>
                  <a:pt x="0" y="6857998"/>
                </a:lnTo>
                <a:close/>
              </a:path>
            </a:pathLst>
          </a:custGeom>
        </p:spPr>
      </p:pic>
      <p:pic>
        <p:nvPicPr>
          <p:cNvPr id="2" name="Graphic 1">
            <a:extLst>
              <a:ext uri="{FF2B5EF4-FFF2-40B4-BE49-F238E27FC236}">
                <a16:creationId xmlns:a16="http://schemas.microsoft.com/office/drawing/2014/main" id="{4C85D623-E2F7-219D-4729-50DF575019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53328" y="2337534"/>
            <a:ext cx="4285343" cy="1965955"/>
          </a:xfrm>
          <a:prstGeom prst="rect">
            <a:avLst/>
          </a:prstGeom>
        </p:spPr>
      </p:pic>
    </p:spTree>
    <p:extLst>
      <p:ext uri="{BB962C8B-B14F-4D97-AF65-F5344CB8AC3E}">
        <p14:creationId xmlns:p14="http://schemas.microsoft.com/office/powerpoint/2010/main" val="404614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Holding slide_Qualcomm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F2C5B2-B6B5-8033-1AB2-8EA2C569B77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CA" err="1">
              <a:solidFill>
                <a:schemeClr val="bg1"/>
              </a:solidFill>
              <a:latin typeface="Microsoft Sans Serif"/>
              <a:cs typeface="Microsoft Sans Serif" panose="020B0604020202020204" pitchFamily="34" charset="0"/>
            </a:endParaRPr>
          </a:p>
        </p:txBody>
      </p:sp>
      <p:pic>
        <p:nvPicPr>
          <p:cNvPr id="33" name="Graphic 32">
            <a:extLst>
              <a:ext uri="{FF2B5EF4-FFF2-40B4-BE49-F238E27FC236}">
                <a16:creationId xmlns:a16="http://schemas.microsoft.com/office/drawing/2014/main" id="{B5794193-7C82-4508-9AF6-5E056C12D43E}"/>
              </a:ext>
            </a:extLst>
          </p:cNvPr>
          <p:cNvPicPr>
            <a:picLocks noChangeAspect="1"/>
          </p:cNvPicPr>
          <p:nvPr userDrawn="1"/>
        </p:nvPicPr>
        <p:blipFill>
          <a:blip r:embed="rId2">
            <a:extLst>
              <a:ext uri="{96DAC541-7B7A-43D3-8B79-37D633B846F1}">
                <asvg:svgBlip xmlns:asvg="http://schemas.microsoft.com/office/drawing/2016/SVG/main" r:embed="rId3"/>
              </a:ext>
            </a:extLst>
          </a:blip>
          <a:srcRect l="17291" t="32275" r="17135" b="30839"/>
          <a:stretch>
            <a:fillRect/>
          </a:stretch>
        </p:blipFill>
        <p:spPr>
          <a:xfrm>
            <a:off x="0" y="2"/>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0 w 1219200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2000" h="6857998">
                <a:moveTo>
                  <a:pt x="0" y="0"/>
                </a:moveTo>
                <a:lnTo>
                  <a:pt x="12192000" y="0"/>
                </a:lnTo>
                <a:lnTo>
                  <a:pt x="12192000" y="6857998"/>
                </a:lnTo>
                <a:lnTo>
                  <a:pt x="0" y="6857998"/>
                </a:lnTo>
                <a:close/>
              </a:path>
            </a:pathLst>
          </a:custGeom>
        </p:spPr>
      </p:pic>
      <p:pic>
        <p:nvPicPr>
          <p:cNvPr id="2" name="Graphic 1">
            <a:extLst>
              <a:ext uri="{FF2B5EF4-FFF2-40B4-BE49-F238E27FC236}">
                <a16:creationId xmlns:a16="http://schemas.microsoft.com/office/drawing/2014/main" id="{4C85D623-E2F7-219D-4729-50DF575019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53328" y="2337534"/>
            <a:ext cx="4285343" cy="1965955"/>
          </a:xfrm>
          <a:prstGeom prst="rect">
            <a:avLst/>
          </a:prstGeom>
        </p:spPr>
      </p:pic>
    </p:spTree>
    <p:extLst>
      <p:ext uri="{BB962C8B-B14F-4D97-AF65-F5344CB8AC3E}">
        <p14:creationId xmlns:p14="http://schemas.microsoft.com/office/powerpoint/2010/main" val="89695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Agenda_Dark Blue">
    <p:bg>
      <p:bgPr>
        <a:solidFill>
          <a:schemeClr val="accent2"/>
        </a:solidFill>
        <a:effectLst/>
      </p:bgPr>
    </p:bg>
    <p:spTree>
      <p:nvGrpSpPr>
        <p:cNvPr id="1" name=""/>
        <p:cNvGrpSpPr/>
        <p:nvPr/>
      </p:nvGrpSpPr>
      <p:grpSpPr>
        <a:xfrm>
          <a:off x="0" y="0"/>
          <a:ext cx="0" cy="0"/>
          <a:chOff x="0" y="0"/>
          <a:chExt cx="0" cy="0"/>
        </a:xfrm>
      </p:grpSpPr>
      <p:sp>
        <p:nvSpPr>
          <p:cNvPr id="5" name="Text Placeholder 22">
            <a:extLst>
              <a:ext uri="{FF2B5EF4-FFF2-40B4-BE49-F238E27FC236}">
                <a16:creationId xmlns:a16="http://schemas.microsoft.com/office/drawing/2014/main" id="{E54A92A4-1E48-2B1B-909B-2357B21DF6F4}"/>
              </a:ext>
            </a:extLst>
          </p:cNvPr>
          <p:cNvSpPr>
            <a:spLocks noGrp="1"/>
          </p:cNvSpPr>
          <p:nvPr>
            <p:ph type="body" sz="quarter" idx="13" hasCustomPrompt="1"/>
          </p:nvPr>
        </p:nvSpPr>
        <p:spPr>
          <a:xfrm>
            <a:off x="5843588" y="989318"/>
            <a:ext cx="5832474" cy="4984761"/>
          </a:xfrm>
        </p:spPr>
        <p:txBody>
          <a:bodyPr wrap="square" anchor="ctr">
            <a:noAutofit/>
          </a:bodyPr>
          <a:lstStyle>
            <a:lvl1pPr marL="0" indent="0">
              <a:spcBef>
                <a:spcPts val="2000"/>
              </a:spcBef>
              <a:spcAft>
                <a:spcPts val="0"/>
              </a:spcAft>
              <a:buNone/>
              <a:defRPr sz="2800"/>
            </a:lvl1pPr>
          </a:lstStyle>
          <a:p>
            <a:pPr lvl="0"/>
            <a:r>
              <a:rPr lang="en-US"/>
              <a:t>First section</a:t>
            </a:r>
          </a:p>
          <a:p>
            <a:pPr lvl="0"/>
            <a:r>
              <a:rPr lang="en-US"/>
              <a:t>Second section</a:t>
            </a:r>
          </a:p>
          <a:p>
            <a:pPr lvl="0"/>
            <a:r>
              <a:rPr lang="en-US"/>
              <a:t>Third section</a:t>
            </a:r>
          </a:p>
          <a:p>
            <a:pPr lvl="0"/>
            <a:r>
              <a:rPr lang="en-US"/>
              <a:t>Fourth section</a:t>
            </a:r>
          </a:p>
          <a:p>
            <a:pPr lvl="0"/>
            <a:r>
              <a:rPr lang="en-US"/>
              <a:t>Fifth section</a:t>
            </a:r>
          </a:p>
          <a:p>
            <a:pPr lvl="0"/>
            <a:r>
              <a:rPr lang="en-US"/>
              <a:t>Sixth section</a:t>
            </a:r>
          </a:p>
        </p:txBody>
      </p:sp>
      <p:pic>
        <p:nvPicPr>
          <p:cNvPr id="4" name="Graphic 3">
            <a:extLst>
              <a:ext uri="{FF2B5EF4-FFF2-40B4-BE49-F238E27FC236}">
                <a16:creationId xmlns:a16="http://schemas.microsoft.com/office/drawing/2014/main" id="{87ECCFB4-6FEB-4786-7945-36916365351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212" t="-1336" r="-341" b="1336"/>
          <a:stretch/>
        </p:blipFill>
        <p:spPr>
          <a:xfrm rot="721101">
            <a:off x="-455175" y="695050"/>
            <a:ext cx="4931282" cy="5595610"/>
          </a:xfrm>
          <a:custGeom>
            <a:avLst/>
            <a:gdLst>
              <a:gd name="connsiteX0" fmla="*/ 0 w 6469437"/>
              <a:gd name="connsiteY0" fmla="*/ 1125849 h 7340983"/>
              <a:gd name="connsiteX1" fmla="*/ 5288374 w 6469437"/>
              <a:gd name="connsiteY1" fmla="*/ 0 h 7340983"/>
              <a:gd name="connsiteX2" fmla="*/ 6469437 w 6469437"/>
              <a:gd name="connsiteY2" fmla="*/ 5547730 h 7340983"/>
              <a:gd name="connsiteX3" fmla="*/ 6469437 w 6469437"/>
              <a:gd name="connsiteY3" fmla="*/ 6245383 h 7340983"/>
              <a:gd name="connsiteX4" fmla="*/ 1323149 w 6469437"/>
              <a:gd name="connsiteY4" fmla="*/ 7340983 h 734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9437" h="7340983">
                <a:moveTo>
                  <a:pt x="0" y="1125849"/>
                </a:moveTo>
                <a:lnTo>
                  <a:pt x="5288374" y="0"/>
                </a:lnTo>
                <a:lnTo>
                  <a:pt x="6469437" y="5547730"/>
                </a:lnTo>
                <a:lnTo>
                  <a:pt x="6469437" y="6245383"/>
                </a:lnTo>
                <a:lnTo>
                  <a:pt x="1323149" y="7340983"/>
                </a:lnTo>
                <a:close/>
              </a:path>
            </a:pathLst>
          </a:custGeom>
        </p:spPr>
      </p:pic>
      <p:sp>
        <p:nvSpPr>
          <p:cNvPr id="3" name="TextBox 2">
            <a:extLst>
              <a:ext uri="{FF2B5EF4-FFF2-40B4-BE49-F238E27FC236}">
                <a16:creationId xmlns:a16="http://schemas.microsoft.com/office/drawing/2014/main" id="{DCF333EE-339A-2B10-12F5-EDCD3B9BB705}"/>
              </a:ext>
            </a:extLst>
          </p:cNvPr>
          <p:cNvSpPr txBox="1"/>
          <p:nvPr userDrawn="1"/>
        </p:nvSpPr>
        <p:spPr>
          <a:xfrm>
            <a:off x="876179" y="3150676"/>
            <a:ext cx="1687749" cy="661720"/>
          </a:xfrm>
          <a:prstGeom prst="rect">
            <a:avLst/>
          </a:prstGeom>
          <a:noFill/>
        </p:spPr>
        <p:txBody>
          <a:bodyPr wrap="square">
            <a:spAutoFit/>
          </a:bodyPr>
          <a:lstStyle/>
          <a:p>
            <a:r>
              <a:rPr kumimoji="0" lang="en-US" sz="3700" b="0" i="0" u="none" strike="noStrike" kern="2000" cap="none" spc="-50" normalizeH="0" baseline="0" noProof="0">
                <a:ln>
                  <a:noFill/>
                </a:ln>
                <a:solidFill>
                  <a:srgbClr val="FFFFFF"/>
                </a:solidFill>
                <a:effectLst/>
                <a:uLnTx/>
                <a:uFillTx/>
                <a:latin typeface="Aptos Display" panose="02110004020202020204"/>
                <a:ea typeface="+mj-ea"/>
                <a:cs typeface="+mj-cs"/>
              </a:rPr>
              <a:t>Agenda</a:t>
            </a:r>
            <a:endParaRPr lang="en-US" sz="3700"/>
          </a:p>
        </p:txBody>
      </p:sp>
      <p:sp>
        <p:nvSpPr>
          <p:cNvPr id="2" name="TextBox 1">
            <a:extLst>
              <a:ext uri="{FF2B5EF4-FFF2-40B4-BE49-F238E27FC236}">
                <a16:creationId xmlns:a16="http://schemas.microsoft.com/office/drawing/2014/main" id="{BDBEE89A-B45C-7D54-BFA0-559F4BC62BC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
        <p:nvSpPr>
          <p:cNvPr id="6" name="Footer Placeholder 2">
            <a:extLst>
              <a:ext uri="{FF2B5EF4-FFF2-40B4-BE49-F238E27FC236}">
                <a16:creationId xmlns:a16="http://schemas.microsoft.com/office/drawing/2014/main" id="{D50D6A8B-A66D-60C0-5A75-441CA5624F2D}"/>
              </a:ext>
            </a:extLst>
          </p:cNvPr>
          <p:cNvSpPr>
            <a:spLocks noGrp="1"/>
          </p:cNvSpPr>
          <p:nvPr>
            <p:ph type="ftr" sz="quarter" idx="3"/>
          </p:nvPr>
        </p:nvSpPr>
        <p:spPr>
          <a:xfrm>
            <a:off x="515938" y="6396925"/>
            <a:ext cx="6359648" cy="118174"/>
          </a:xfrm>
          <a:prstGeom prst="rect">
            <a:avLst/>
          </a:prstGeom>
        </p:spPr>
        <p:txBody>
          <a:bodyPr vert="horz" wrap="square" lIns="0" tIns="0" rIns="0" bIns="0" rtlCol="0" anchor="b">
            <a:no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90000"/>
                  </a:schemeClr>
                </a:solidFill>
                <a:latin typeface="+mn-lt"/>
                <a:ea typeface="+mn-ea"/>
                <a:cs typeface="+mn-cs"/>
              </a:defRPr>
            </a:lvl1pPr>
          </a:lstStyle>
          <a:p>
            <a:r>
              <a:rPr lang="en-CA"/>
              <a:t>5G Broadcast Conference</a:t>
            </a:r>
          </a:p>
        </p:txBody>
      </p:sp>
    </p:spTree>
    <p:extLst>
      <p:ext uri="{BB962C8B-B14F-4D97-AF65-F5344CB8AC3E}">
        <p14:creationId xmlns:p14="http://schemas.microsoft.com/office/powerpoint/2010/main" val="63838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20">
          <p15:clr>
            <a:srgbClr val="FBAE40"/>
          </p15:clr>
        </p15:guide>
        <p15:guide id="2" orient="horz" pos="436">
          <p15:clr>
            <a:srgbClr val="FBAE40"/>
          </p15:clr>
        </p15:guide>
        <p15:guide id="5" orient="horz" pos="3158">
          <p15:clr>
            <a:srgbClr val="FBAE40"/>
          </p15:clr>
        </p15:guide>
        <p15:guide id="6" orient="horz" pos="1344">
          <p15:clr>
            <a:srgbClr val="FBAE40"/>
          </p15:clr>
        </p15:guide>
        <p15:guide id="7" orient="horz" pos="2251">
          <p15:clr>
            <a:srgbClr val="FBAE40"/>
          </p15:clr>
        </p15:guide>
        <p15:guide id="8" pos="3681">
          <p15:clr>
            <a:srgbClr val="FBAE40"/>
          </p15:clr>
        </p15:guide>
        <p15:guide id="9" pos="6970">
          <p15:clr>
            <a:srgbClr val="FBAE40"/>
          </p15:clr>
        </p15:guide>
        <p15:guide id="12" orient="horz" pos="1752">
          <p15:clr>
            <a:srgbClr val="FBAE40"/>
          </p15:clr>
        </p15:guide>
        <p15:guide id="13" orient="horz" pos="2591">
          <p15:clr>
            <a:srgbClr val="FBAE4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Agenda_Qualcomm Blue">
    <p:bg>
      <p:bgPr>
        <a:solidFill>
          <a:schemeClr val="accent1"/>
        </a:solidFill>
        <a:effectLst/>
      </p:bgPr>
    </p:bg>
    <p:spTree>
      <p:nvGrpSpPr>
        <p:cNvPr id="1" name=""/>
        <p:cNvGrpSpPr/>
        <p:nvPr/>
      </p:nvGrpSpPr>
      <p:grpSpPr>
        <a:xfrm>
          <a:off x="0" y="0"/>
          <a:ext cx="0" cy="0"/>
          <a:chOff x="0" y="0"/>
          <a:chExt cx="0" cy="0"/>
        </a:xfrm>
      </p:grpSpPr>
      <p:sp>
        <p:nvSpPr>
          <p:cNvPr id="5" name="Text Placeholder 22">
            <a:extLst>
              <a:ext uri="{FF2B5EF4-FFF2-40B4-BE49-F238E27FC236}">
                <a16:creationId xmlns:a16="http://schemas.microsoft.com/office/drawing/2014/main" id="{E54A92A4-1E48-2B1B-909B-2357B21DF6F4}"/>
              </a:ext>
            </a:extLst>
          </p:cNvPr>
          <p:cNvSpPr>
            <a:spLocks noGrp="1"/>
          </p:cNvSpPr>
          <p:nvPr>
            <p:ph type="body" sz="quarter" idx="13" hasCustomPrompt="1"/>
          </p:nvPr>
        </p:nvSpPr>
        <p:spPr>
          <a:xfrm>
            <a:off x="5843588" y="989318"/>
            <a:ext cx="5832474" cy="4984761"/>
          </a:xfrm>
        </p:spPr>
        <p:txBody>
          <a:bodyPr wrap="square" anchor="ctr">
            <a:noAutofit/>
          </a:bodyPr>
          <a:lstStyle>
            <a:lvl1pPr marL="0" indent="0">
              <a:spcBef>
                <a:spcPts val="2000"/>
              </a:spcBef>
              <a:spcAft>
                <a:spcPts val="0"/>
              </a:spcAft>
              <a:buNone/>
              <a:defRPr sz="2800"/>
            </a:lvl1pPr>
          </a:lstStyle>
          <a:p>
            <a:pPr lvl="0"/>
            <a:r>
              <a:rPr lang="en-US"/>
              <a:t>First section</a:t>
            </a:r>
          </a:p>
          <a:p>
            <a:pPr lvl="0"/>
            <a:r>
              <a:rPr lang="en-US"/>
              <a:t>Second section</a:t>
            </a:r>
          </a:p>
          <a:p>
            <a:pPr lvl="0"/>
            <a:r>
              <a:rPr lang="en-US"/>
              <a:t>Third section</a:t>
            </a:r>
          </a:p>
          <a:p>
            <a:pPr lvl="0"/>
            <a:r>
              <a:rPr lang="en-US"/>
              <a:t>Fourth section</a:t>
            </a:r>
          </a:p>
          <a:p>
            <a:pPr lvl="0"/>
            <a:r>
              <a:rPr lang="en-US"/>
              <a:t>Fifth section</a:t>
            </a:r>
          </a:p>
          <a:p>
            <a:pPr lvl="0"/>
            <a:r>
              <a:rPr lang="en-US"/>
              <a:t>Sixth section</a:t>
            </a:r>
          </a:p>
        </p:txBody>
      </p:sp>
      <p:pic>
        <p:nvPicPr>
          <p:cNvPr id="4" name="Graphic 3">
            <a:extLst>
              <a:ext uri="{FF2B5EF4-FFF2-40B4-BE49-F238E27FC236}">
                <a16:creationId xmlns:a16="http://schemas.microsoft.com/office/drawing/2014/main" id="{87ECCFB4-6FEB-4786-7945-36916365351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212" t="-1336" r="-341" b="1336"/>
          <a:stretch/>
        </p:blipFill>
        <p:spPr>
          <a:xfrm rot="721101">
            <a:off x="-455175" y="695050"/>
            <a:ext cx="4931282" cy="5595610"/>
          </a:xfrm>
          <a:custGeom>
            <a:avLst/>
            <a:gdLst>
              <a:gd name="connsiteX0" fmla="*/ 0 w 6469437"/>
              <a:gd name="connsiteY0" fmla="*/ 1125849 h 7340983"/>
              <a:gd name="connsiteX1" fmla="*/ 5288374 w 6469437"/>
              <a:gd name="connsiteY1" fmla="*/ 0 h 7340983"/>
              <a:gd name="connsiteX2" fmla="*/ 6469437 w 6469437"/>
              <a:gd name="connsiteY2" fmla="*/ 5547730 h 7340983"/>
              <a:gd name="connsiteX3" fmla="*/ 6469437 w 6469437"/>
              <a:gd name="connsiteY3" fmla="*/ 6245383 h 7340983"/>
              <a:gd name="connsiteX4" fmla="*/ 1323149 w 6469437"/>
              <a:gd name="connsiteY4" fmla="*/ 7340983 h 734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9437" h="7340983">
                <a:moveTo>
                  <a:pt x="0" y="1125849"/>
                </a:moveTo>
                <a:lnTo>
                  <a:pt x="5288374" y="0"/>
                </a:lnTo>
                <a:lnTo>
                  <a:pt x="6469437" y="5547730"/>
                </a:lnTo>
                <a:lnTo>
                  <a:pt x="6469437" y="6245383"/>
                </a:lnTo>
                <a:lnTo>
                  <a:pt x="1323149" y="7340983"/>
                </a:lnTo>
                <a:close/>
              </a:path>
            </a:pathLst>
          </a:custGeom>
        </p:spPr>
      </p:pic>
      <p:sp>
        <p:nvSpPr>
          <p:cNvPr id="3" name="TextBox 2">
            <a:extLst>
              <a:ext uri="{FF2B5EF4-FFF2-40B4-BE49-F238E27FC236}">
                <a16:creationId xmlns:a16="http://schemas.microsoft.com/office/drawing/2014/main" id="{DCF333EE-339A-2B10-12F5-EDCD3B9BB705}"/>
              </a:ext>
            </a:extLst>
          </p:cNvPr>
          <p:cNvSpPr txBox="1"/>
          <p:nvPr userDrawn="1"/>
        </p:nvSpPr>
        <p:spPr>
          <a:xfrm>
            <a:off x="876179" y="3150676"/>
            <a:ext cx="1687749" cy="661720"/>
          </a:xfrm>
          <a:prstGeom prst="rect">
            <a:avLst/>
          </a:prstGeom>
          <a:noFill/>
        </p:spPr>
        <p:txBody>
          <a:bodyPr wrap="square">
            <a:spAutoFit/>
          </a:bodyPr>
          <a:lstStyle/>
          <a:p>
            <a:r>
              <a:rPr kumimoji="0" lang="en-US" sz="3700" b="0" i="0" u="none" strike="noStrike" kern="2000" cap="none" spc="-50" normalizeH="0" baseline="0" noProof="0">
                <a:ln>
                  <a:noFill/>
                </a:ln>
                <a:solidFill>
                  <a:srgbClr val="FFFFFF"/>
                </a:solidFill>
                <a:effectLst/>
                <a:uLnTx/>
                <a:uFillTx/>
                <a:latin typeface="Aptos Display" panose="02110004020202020204"/>
                <a:ea typeface="+mj-ea"/>
                <a:cs typeface="+mj-cs"/>
              </a:rPr>
              <a:t>Agenda</a:t>
            </a:r>
            <a:endParaRPr lang="en-US" sz="3700"/>
          </a:p>
        </p:txBody>
      </p:sp>
      <p:sp>
        <p:nvSpPr>
          <p:cNvPr id="2" name="TextBox 1">
            <a:extLst>
              <a:ext uri="{FF2B5EF4-FFF2-40B4-BE49-F238E27FC236}">
                <a16:creationId xmlns:a16="http://schemas.microsoft.com/office/drawing/2014/main" id="{BDBEE89A-B45C-7D54-BFA0-559F4BC62BC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
        <p:nvSpPr>
          <p:cNvPr id="6" name="Footer Placeholder 2">
            <a:extLst>
              <a:ext uri="{FF2B5EF4-FFF2-40B4-BE49-F238E27FC236}">
                <a16:creationId xmlns:a16="http://schemas.microsoft.com/office/drawing/2014/main" id="{D50D6A8B-A66D-60C0-5A75-441CA5624F2D}"/>
              </a:ext>
            </a:extLst>
          </p:cNvPr>
          <p:cNvSpPr>
            <a:spLocks noGrp="1"/>
          </p:cNvSpPr>
          <p:nvPr>
            <p:ph type="ftr" sz="quarter" idx="3"/>
          </p:nvPr>
        </p:nvSpPr>
        <p:spPr>
          <a:xfrm>
            <a:off x="515938" y="6396925"/>
            <a:ext cx="6359648" cy="118174"/>
          </a:xfrm>
          <a:prstGeom prst="rect">
            <a:avLst/>
          </a:prstGeom>
        </p:spPr>
        <p:txBody>
          <a:bodyPr vert="horz" wrap="square" lIns="0" tIns="0" rIns="0" bIns="0" rtlCol="0" anchor="b">
            <a:no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90000"/>
                  </a:schemeClr>
                </a:solidFill>
                <a:latin typeface="+mn-lt"/>
                <a:ea typeface="+mn-ea"/>
                <a:cs typeface="+mn-cs"/>
              </a:defRPr>
            </a:lvl1pPr>
          </a:lstStyle>
          <a:p>
            <a:r>
              <a:rPr lang="en-CA"/>
              <a:t>5G Broadcast Conference</a:t>
            </a:r>
          </a:p>
        </p:txBody>
      </p:sp>
    </p:spTree>
    <p:extLst>
      <p:ext uri="{BB962C8B-B14F-4D97-AF65-F5344CB8AC3E}">
        <p14:creationId xmlns:p14="http://schemas.microsoft.com/office/powerpoint/2010/main" val="239248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20">
          <p15:clr>
            <a:srgbClr val="FBAE40"/>
          </p15:clr>
        </p15:guide>
        <p15:guide id="2" orient="horz" pos="436">
          <p15:clr>
            <a:srgbClr val="FBAE40"/>
          </p15:clr>
        </p15:guide>
        <p15:guide id="5" orient="horz" pos="3158">
          <p15:clr>
            <a:srgbClr val="FBAE40"/>
          </p15:clr>
        </p15:guide>
        <p15:guide id="6" orient="horz" pos="1344">
          <p15:clr>
            <a:srgbClr val="FBAE40"/>
          </p15:clr>
        </p15:guide>
        <p15:guide id="7" orient="horz" pos="2251">
          <p15:clr>
            <a:srgbClr val="FBAE40"/>
          </p15:clr>
        </p15:guide>
        <p15:guide id="8" pos="3681">
          <p15:clr>
            <a:srgbClr val="FBAE40"/>
          </p15:clr>
        </p15:guide>
        <p15:guide id="9" pos="6970">
          <p15:clr>
            <a:srgbClr val="FBAE40"/>
          </p15:clr>
        </p15:guide>
        <p15:guide id="12" orient="horz" pos="1752">
          <p15:clr>
            <a:srgbClr val="FBAE40"/>
          </p15:clr>
        </p15:guide>
        <p15:guide id="13" orient="horz" pos="2591">
          <p15:clr>
            <a:srgbClr val="FBAE4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userDrawn="1">
  <p:cSld name="Divider_Dark Blue">
    <p:bg>
      <p:bgPr>
        <a:solidFill>
          <a:schemeClr val="accent2"/>
        </a:solidFill>
        <a:effectLst/>
      </p:bgPr>
    </p:bg>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6F4BB75-A65B-C928-4300-940A326B325A}"/>
              </a:ext>
            </a:extLst>
          </p:cNvPr>
          <p:cNvSpPr>
            <a:spLocks noGrp="1"/>
          </p:cNvSpPr>
          <p:nvPr>
            <p:ph type="title" hasCustomPrompt="1"/>
          </p:nvPr>
        </p:nvSpPr>
        <p:spPr bwMode="gray">
          <a:xfrm>
            <a:off x="515937" y="2673350"/>
            <a:ext cx="7056438" cy="1795556"/>
          </a:xfrm>
        </p:spPr>
        <p:txBody>
          <a:bodyPr wrap="square"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Divider slide title</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3 lines maximum lorem ipsum dolor sit </a:t>
            </a:r>
            <a:r>
              <a:rPr lang="en-US" sz="4800" spc="-110" err="1">
                <a:solidFill>
                  <a:srgbClr val="FFFFFE"/>
                </a:solidFill>
                <a:ea typeface="Alfabet" pitchFamily="2" charset="0"/>
                <a:cs typeface="Microsoft Sans Serif" panose="020B0604020202020204" pitchFamily="34" charset="0"/>
              </a:rPr>
              <a:t>amet</a:t>
            </a:r>
            <a:endParaRPr lang="en-US" sz="4800" spc="-110">
              <a:solidFill>
                <a:srgbClr val="FFFFFE"/>
              </a:solidFill>
              <a:ea typeface="Alfabet" pitchFamily="2" charset="0"/>
              <a:cs typeface="Microsoft Sans Serif" panose="020B0604020202020204" pitchFamily="34" charset="0"/>
            </a:endParaRPr>
          </a:p>
        </p:txBody>
      </p:sp>
      <p:pic>
        <p:nvPicPr>
          <p:cNvPr id="3" name="Graphic 2">
            <a:extLst>
              <a:ext uri="{FF2B5EF4-FFF2-40B4-BE49-F238E27FC236}">
                <a16:creationId xmlns:a16="http://schemas.microsoft.com/office/drawing/2014/main" id="{5FCC5857-127B-92B1-127D-549E125A84B7}"/>
              </a:ext>
            </a:extLst>
          </p:cNvPr>
          <p:cNvPicPr>
            <a:picLocks noChangeAspect="1"/>
          </p:cNvPicPr>
          <p:nvPr userDrawn="1"/>
        </p:nvPicPr>
        <p:blipFill>
          <a:blip r:embed="rId2">
            <a:extLst>
              <a:ext uri="{96DAC541-7B7A-43D3-8B79-37D633B846F1}">
                <asvg:svgBlip xmlns:asvg="http://schemas.microsoft.com/office/drawing/2016/SVG/main" r:embed="rId3"/>
              </a:ext>
            </a:extLst>
          </a:blip>
          <a:srcRect t="7956"/>
          <a:stretch>
            <a:fillRect/>
          </a:stretch>
        </p:blipFill>
        <p:spPr>
          <a:xfrm rot="19262939" flipV="1">
            <a:off x="7414009" y="2577117"/>
            <a:ext cx="5592194" cy="5147262"/>
          </a:xfrm>
          <a:custGeom>
            <a:avLst/>
            <a:gdLst>
              <a:gd name="connsiteX0" fmla="*/ 2936118 w 5592194"/>
              <a:gd name="connsiteY0" fmla="*/ 5147261 h 5147262"/>
              <a:gd name="connsiteX1" fmla="*/ 5592194 w 5592194"/>
              <a:gd name="connsiteY1" fmla="*/ 3000171 h 5147262"/>
              <a:gd name="connsiteX2" fmla="*/ 5592194 w 5592194"/>
              <a:gd name="connsiteY2" fmla="*/ 2879976 h 5147262"/>
              <a:gd name="connsiteX3" fmla="*/ 3264109 w 5592194"/>
              <a:gd name="connsiteY3" fmla="*/ 0 h 5147262"/>
              <a:gd name="connsiteX4" fmla="*/ 0 w 5592194"/>
              <a:gd name="connsiteY4" fmla="*/ 2638607 h 5147262"/>
              <a:gd name="connsiteX5" fmla="*/ 0 w 5592194"/>
              <a:gd name="connsiteY5" fmla="*/ 3023965 h 5147262"/>
              <a:gd name="connsiteX6" fmla="*/ 1716408 w 5592194"/>
              <a:gd name="connsiteY6" fmla="*/ 5147262 h 514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2194" h="5147262">
                <a:moveTo>
                  <a:pt x="2936118" y="5147261"/>
                </a:moveTo>
                <a:lnTo>
                  <a:pt x="5592194" y="3000171"/>
                </a:lnTo>
                <a:lnTo>
                  <a:pt x="5592194" y="2879976"/>
                </a:lnTo>
                <a:lnTo>
                  <a:pt x="3264109" y="0"/>
                </a:lnTo>
                <a:lnTo>
                  <a:pt x="0" y="2638607"/>
                </a:lnTo>
                <a:lnTo>
                  <a:pt x="0" y="3023965"/>
                </a:lnTo>
                <a:lnTo>
                  <a:pt x="1716408" y="5147262"/>
                </a:lnTo>
                <a:close/>
              </a:path>
            </a:pathLst>
          </a:custGeom>
        </p:spPr>
      </p:pic>
      <p:pic>
        <p:nvPicPr>
          <p:cNvPr id="6" name="Picture 2">
            <a:extLst>
              <a:ext uri="{FF2B5EF4-FFF2-40B4-BE49-F238E27FC236}">
                <a16:creationId xmlns:a16="http://schemas.microsoft.com/office/drawing/2014/main" id="{B4CD1440-8C09-3A2A-5025-11244190A58A}"/>
              </a:ext>
            </a:extLst>
          </p:cNvPr>
          <p:cNvPicPr>
            <a:picLocks noChangeAspect="1" noChangeArrowheads="1"/>
          </p:cNvPicPr>
          <p:nvPr userDrawn="1"/>
        </p:nvPicPr>
        <p:blipFill rotWithShape="1">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r="83264"/>
          <a:stretch/>
        </p:blipFill>
        <p:spPr bwMode="auto">
          <a:xfrm>
            <a:off x="9920889" y="4823714"/>
            <a:ext cx="938292" cy="1029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06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4770">
          <p15:clr>
            <a:srgbClr val="FBAE4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preserve="1" userDrawn="1">
  <p:cSld name="Divider_Qualcomm Blue">
    <p:bg>
      <p:bgPr>
        <a:solidFill>
          <a:schemeClr val="accent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3BA59318-1AE9-0D73-E563-6D4B033B5D6F}"/>
              </a:ext>
            </a:extLst>
          </p:cNvPr>
          <p:cNvSpPr>
            <a:spLocks noGrp="1"/>
          </p:cNvSpPr>
          <p:nvPr>
            <p:ph type="title" hasCustomPrompt="1"/>
          </p:nvPr>
        </p:nvSpPr>
        <p:spPr bwMode="gray">
          <a:xfrm>
            <a:off x="515937" y="2673350"/>
            <a:ext cx="7056438" cy="1795556"/>
          </a:xfrm>
        </p:spPr>
        <p:txBody>
          <a:bodyPr wrap="square"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dirty="0">
                <a:solidFill>
                  <a:schemeClr val="tx1"/>
                </a:solidFill>
                <a:latin typeface="Aptos" panose="020B0004020202020204" pitchFamily="34" charset="0"/>
                <a:ea typeface="Alfabet" pitchFamily="2" charset="0"/>
                <a:cs typeface="Microsoft Sans Serif" panose="020B0604020202020204" pitchFamily="34" charset="0"/>
              </a:defRPr>
            </a:lvl1pPr>
          </a:lstStyle>
          <a:p>
            <a:r>
              <a:rPr lang="en-US" sz="4800" spc="-110">
                <a:solidFill>
                  <a:srgbClr val="FFFFFE"/>
                </a:solidFill>
                <a:ea typeface="Alfabet" pitchFamily="2" charset="0"/>
                <a:cs typeface="Microsoft Sans Serif" panose="020B0604020202020204" pitchFamily="34" charset="0"/>
              </a:rPr>
              <a:t>Divider slide title </a:t>
            </a:r>
            <a:br>
              <a:rPr lang="en-US" sz="4800" spc="-110">
                <a:solidFill>
                  <a:srgbClr val="FFFFFE"/>
                </a:solidFill>
                <a:ea typeface="Alfabet" pitchFamily="2" charset="0"/>
                <a:cs typeface="Microsoft Sans Serif" panose="020B0604020202020204" pitchFamily="34" charset="0"/>
              </a:rPr>
            </a:br>
            <a:r>
              <a:rPr lang="en-US" sz="4800" spc="-110">
                <a:solidFill>
                  <a:srgbClr val="FFFFFE"/>
                </a:solidFill>
                <a:ea typeface="Alfabet" pitchFamily="2" charset="0"/>
                <a:cs typeface="Microsoft Sans Serif" panose="020B0604020202020204" pitchFamily="34" charset="0"/>
              </a:rPr>
              <a:t>3 lines maximum lorem ipsum dolor sit </a:t>
            </a:r>
            <a:r>
              <a:rPr lang="en-US" sz="4800" spc="-110" err="1">
                <a:solidFill>
                  <a:srgbClr val="FFFFFE"/>
                </a:solidFill>
                <a:ea typeface="Alfabet" pitchFamily="2" charset="0"/>
                <a:cs typeface="Microsoft Sans Serif" panose="020B0604020202020204" pitchFamily="34" charset="0"/>
              </a:rPr>
              <a:t>amet</a:t>
            </a:r>
            <a:endParaRPr lang="en-US" sz="4800" spc="-110">
              <a:solidFill>
                <a:srgbClr val="FFFFFE"/>
              </a:solidFill>
              <a:ea typeface="Alfabet" pitchFamily="2" charset="0"/>
              <a:cs typeface="Microsoft Sans Serif" panose="020B0604020202020204" pitchFamily="34" charset="0"/>
            </a:endParaRPr>
          </a:p>
        </p:txBody>
      </p:sp>
      <p:pic>
        <p:nvPicPr>
          <p:cNvPr id="5" name="Graphic 4">
            <a:extLst>
              <a:ext uri="{FF2B5EF4-FFF2-40B4-BE49-F238E27FC236}">
                <a16:creationId xmlns:a16="http://schemas.microsoft.com/office/drawing/2014/main" id="{D0243FD1-3C4D-4017-97D3-97AAAB1E08EB}"/>
              </a:ext>
            </a:extLst>
          </p:cNvPr>
          <p:cNvPicPr>
            <a:picLocks noChangeAspect="1"/>
          </p:cNvPicPr>
          <p:nvPr userDrawn="1"/>
        </p:nvPicPr>
        <p:blipFill>
          <a:blip r:embed="rId2">
            <a:extLst>
              <a:ext uri="{96DAC541-7B7A-43D3-8B79-37D633B846F1}">
                <asvg:svgBlip xmlns:asvg="http://schemas.microsoft.com/office/drawing/2016/SVG/main" r:embed="rId3"/>
              </a:ext>
            </a:extLst>
          </a:blip>
          <a:srcRect t="7956"/>
          <a:stretch>
            <a:fillRect/>
          </a:stretch>
        </p:blipFill>
        <p:spPr>
          <a:xfrm rot="19262939" flipV="1">
            <a:off x="7414009" y="2577117"/>
            <a:ext cx="5592194" cy="5147262"/>
          </a:xfrm>
          <a:custGeom>
            <a:avLst/>
            <a:gdLst>
              <a:gd name="connsiteX0" fmla="*/ 2936118 w 5592194"/>
              <a:gd name="connsiteY0" fmla="*/ 5147261 h 5147262"/>
              <a:gd name="connsiteX1" fmla="*/ 5592194 w 5592194"/>
              <a:gd name="connsiteY1" fmla="*/ 3000171 h 5147262"/>
              <a:gd name="connsiteX2" fmla="*/ 5592194 w 5592194"/>
              <a:gd name="connsiteY2" fmla="*/ 2879976 h 5147262"/>
              <a:gd name="connsiteX3" fmla="*/ 3264109 w 5592194"/>
              <a:gd name="connsiteY3" fmla="*/ 0 h 5147262"/>
              <a:gd name="connsiteX4" fmla="*/ 0 w 5592194"/>
              <a:gd name="connsiteY4" fmla="*/ 2638607 h 5147262"/>
              <a:gd name="connsiteX5" fmla="*/ 0 w 5592194"/>
              <a:gd name="connsiteY5" fmla="*/ 3023965 h 5147262"/>
              <a:gd name="connsiteX6" fmla="*/ 1716408 w 5592194"/>
              <a:gd name="connsiteY6" fmla="*/ 5147262 h 514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2194" h="5147262">
                <a:moveTo>
                  <a:pt x="2936118" y="5147261"/>
                </a:moveTo>
                <a:lnTo>
                  <a:pt x="5592194" y="3000171"/>
                </a:lnTo>
                <a:lnTo>
                  <a:pt x="5592194" y="2879976"/>
                </a:lnTo>
                <a:lnTo>
                  <a:pt x="3264109" y="0"/>
                </a:lnTo>
                <a:lnTo>
                  <a:pt x="0" y="2638607"/>
                </a:lnTo>
                <a:lnTo>
                  <a:pt x="0" y="3023965"/>
                </a:lnTo>
                <a:lnTo>
                  <a:pt x="1716408" y="5147262"/>
                </a:lnTo>
                <a:close/>
              </a:path>
            </a:pathLst>
          </a:custGeom>
        </p:spPr>
      </p:pic>
      <p:pic>
        <p:nvPicPr>
          <p:cNvPr id="6" name="Picture 2">
            <a:extLst>
              <a:ext uri="{FF2B5EF4-FFF2-40B4-BE49-F238E27FC236}">
                <a16:creationId xmlns:a16="http://schemas.microsoft.com/office/drawing/2014/main" id="{4349F65B-6B2B-D03F-2060-AF18427437B5}"/>
              </a:ext>
            </a:extLst>
          </p:cNvPr>
          <p:cNvPicPr>
            <a:picLocks noChangeAspect="1" noChangeArrowheads="1"/>
          </p:cNvPicPr>
          <p:nvPr userDrawn="1"/>
        </p:nvPicPr>
        <p:blipFill rotWithShape="1">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r="83264"/>
          <a:stretch/>
        </p:blipFill>
        <p:spPr bwMode="auto">
          <a:xfrm>
            <a:off x="9920889" y="4823714"/>
            <a:ext cx="938292" cy="1029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63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4770">
          <p15:clr>
            <a:srgbClr val="FBAE4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showMasterSp="0" preserve="1" userDrawn="1">
  <p:cSld name="Divider_Light Grey">
    <p:bg>
      <p:bgPr>
        <a:solidFill>
          <a:srgbClr val="EFF1F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2CB9B-0078-BC2B-5AAC-4C2115035721}"/>
              </a:ext>
            </a:extLst>
          </p:cNvPr>
          <p:cNvPicPr>
            <a:picLocks noChangeAspect="1" noChangeArrowheads="1"/>
          </p:cNvPicPr>
          <p:nvPr userDrawn="1"/>
        </p:nvPicPr>
        <p:blipFill rotWithShape="1">
          <a:blip r:embed="rId2">
            <a:extLst>
              <a:ext uri="{96DAC541-7B7A-43D3-8B79-37D633B846F1}">
                <asvg:svgBlip xmlns:asvg="http://schemas.microsoft.com/office/drawing/2016/SVG/main" r:embed="rId3"/>
              </a:ext>
            </a:extLst>
          </a:blip>
          <a:srcRect t="-1567" b="-1567"/>
          <a:stretch/>
        </p:blipFill>
        <p:spPr bwMode="auto">
          <a:xfrm>
            <a:off x="9924064" y="4805346"/>
            <a:ext cx="894630" cy="1062179"/>
          </a:xfrm>
          <a:prstGeom prst="rect">
            <a:avLst/>
          </a:prstGeom>
          <a:noFill/>
        </p:spPr>
      </p:pic>
      <p:sp>
        <p:nvSpPr>
          <p:cNvPr id="4" name="Title 2">
            <a:extLst>
              <a:ext uri="{FF2B5EF4-FFF2-40B4-BE49-F238E27FC236}">
                <a16:creationId xmlns:a16="http://schemas.microsoft.com/office/drawing/2014/main" id="{3BA59318-1AE9-0D73-E563-6D4B033B5D6F}"/>
              </a:ext>
            </a:extLst>
          </p:cNvPr>
          <p:cNvSpPr>
            <a:spLocks noGrp="1"/>
          </p:cNvSpPr>
          <p:nvPr>
            <p:ph type="title" hasCustomPrompt="1"/>
          </p:nvPr>
        </p:nvSpPr>
        <p:spPr bwMode="gray">
          <a:xfrm>
            <a:off x="515937" y="2673350"/>
            <a:ext cx="7056438" cy="1795556"/>
          </a:xfrm>
        </p:spPr>
        <p:txBody>
          <a:bodyPr wrap="square"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4800" kern="1200" spc="0" dirty="0">
                <a:solidFill>
                  <a:schemeClr val="accent1"/>
                </a:solidFill>
                <a:latin typeface="Aptos" panose="020B0004020202020204" pitchFamily="34" charset="0"/>
                <a:ea typeface="Alfabet" pitchFamily="2" charset="0"/>
                <a:cs typeface="Microsoft Sans Serif" panose="020B0604020202020204" pitchFamily="34" charset="0"/>
              </a:defRPr>
            </a:lvl1pPr>
          </a:lstStyle>
          <a:p>
            <a:r>
              <a:rPr lang="en-US"/>
              <a:t>Divider slide title</a:t>
            </a:r>
            <a:br>
              <a:rPr lang="en-US"/>
            </a:br>
            <a:r>
              <a:rPr lang="en-US"/>
              <a:t>3 lines maximum lorem ipsum dolor sit </a:t>
            </a:r>
            <a:r>
              <a:rPr lang="en-US" err="1"/>
              <a:t>amet</a:t>
            </a:r>
            <a:endParaRPr lang="en-US" sz="4800" spc="-110">
              <a:solidFill>
                <a:srgbClr val="FFFFFE"/>
              </a:solidFill>
              <a:ea typeface="Alfabet" pitchFamily="2" charset="0"/>
              <a:cs typeface="Microsoft Sans Serif" panose="020B0604020202020204" pitchFamily="34" charset="0"/>
            </a:endParaRPr>
          </a:p>
        </p:txBody>
      </p:sp>
      <p:pic>
        <p:nvPicPr>
          <p:cNvPr id="5" name="Graphic 4">
            <a:extLst>
              <a:ext uri="{FF2B5EF4-FFF2-40B4-BE49-F238E27FC236}">
                <a16:creationId xmlns:a16="http://schemas.microsoft.com/office/drawing/2014/main" id="{D0243FD1-3C4D-4017-97D3-97AAAB1E08EB}"/>
              </a:ext>
            </a:extLst>
          </p:cNvPr>
          <p:cNvPicPr>
            <a:picLocks noChangeAspect="1"/>
          </p:cNvPicPr>
          <p:nvPr userDrawn="1"/>
        </p:nvPicPr>
        <p:blipFill>
          <a:blip r:embed="rId4">
            <a:extLst>
              <a:ext uri="{96DAC541-7B7A-43D3-8B79-37D633B846F1}">
                <asvg:svgBlip xmlns:asvg="http://schemas.microsoft.com/office/drawing/2016/SVG/main" r:embed="rId5"/>
              </a:ext>
            </a:extLst>
          </a:blip>
          <a:srcRect t="7956"/>
          <a:stretch>
            <a:fillRect/>
          </a:stretch>
        </p:blipFill>
        <p:spPr>
          <a:xfrm rot="19262939" flipV="1">
            <a:off x="7414009" y="2577117"/>
            <a:ext cx="5592194" cy="5147262"/>
          </a:xfrm>
          <a:custGeom>
            <a:avLst/>
            <a:gdLst>
              <a:gd name="connsiteX0" fmla="*/ 2936118 w 5592194"/>
              <a:gd name="connsiteY0" fmla="*/ 5147261 h 5147262"/>
              <a:gd name="connsiteX1" fmla="*/ 5592194 w 5592194"/>
              <a:gd name="connsiteY1" fmla="*/ 3000171 h 5147262"/>
              <a:gd name="connsiteX2" fmla="*/ 5592194 w 5592194"/>
              <a:gd name="connsiteY2" fmla="*/ 2879976 h 5147262"/>
              <a:gd name="connsiteX3" fmla="*/ 3264109 w 5592194"/>
              <a:gd name="connsiteY3" fmla="*/ 0 h 5147262"/>
              <a:gd name="connsiteX4" fmla="*/ 0 w 5592194"/>
              <a:gd name="connsiteY4" fmla="*/ 2638607 h 5147262"/>
              <a:gd name="connsiteX5" fmla="*/ 0 w 5592194"/>
              <a:gd name="connsiteY5" fmla="*/ 3023965 h 5147262"/>
              <a:gd name="connsiteX6" fmla="*/ 1716408 w 5592194"/>
              <a:gd name="connsiteY6" fmla="*/ 5147262 h 514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2194" h="5147262">
                <a:moveTo>
                  <a:pt x="2936118" y="5147261"/>
                </a:moveTo>
                <a:lnTo>
                  <a:pt x="5592194" y="3000171"/>
                </a:lnTo>
                <a:lnTo>
                  <a:pt x="5592194" y="2879976"/>
                </a:lnTo>
                <a:lnTo>
                  <a:pt x="3264109" y="0"/>
                </a:lnTo>
                <a:lnTo>
                  <a:pt x="0" y="2638607"/>
                </a:lnTo>
                <a:lnTo>
                  <a:pt x="0" y="3023965"/>
                </a:lnTo>
                <a:lnTo>
                  <a:pt x="1716408" y="5147262"/>
                </a:lnTo>
                <a:close/>
              </a:path>
            </a:pathLst>
          </a:custGeom>
        </p:spPr>
      </p:pic>
    </p:spTree>
    <p:extLst>
      <p:ext uri="{BB962C8B-B14F-4D97-AF65-F5344CB8AC3E}">
        <p14:creationId xmlns:p14="http://schemas.microsoft.com/office/powerpoint/2010/main" val="95427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47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8814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234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hank you_Dark Blue">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8D38E5-491C-399E-B737-E4CB35E93811}"/>
              </a:ext>
            </a:extLst>
          </p:cNvPr>
          <p:cNvSpPr txBox="1"/>
          <p:nvPr userDrawn="1"/>
        </p:nvSpPr>
        <p:spPr bwMode="gray">
          <a:xfrm>
            <a:off x="343609" y="2435884"/>
            <a:ext cx="8725779" cy="130125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9600" u="none" strike="noStrike" kern="1200" cap="none" spc="-300" normalizeH="0" noProof="0">
                <a:ln>
                  <a:noFill/>
                </a:ln>
                <a:effectLst/>
                <a:uLnTx/>
                <a:uFillTx/>
                <a:latin typeface="Aptos" panose="020B0004020202020204" pitchFamily="34" charset="0"/>
                <a:ea typeface="Alfabet" pitchFamily="2" charset="0"/>
              </a:rPr>
              <a:t>T</a:t>
            </a:r>
            <a:r>
              <a:rPr kumimoji="0" lang="en-US" sz="9600" u="none" strike="noStrike" kern="1200" cap="none" spc="-300" normalizeH="0" baseline="0" noProof="0">
                <a:ln>
                  <a:noFill/>
                </a:ln>
                <a:effectLst/>
                <a:uLnTx/>
                <a:uFillTx/>
                <a:latin typeface="Aptos" panose="020B0004020202020204" pitchFamily="34" charset="0"/>
                <a:ea typeface="Alfabet" pitchFamily="2" charset="0"/>
              </a:rPr>
              <a:t>h</a:t>
            </a:r>
            <a:r>
              <a:rPr kumimoji="0" lang="en-US" sz="9600" u="none" strike="noStrike" kern="1200" cap="none" spc="-600" normalizeH="0" noProof="0">
                <a:ln>
                  <a:noFill/>
                </a:ln>
                <a:effectLst/>
                <a:uLnTx/>
                <a:uFillTx/>
                <a:latin typeface="Aptos" panose="020B0004020202020204" pitchFamily="34" charset="0"/>
                <a:ea typeface="Alfabet" pitchFamily="2" charset="0"/>
              </a:rPr>
              <a:t>a</a:t>
            </a:r>
            <a:r>
              <a:rPr kumimoji="0" lang="en-US" sz="9600" u="none" strike="noStrike" kern="1200" cap="none" spc="-450" normalizeH="0" noProof="0">
                <a:ln>
                  <a:noFill/>
                </a:ln>
                <a:effectLst/>
                <a:uLnTx/>
                <a:uFillTx/>
                <a:latin typeface="Aptos" panose="020B0004020202020204" pitchFamily="34" charset="0"/>
                <a:ea typeface="Alfabet" pitchFamily="2" charset="0"/>
              </a:rPr>
              <a:t>n</a:t>
            </a:r>
            <a:r>
              <a:rPr kumimoji="0" lang="en-US" sz="9600" u="none" strike="noStrike" kern="1200" cap="none" spc="-600" normalizeH="0" noProof="0">
                <a:ln>
                  <a:noFill/>
                </a:ln>
                <a:effectLst/>
                <a:uLnTx/>
                <a:uFillTx/>
                <a:latin typeface="Aptos" panose="020B0004020202020204" pitchFamily="34" charset="0"/>
                <a:ea typeface="Alfabet" pitchFamily="2" charset="0"/>
              </a:rPr>
              <a:t>k  </a:t>
            </a:r>
            <a:r>
              <a:rPr kumimoji="0" lang="en-US" sz="9600" u="none" strike="noStrike" kern="1200" cap="none" spc="-80" normalizeH="0" noProof="0">
                <a:ln>
                  <a:noFill/>
                </a:ln>
                <a:effectLst/>
                <a:uLnTx/>
                <a:uFillTx/>
                <a:latin typeface="Aptos" panose="020B0004020202020204" pitchFamily="34" charset="0"/>
                <a:ea typeface="Alfabet" pitchFamily="2" charset="0"/>
              </a:rPr>
              <a:t>y</a:t>
            </a:r>
            <a:r>
              <a:rPr lang="en-US" sz="9600" spc="-300">
                <a:latin typeface="Aptos" panose="020B0004020202020204" pitchFamily="34" charset="0"/>
                <a:ea typeface="Alfabet" pitchFamily="2" charset="0"/>
              </a:rPr>
              <a:t>o</a:t>
            </a:r>
            <a:r>
              <a:rPr kumimoji="0" lang="en-US" sz="9600" u="none" strike="noStrike" kern="1200" cap="none" spc="-300" normalizeH="0" noProof="0">
                <a:ln>
                  <a:noFill/>
                </a:ln>
                <a:effectLst/>
                <a:uLnTx/>
                <a:uFillTx/>
                <a:latin typeface="Aptos" panose="020B0004020202020204" pitchFamily="34" charset="0"/>
                <a:ea typeface="Alfabet" pitchFamily="2" charset="0"/>
              </a:rPr>
              <a:t>u</a:t>
            </a:r>
          </a:p>
        </p:txBody>
      </p:sp>
      <p:sp>
        <p:nvSpPr>
          <p:cNvPr id="4" name="TextBox 3">
            <a:extLst>
              <a:ext uri="{FF2B5EF4-FFF2-40B4-BE49-F238E27FC236}">
                <a16:creationId xmlns:a16="http://schemas.microsoft.com/office/drawing/2014/main" id="{58C904C5-CF09-901C-0409-22AE7AA4BACE}"/>
              </a:ext>
            </a:extLst>
          </p:cNvPr>
          <p:cNvSpPr txBox="1"/>
          <p:nvPr userDrawn="1"/>
        </p:nvSpPr>
        <p:spPr bwMode="gray">
          <a:xfrm>
            <a:off x="480927" y="3934635"/>
            <a:ext cx="3789063" cy="65402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Nothing in these 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Qualcomm Technologies, Inc. and/or its affiliated 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Qualcomm</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and</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napdragon</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are</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trademark</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or registered trademark</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of Qualcomm Incorporated. </a:t>
            </a:r>
            <a:b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Other products and brand names may be trademarks or registered trademarks of their respective owners.</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endParaRPr>
          </a:p>
        </p:txBody>
      </p:sp>
      <p:sp>
        <p:nvSpPr>
          <p:cNvPr id="5" name="TextBox 4">
            <a:extLst>
              <a:ext uri="{FF2B5EF4-FFF2-40B4-BE49-F238E27FC236}">
                <a16:creationId xmlns:a16="http://schemas.microsoft.com/office/drawing/2014/main" id="{9AD3167D-B67D-2259-C2CB-D5F07DD61617}"/>
              </a:ext>
            </a:extLst>
          </p:cNvPr>
          <p:cNvSpPr txBox="1"/>
          <p:nvPr userDrawn="1"/>
        </p:nvSpPr>
        <p:spPr bwMode="gray">
          <a:xfrm>
            <a:off x="480927" y="4751064"/>
            <a:ext cx="4172353" cy="1002839"/>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References in this presentation to “Qualcomm” may mean Qualcomm Incorporated,</a:t>
            </a:r>
            <a:b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Qualcomm Technologies, Inc., and/or other subsidiaries or business units within</a:t>
            </a:r>
            <a:b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Snapdragon and Qualcomm branded products are products of Qualcomm Technologies, Inc. and/or its subsidiaries. Qualcomm patented technologies are licensed by Qualcomm Incorporated. </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650" u="none" strike="noStrike" kern="1200" cap="none" spc="0" normalizeH="0" baseline="0" noProof="0">
              <a:ln>
                <a:noFill/>
              </a:ln>
              <a:effectLst/>
              <a:uLnTx/>
              <a:uFillTx/>
              <a:latin typeface="Aptos" panose="020B0004020202020204" pitchFamily="34" charset="0"/>
              <a:ea typeface="Alfabet" pitchFamily="2" charset="0"/>
              <a:cs typeface="+mn-cs"/>
            </a:endParaRPr>
          </a:p>
        </p:txBody>
      </p:sp>
      <p:sp>
        <p:nvSpPr>
          <p:cNvPr id="6" name="TextBox 5">
            <a:extLst>
              <a:ext uri="{FF2B5EF4-FFF2-40B4-BE49-F238E27FC236}">
                <a16:creationId xmlns:a16="http://schemas.microsoft.com/office/drawing/2014/main" id="{D6733015-9BF4-02D9-2D5A-6B82CB5A8E11}"/>
              </a:ext>
            </a:extLst>
          </p:cNvPr>
          <p:cNvSpPr txBox="1"/>
          <p:nvPr userDrawn="1"/>
        </p:nvSpPr>
        <p:spPr bwMode="gray">
          <a:xfrm>
            <a:off x="481013" y="6100661"/>
            <a:ext cx="3127218" cy="150362"/>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Follow us on:</a:t>
            </a:r>
          </a:p>
        </p:txBody>
      </p:sp>
      <p:sp>
        <p:nvSpPr>
          <p:cNvPr id="7" name="TextBox 6">
            <a:extLst>
              <a:ext uri="{FF2B5EF4-FFF2-40B4-BE49-F238E27FC236}">
                <a16:creationId xmlns:a16="http://schemas.microsoft.com/office/drawing/2014/main" id="{CAFD8E40-2929-3D88-B76D-DD16806A308C}"/>
              </a:ext>
            </a:extLst>
          </p:cNvPr>
          <p:cNvSpPr txBox="1"/>
          <p:nvPr userDrawn="1"/>
        </p:nvSpPr>
        <p:spPr>
          <a:xfrm>
            <a:off x="389712" y="6209771"/>
            <a:ext cx="4184203" cy="242374"/>
          </a:xfrm>
          <a:prstGeom prst="rect">
            <a:avLst/>
          </a:prstGeom>
          <a:noFill/>
        </p:spPr>
        <p:txBody>
          <a:bodyPr wrap="square">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For more information, visit us at </a:t>
            </a:r>
            <a:r>
              <a:rPr kumimoji="0" lang="en-US" sz="900" u="none" strike="noStrike" kern="1200" cap="none" spc="0" normalizeH="0" baseline="0" noProof="0" err="1">
                <a:ln>
                  <a:noFill/>
                </a:ln>
                <a:effectLst/>
                <a:uLnTx/>
                <a:uFillTx/>
                <a:latin typeface="Aptos" panose="020B0004020202020204" pitchFamily="34" charset="0"/>
                <a:ea typeface="Alfabet" pitchFamily="2" charset="0"/>
                <a:cs typeface="+mn-cs"/>
              </a:rPr>
              <a:t>qualcomm.com</a:t>
            </a: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 &amp; </a:t>
            </a:r>
            <a:r>
              <a:rPr kumimoji="0" lang="en-US" sz="900" u="none" strike="noStrike" kern="1200" cap="none" spc="0" normalizeH="0" baseline="0" noProof="0" err="1">
                <a:ln>
                  <a:noFill/>
                </a:ln>
                <a:effectLst/>
                <a:uLnTx/>
                <a:uFillTx/>
                <a:latin typeface="Aptos" panose="020B0004020202020204" pitchFamily="34" charset="0"/>
                <a:ea typeface="Alfabet" pitchFamily="2" charset="0"/>
                <a:cs typeface="+mn-cs"/>
              </a:rPr>
              <a:t>qualcomm.com</a:t>
            </a: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blog</a:t>
            </a:r>
          </a:p>
        </p:txBody>
      </p:sp>
      <p:grpSp>
        <p:nvGrpSpPr>
          <p:cNvPr id="8" name="Group 7">
            <a:extLst>
              <a:ext uri="{FF2B5EF4-FFF2-40B4-BE49-F238E27FC236}">
                <a16:creationId xmlns:a16="http://schemas.microsoft.com/office/drawing/2014/main" id="{DC2BA5B9-32D0-B4D3-31C5-940933363930}"/>
              </a:ext>
            </a:extLst>
          </p:cNvPr>
          <p:cNvGrpSpPr/>
          <p:nvPr userDrawn="1"/>
        </p:nvGrpSpPr>
        <p:grpSpPr>
          <a:xfrm>
            <a:off x="1205032" y="6126885"/>
            <a:ext cx="817893" cy="93682"/>
            <a:chOff x="1300130" y="6126885"/>
            <a:chExt cx="817893" cy="93682"/>
          </a:xfrm>
        </p:grpSpPr>
        <p:grpSp>
          <p:nvGrpSpPr>
            <p:cNvPr id="9" name="Group 5">
              <a:extLst>
                <a:ext uri="{FF2B5EF4-FFF2-40B4-BE49-F238E27FC236}">
                  <a16:creationId xmlns:a16="http://schemas.microsoft.com/office/drawing/2014/main" id="{3BF5268F-6D68-1917-4372-D995E148B3D8}"/>
                </a:ext>
              </a:extLst>
            </p:cNvPr>
            <p:cNvGrpSpPr>
              <a:grpSpLocks noChangeAspect="1"/>
            </p:cNvGrpSpPr>
            <p:nvPr/>
          </p:nvGrpSpPr>
          <p:grpSpPr bwMode="gray">
            <a:xfrm>
              <a:off x="1300130" y="6126885"/>
              <a:ext cx="94798" cy="93682"/>
              <a:chOff x="3331" y="1656"/>
              <a:chExt cx="1020" cy="1008"/>
            </a:xfrm>
            <a:solidFill>
              <a:schemeClr val="tx1"/>
            </a:solidFill>
          </p:grpSpPr>
          <p:sp>
            <p:nvSpPr>
              <p:cNvPr id="17" name="Freeform 6">
                <a:extLst>
                  <a:ext uri="{FF2B5EF4-FFF2-40B4-BE49-F238E27FC236}">
                    <a16:creationId xmlns:a16="http://schemas.microsoft.com/office/drawing/2014/main" id="{3B4391A0-4D50-9169-D3E1-D5541F0F6095}"/>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a:ln>
                    <a:noFill/>
                  </a:ln>
                  <a:effectLst/>
                  <a:uLnTx/>
                  <a:uFillTx/>
                  <a:latin typeface="Aptos" panose="020B0004020202020204" pitchFamily="34" charset="0"/>
                  <a:ea typeface="Alfabet" pitchFamily="2" charset="0"/>
                  <a:cs typeface="+mn-cs"/>
                </a:endParaRPr>
              </a:p>
            </p:txBody>
          </p:sp>
          <p:sp>
            <p:nvSpPr>
              <p:cNvPr id="18" name="Freeform 7">
                <a:extLst>
                  <a:ext uri="{FF2B5EF4-FFF2-40B4-BE49-F238E27FC236}">
                    <a16:creationId xmlns:a16="http://schemas.microsoft.com/office/drawing/2014/main" id="{40BEAF68-D3D4-D207-309D-6001397EE34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a:ln>
                    <a:noFill/>
                  </a:ln>
                  <a:effectLst/>
                  <a:uLnTx/>
                  <a:uFillTx/>
                  <a:latin typeface="Aptos" panose="020B0004020202020204" pitchFamily="34" charset="0"/>
                  <a:ea typeface="Alfabet" pitchFamily="2" charset="0"/>
                  <a:cs typeface="+mn-cs"/>
                </a:endParaRPr>
              </a:p>
            </p:txBody>
          </p:sp>
        </p:grpSp>
        <p:grpSp>
          <p:nvGrpSpPr>
            <p:cNvPr id="10" name="Group 4">
              <a:extLst>
                <a:ext uri="{FF2B5EF4-FFF2-40B4-BE49-F238E27FC236}">
                  <a16:creationId xmlns:a16="http://schemas.microsoft.com/office/drawing/2014/main" id="{274B1A01-2610-8398-DC38-5F6C0A50AF64}"/>
                </a:ext>
              </a:extLst>
            </p:cNvPr>
            <p:cNvGrpSpPr>
              <a:grpSpLocks noChangeAspect="1"/>
            </p:cNvGrpSpPr>
            <p:nvPr/>
          </p:nvGrpSpPr>
          <p:grpSpPr bwMode="auto">
            <a:xfrm>
              <a:off x="1640695" y="6127230"/>
              <a:ext cx="92914" cy="92992"/>
              <a:chOff x="2653" y="972"/>
              <a:chExt cx="2372" cy="2374"/>
            </a:xfrm>
            <a:solidFill>
              <a:schemeClr val="tx1"/>
            </a:solidFill>
          </p:grpSpPr>
          <p:sp>
            <p:nvSpPr>
              <p:cNvPr id="14" name="Freeform 5">
                <a:extLst>
                  <a:ext uri="{FF2B5EF4-FFF2-40B4-BE49-F238E27FC236}">
                    <a16:creationId xmlns:a16="http://schemas.microsoft.com/office/drawing/2014/main" id="{68802D42-C0F1-DAF9-8B74-77C13FA40FE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sp>
            <p:nvSpPr>
              <p:cNvPr id="15" name="Freeform 6">
                <a:extLst>
                  <a:ext uri="{FF2B5EF4-FFF2-40B4-BE49-F238E27FC236}">
                    <a16:creationId xmlns:a16="http://schemas.microsoft.com/office/drawing/2014/main" id="{511AB5E8-AF45-535E-DBEE-21EA3AA4AC1B}"/>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sp>
            <p:nvSpPr>
              <p:cNvPr id="16" name="Oval 7">
                <a:extLst>
                  <a:ext uri="{FF2B5EF4-FFF2-40B4-BE49-F238E27FC236}">
                    <a16:creationId xmlns:a16="http://schemas.microsoft.com/office/drawing/2014/main" id="{5A2B3252-69E6-21D8-7B9C-8CACF53B9BA3}"/>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grpSp>
        <p:pic>
          <p:nvPicPr>
            <p:cNvPr id="11" name="Graphic 10">
              <a:extLst>
                <a:ext uri="{FF2B5EF4-FFF2-40B4-BE49-F238E27FC236}">
                  <a16:creationId xmlns:a16="http://schemas.microsoft.com/office/drawing/2014/main" id="{EDEA13E0-DF26-3A35-755F-EB1D2F7140E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10838" y="6131300"/>
              <a:ext cx="122931" cy="84852"/>
            </a:xfrm>
            <a:prstGeom prst="rect">
              <a:avLst/>
            </a:prstGeom>
          </p:spPr>
        </p:pic>
        <p:pic>
          <p:nvPicPr>
            <p:cNvPr id="12" name="Graphic 11">
              <a:extLst>
                <a:ext uri="{FF2B5EF4-FFF2-40B4-BE49-F238E27FC236}">
                  <a16:creationId xmlns:a16="http://schemas.microsoft.com/office/drawing/2014/main" id="{B54DF270-EBC5-95DA-8346-7100B18EC91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023789" y="6126885"/>
              <a:ext cx="94234" cy="93682"/>
            </a:xfrm>
            <a:prstGeom prst="rect">
              <a:avLst/>
            </a:prstGeom>
          </p:spPr>
        </p:pic>
        <p:pic>
          <p:nvPicPr>
            <p:cNvPr id="13" name="Graphic 12">
              <a:extLst>
                <a:ext uri="{FF2B5EF4-FFF2-40B4-BE49-F238E27FC236}">
                  <a16:creationId xmlns:a16="http://schemas.microsoft.com/office/drawing/2014/main" id="{1D7C89CA-3D39-A79E-E143-FE65F0C89E2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76872" y="6131572"/>
              <a:ext cx="84309" cy="84309"/>
            </a:xfrm>
            <a:prstGeom prst="rect">
              <a:avLst/>
            </a:prstGeom>
          </p:spPr>
        </p:pic>
      </p:grpSp>
      <p:pic>
        <p:nvPicPr>
          <p:cNvPr id="24" name="Graphic 23">
            <a:extLst>
              <a:ext uri="{FF2B5EF4-FFF2-40B4-BE49-F238E27FC236}">
                <a16:creationId xmlns:a16="http://schemas.microsoft.com/office/drawing/2014/main" id="{1EBB4BF9-FEEC-4175-585A-2715E84D1EB5}"/>
              </a:ext>
            </a:extLst>
          </p:cNvPr>
          <p:cNvPicPr>
            <a:picLocks noChangeAspect="1"/>
          </p:cNvPicPr>
          <p:nvPr/>
        </p:nvPicPr>
        <p:blipFill>
          <a:blip r:embed="rId8">
            <a:extLst>
              <a:ext uri="{96DAC541-7B7A-43D3-8B79-37D633B846F1}">
                <asvg:svgBlip xmlns:asvg="http://schemas.microsoft.com/office/drawing/2016/SVG/main" r:embed="rId9"/>
              </a:ext>
            </a:extLst>
          </a:blip>
          <a:srcRect t="31605" r="39224"/>
          <a:stretch>
            <a:fillRect/>
          </a:stretch>
        </p:blipFill>
        <p:spPr>
          <a:xfrm>
            <a:off x="6684852" y="0"/>
            <a:ext cx="5507148" cy="6197600"/>
          </a:xfrm>
          <a:custGeom>
            <a:avLst/>
            <a:gdLst>
              <a:gd name="connsiteX0" fmla="*/ 0 w 5507148"/>
              <a:gd name="connsiteY0" fmla="*/ 0 h 6197600"/>
              <a:gd name="connsiteX1" fmla="*/ 147022 w 5507148"/>
              <a:gd name="connsiteY1" fmla="*/ 0 h 6197600"/>
              <a:gd name="connsiteX2" fmla="*/ 5507148 w 5507148"/>
              <a:gd name="connsiteY2" fmla="*/ 0 h 6197600"/>
              <a:gd name="connsiteX3" fmla="*/ 5507148 w 5507148"/>
              <a:gd name="connsiteY3" fmla="*/ 6197600 h 6197600"/>
              <a:gd name="connsiteX4" fmla="*/ 0 w 5507148"/>
              <a:gd name="connsiteY4" fmla="*/ 6197600 h 619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148" h="6197600">
                <a:moveTo>
                  <a:pt x="0" y="0"/>
                </a:moveTo>
                <a:lnTo>
                  <a:pt x="147022" y="0"/>
                </a:lnTo>
                <a:lnTo>
                  <a:pt x="5507148" y="0"/>
                </a:lnTo>
                <a:lnTo>
                  <a:pt x="5507148" y="6197600"/>
                </a:lnTo>
                <a:lnTo>
                  <a:pt x="0" y="6197600"/>
                </a:lnTo>
                <a:close/>
              </a:path>
            </a:pathLst>
          </a:custGeom>
        </p:spPr>
      </p:pic>
      <p:pic>
        <p:nvPicPr>
          <p:cNvPr id="21" name="Picture 2">
            <a:extLst>
              <a:ext uri="{FF2B5EF4-FFF2-40B4-BE49-F238E27FC236}">
                <a16:creationId xmlns:a16="http://schemas.microsoft.com/office/drawing/2014/main" id="{7FDF1ADE-EF76-ABDC-A94C-B4B22DDF49A4}"/>
              </a:ext>
            </a:extLst>
          </p:cNvPr>
          <p:cNvPicPr>
            <a:picLocks noChangeAspect="1" noChangeArrowheads="1"/>
          </p:cNvPicPr>
          <p:nvPr/>
        </p:nvPicPr>
        <p:blipFill rotWithShape="1">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auto">
          <a:xfrm>
            <a:off x="10895722" y="1322746"/>
            <a:ext cx="693024" cy="760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41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hank you_Qualcomm Blue">
    <p:bg>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8D38E5-491C-399E-B737-E4CB35E93811}"/>
              </a:ext>
            </a:extLst>
          </p:cNvPr>
          <p:cNvSpPr txBox="1"/>
          <p:nvPr userDrawn="1"/>
        </p:nvSpPr>
        <p:spPr bwMode="gray">
          <a:xfrm>
            <a:off x="343609" y="2435884"/>
            <a:ext cx="8725779" cy="130125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9600" u="none" strike="noStrike" kern="1200" cap="none" spc="-300" normalizeH="0" noProof="0">
                <a:ln>
                  <a:noFill/>
                </a:ln>
                <a:effectLst/>
                <a:uLnTx/>
                <a:uFillTx/>
                <a:latin typeface="Aptos" panose="020B0004020202020204" pitchFamily="34" charset="0"/>
                <a:ea typeface="Alfabet" pitchFamily="2" charset="0"/>
              </a:rPr>
              <a:t>T</a:t>
            </a:r>
            <a:r>
              <a:rPr kumimoji="0" lang="en-US" sz="9600" u="none" strike="noStrike" kern="1200" cap="none" spc="-300" normalizeH="0" baseline="0" noProof="0">
                <a:ln>
                  <a:noFill/>
                </a:ln>
                <a:effectLst/>
                <a:uLnTx/>
                <a:uFillTx/>
                <a:latin typeface="Aptos" panose="020B0004020202020204" pitchFamily="34" charset="0"/>
                <a:ea typeface="Alfabet" pitchFamily="2" charset="0"/>
              </a:rPr>
              <a:t>h</a:t>
            </a:r>
            <a:r>
              <a:rPr kumimoji="0" lang="en-US" sz="9600" u="none" strike="noStrike" kern="1200" cap="none" spc="-600" normalizeH="0" noProof="0">
                <a:ln>
                  <a:noFill/>
                </a:ln>
                <a:effectLst/>
                <a:uLnTx/>
                <a:uFillTx/>
                <a:latin typeface="Aptos" panose="020B0004020202020204" pitchFamily="34" charset="0"/>
                <a:ea typeface="Alfabet" pitchFamily="2" charset="0"/>
              </a:rPr>
              <a:t>a</a:t>
            </a:r>
            <a:r>
              <a:rPr kumimoji="0" lang="en-US" sz="9600" u="none" strike="noStrike" kern="1200" cap="none" spc="-450" normalizeH="0" noProof="0">
                <a:ln>
                  <a:noFill/>
                </a:ln>
                <a:effectLst/>
                <a:uLnTx/>
                <a:uFillTx/>
                <a:latin typeface="Aptos" panose="020B0004020202020204" pitchFamily="34" charset="0"/>
                <a:ea typeface="Alfabet" pitchFamily="2" charset="0"/>
              </a:rPr>
              <a:t>n</a:t>
            </a:r>
            <a:r>
              <a:rPr kumimoji="0" lang="en-US" sz="9600" u="none" strike="noStrike" kern="1200" cap="none" spc="-600" normalizeH="0" noProof="0">
                <a:ln>
                  <a:noFill/>
                </a:ln>
                <a:effectLst/>
                <a:uLnTx/>
                <a:uFillTx/>
                <a:latin typeface="Aptos" panose="020B0004020202020204" pitchFamily="34" charset="0"/>
                <a:ea typeface="Alfabet" pitchFamily="2" charset="0"/>
              </a:rPr>
              <a:t>k  </a:t>
            </a:r>
            <a:r>
              <a:rPr kumimoji="0" lang="en-US" sz="9600" u="none" strike="noStrike" kern="1200" cap="none" spc="-80" normalizeH="0" noProof="0">
                <a:ln>
                  <a:noFill/>
                </a:ln>
                <a:effectLst/>
                <a:uLnTx/>
                <a:uFillTx/>
                <a:latin typeface="Aptos" panose="020B0004020202020204" pitchFamily="34" charset="0"/>
                <a:ea typeface="Alfabet" pitchFamily="2" charset="0"/>
              </a:rPr>
              <a:t>y</a:t>
            </a:r>
            <a:r>
              <a:rPr lang="en-US" sz="9600" spc="-300">
                <a:latin typeface="Aptos" panose="020B0004020202020204" pitchFamily="34" charset="0"/>
                <a:ea typeface="Alfabet" pitchFamily="2" charset="0"/>
              </a:rPr>
              <a:t>o</a:t>
            </a:r>
            <a:r>
              <a:rPr kumimoji="0" lang="en-US" sz="9600" u="none" strike="noStrike" kern="1200" cap="none" spc="-300" normalizeH="0" noProof="0">
                <a:ln>
                  <a:noFill/>
                </a:ln>
                <a:effectLst/>
                <a:uLnTx/>
                <a:uFillTx/>
                <a:latin typeface="Aptos" panose="020B0004020202020204" pitchFamily="34" charset="0"/>
                <a:ea typeface="Alfabet" pitchFamily="2" charset="0"/>
              </a:rPr>
              <a:t>u</a:t>
            </a:r>
          </a:p>
        </p:txBody>
      </p:sp>
      <p:sp>
        <p:nvSpPr>
          <p:cNvPr id="4" name="TextBox 3">
            <a:extLst>
              <a:ext uri="{FF2B5EF4-FFF2-40B4-BE49-F238E27FC236}">
                <a16:creationId xmlns:a16="http://schemas.microsoft.com/office/drawing/2014/main" id="{58C904C5-CF09-901C-0409-22AE7AA4BACE}"/>
              </a:ext>
            </a:extLst>
          </p:cNvPr>
          <p:cNvSpPr txBox="1"/>
          <p:nvPr userDrawn="1"/>
        </p:nvSpPr>
        <p:spPr bwMode="gray">
          <a:xfrm>
            <a:off x="480927" y="3934635"/>
            <a:ext cx="3789063" cy="65402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Nothing in these 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Qualcomm Technologies, Inc. and/or its affiliated 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Qualcomm</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and</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napdragon</a:t>
            </a:r>
            <a:r>
              <a:rPr kumimoji="0" lang="zh-TW" alt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are</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trademark</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or registered trademark</a:t>
            </a:r>
            <a:r>
              <a:rPr kumimoji="0" lang="en-US" altLang="zh-TW"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s</a:t>
            </a: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 of Qualcomm Incorporated. </a:t>
            </a:r>
            <a:b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rPr>
              <a:t>Other products and brand names may be trademarks or registered trademarks of their respective owners.</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650" u="none" strike="noStrike" kern="1200" cap="none" spc="0" normalizeH="0" baseline="0" noProof="0">
              <a:ln>
                <a:noFill/>
              </a:ln>
              <a:solidFill>
                <a:schemeClr val="tx1"/>
              </a:solidFill>
              <a:effectLst/>
              <a:uLnTx/>
              <a:uFillTx/>
              <a:latin typeface="Aptos" panose="020B0004020202020204" pitchFamily="34" charset="0"/>
              <a:ea typeface="Alfabet" pitchFamily="2" charset="0"/>
              <a:cs typeface="+mn-cs"/>
            </a:endParaRPr>
          </a:p>
        </p:txBody>
      </p:sp>
      <p:sp>
        <p:nvSpPr>
          <p:cNvPr id="5" name="TextBox 4">
            <a:extLst>
              <a:ext uri="{FF2B5EF4-FFF2-40B4-BE49-F238E27FC236}">
                <a16:creationId xmlns:a16="http://schemas.microsoft.com/office/drawing/2014/main" id="{9AD3167D-B67D-2259-C2CB-D5F07DD61617}"/>
              </a:ext>
            </a:extLst>
          </p:cNvPr>
          <p:cNvSpPr txBox="1"/>
          <p:nvPr userDrawn="1"/>
        </p:nvSpPr>
        <p:spPr bwMode="gray">
          <a:xfrm>
            <a:off x="480927" y="4751064"/>
            <a:ext cx="4172353" cy="1002839"/>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References in this presentation to “Qualcomm” may mean Qualcomm Incorporated,</a:t>
            </a:r>
            <a:b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Qualcomm Technologies, Inc., and/or other subsidiaries or business units within</a:t>
            </a:r>
            <a:b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b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650" u="none" strike="noStrike" kern="1200" cap="none" spc="0" normalizeH="0" baseline="0" noProof="0">
                <a:ln>
                  <a:noFill/>
                </a:ln>
                <a:effectLst/>
                <a:uLnTx/>
                <a:uFillTx/>
                <a:latin typeface="Aptos" panose="020B0004020202020204" pitchFamily="34" charset="0"/>
                <a:ea typeface="Alfabet" pitchFamily="2" charset="0"/>
                <a:cs typeface="+mn-cs"/>
              </a:rPr>
              <a:t>Snapdragon and Qualcomm branded products are products of Qualcomm Technologies, Inc. and/or its subsidiaries. Qualcomm patented technologies are licensed by Qualcomm Incorporated. </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650" u="none" strike="noStrike" kern="1200" cap="none" spc="0" normalizeH="0" baseline="0" noProof="0">
              <a:ln>
                <a:noFill/>
              </a:ln>
              <a:effectLst/>
              <a:uLnTx/>
              <a:uFillTx/>
              <a:latin typeface="Aptos" panose="020B0004020202020204" pitchFamily="34" charset="0"/>
              <a:ea typeface="Alfabet" pitchFamily="2" charset="0"/>
              <a:cs typeface="+mn-cs"/>
            </a:endParaRPr>
          </a:p>
        </p:txBody>
      </p:sp>
      <p:sp>
        <p:nvSpPr>
          <p:cNvPr id="6" name="TextBox 5">
            <a:extLst>
              <a:ext uri="{FF2B5EF4-FFF2-40B4-BE49-F238E27FC236}">
                <a16:creationId xmlns:a16="http://schemas.microsoft.com/office/drawing/2014/main" id="{D6733015-9BF4-02D9-2D5A-6B82CB5A8E11}"/>
              </a:ext>
            </a:extLst>
          </p:cNvPr>
          <p:cNvSpPr txBox="1"/>
          <p:nvPr userDrawn="1"/>
        </p:nvSpPr>
        <p:spPr bwMode="gray">
          <a:xfrm>
            <a:off x="481013" y="6100661"/>
            <a:ext cx="3127218" cy="150362"/>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Follow us on:</a:t>
            </a:r>
          </a:p>
        </p:txBody>
      </p:sp>
      <p:sp>
        <p:nvSpPr>
          <p:cNvPr id="7" name="TextBox 6">
            <a:extLst>
              <a:ext uri="{FF2B5EF4-FFF2-40B4-BE49-F238E27FC236}">
                <a16:creationId xmlns:a16="http://schemas.microsoft.com/office/drawing/2014/main" id="{CAFD8E40-2929-3D88-B76D-DD16806A308C}"/>
              </a:ext>
            </a:extLst>
          </p:cNvPr>
          <p:cNvSpPr txBox="1"/>
          <p:nvPr userDrawn="1"/>
        </p:nvSpPr>
        <p:spPr>
          <a:xfrm>
            <a:off x="389712" y="6209771"/>
            <a:ext cx="4184203" cy="242374"/>
          </a:xfrm>
          <a:prstGeom prst="rect">
            <a:avLst/>
          </a:prstGeom>
          <a:noFill/>
        </p:spPr>
        <p:txBody>
          <a:bodyPr wrap="square">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For more information, visit us at </a:t>
            </a:r>
            <a:r>
              <a:rPr kumimoji="0" lang="en-US" sz="900" u="none" strike="noStrike" kern="1200" cap="none" spc="0" normalizeH="0" baseline="0" noProof="0" err="1">
                <a:ln>
                  <a:noFill/>
                </a:ln>
                <a:effectLst/>
                <a:uLnTx/>
                <a:uFillTx/>
                <a:latin typeface="Aptos" panose="020B0004020202020204" pitchFamily="34" charset="0"/>
                <a:ea typeface="Alfabet" pitchFamily="2" charset="0"/>
                <a:cs typeface="+mn-cs"/>
              </a:rPr>
              <a:t>qualcomm.com</a:t>
            </a: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 &amp; </a:t>
            </a:r>
            <a:r>
              <a:rPr kumimoji="0" lang="en-US" sz="900" u="none" strike="noStrike" kern="1200" cap="none" spc="0" normalizeH="0" baseline="0" noProof="0" err="1">
                <a:ln>
                  <a:noFill/>
                </a:ln>
                <a:effectLst/>
                <a:uLnTx/>
                <a:uFillTx/>
                <a:latin typeface="Aptos" panose="020B0004020202020204" pitchFamily="34" charset="0"/>
                <a:ea typeface="Alfabet" pitchFamily="2" charset="0"/>
                <a:cs typeface="+mn-cs"/>
              </a:rPr>
              <a:t>qualcomm.com</a:t>
            </a:r>
            <a:r>
              <a:rPr kumimoji="0" lang="en-US" sz="900" u="none" strike="noStrike" kern="1200" cap="none" spc="0" normalizeH="0" baseline="0" noProof="0">
                <a:ln>
                  <a:noFill/>
                </a:ln>
                <a:effectLst/>
                <a:uLnTx/>
                <a:uFillTx/>
                <a:latin typeface="Aptos" panose="020B0004020202020204" pitchFamily="34" charset="0"/>
                <a:ea typeface="Alfabet" pitchFamily="2" charset="0"/>
                <a:cs typeface="+mn-cs"/>
              </a:rPr>
              <a:t>/blog</a:t>
            </a:r>
          </a:p>
        </p:txBody>
      </p:sp>
      <p:grpSp>
        <p:nvGrpSpPr>
          <p:cNvPr id="8" name="Group 7">
            <a:extLst>
              <a:ext uri="{FF2B5EF4-FFF2-40B4-BE49-F238E27FC236}">
                <a16:creationId xmlns:a16="http://schemas.microsoft.com/office/drawing/2014/main" id="{DC2BA5B9-32D0-B4D3-31C5-940933363930}"/>
              </a:ext>
            </a:extLst>
          </p:cNvPr>
          <p:cNvGrpSpPr/>
          <p:nvPr userDrawn="1"/>
        </p:nvGrpSpPr>
        <p:grpSpPr>
          <a:xfrm>
            <a:off x="1205032" y="6126885"/>
            <a:ext cx="817893" cy="93682"/>
            <a:chOff x="1300130" y="6126885"/>
            <a:chExt cx="817893" cy="93682"/>
          </a:xfrm>
        </p:grpSpPr>
        <p:grpSp>
          <p:nvGrpSpPr>
            <p:cNvPr id="9" name="Group 5">
              <a:extLst>
                <a:ext uri="{FF2B5EF4-FFF2-40B4-BE49-F238E27FC236}">
                  <a16:creationId xmlns:a16="http://schemas.microsoft.com/office/drawing/2014/main" id="{3BF5268F-6D68-1917-4372-D995E148B3D8}"/>
                </a:ext>
              </a:extLst>
            </p:cNvPr>
            <p:cNvGrpSpPr>
              <a:grpSpLocks noChangeAspect="1"/>
            </p:cNvGrpSpPr>
            <p:nvPr/>
          </p:nvGrpSpPr>
          <p:grpSpPr bwMode="gray">
            <a:xfrm>
              <a:off x="1300130" y="6126885"/>
              <a:ext cx="94798" cy="93682"/>
              <a:chOff x="3331" y="1656"/>
              <a:chExt cx="1020" cy="1008"/>
            </a:xfrm>
            <a:solidFill>
              <a:schemeClr val="tx1"/>
            </a:solidFill>
          </p:grpSpPr>
          <p:sp>
            <p:nvSpPr>
              <p:cNvPr id="17" name="Freeform 6">
                <a:extLst>
                  <a:ext uri="{FF2B5EF4-FFF2-40B4-BE49-F238E27FC236}">
                    <a16:creationId xmlns:a16="http://schemas.microsoft.com/office/drawing/2014/main" id="{3B4391A0-4D50-9169-D3E1-D5541F0F6095}"/>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a:ln>
                    <a:noFill/>
                  </a:ln>
                  <a:effectLst/>
                  <a:uLnTx/>
                  <a:uFillTx/>
                  <a:latin typeface="Aptos" panose="020B0004020202020204" pitchFamily="34" charset="0"/>
                  <a:ea typeface="Alfabet" pitchFamily="2" charset="0"/>
                  <a:cs typeface="+mn-cs"/>
                </a:endParaRPr>
              </a:p>
            </p:txBody>
          </p:sp>
          <p:sp>
            <p:nvSpPr>
              <p:cNvPr id="18" name="Freeform 7">
                <a:extLst>
                  <a:ext uri="{FF2B5EF4-FFF2-40B4-BE49-F238E27FC236}">
                    <a16:creationId xmlns:a16="http://schemas.microsoft.com/office/drawing/2014/main" id="{40BEAF68-D3D4-D207-309D-6001397EE34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a:ln>
                    <a:noFill/>
                  </a:ln>
                  <a:effectLst/>
                  <a:uLnTx/>
                  <a:uFillTx/>
                  <a:latin typeface="Aptos" panose="020B0004020202020204" pitchFamily="34" charset="0"/>
                  <a:ea typeface="Alfabet" pitchFamily="2" charset="0"/>
                  <a:cs typeface="+mn-cs"/>
                </a:endParaRPr>
              </a:p>
            </p:txBody>
          </p:sp>
        </p:grpSp>
        <p:grpSp>
          <p:nvGrpSpPr>
            <p:cNvPr id="10" name="Group 4">
              <a:extLst>
                <a:ext uri="{FF2B5EF4-FFF2-40B4-BE49-F238E27FC236}">
                  <a16:creationId xmlns:a16="http://schemas.microsoft.com/office/drawing/2014/main" id="{274B1A01-2610-8398-DC38-5F6C0A50AF64}"/>
                </a:ext>
              </a:extLst>
            </p:cNvPr>
            <p:cNvGrpSpPr>
              <a:grpSpLocks noChangeAspect="1"/>
            </p:cNvGrpSpPr>
            <p:nvPr/>
          </p:nvGrpSpPr>
          <p:grpSpPr bwMode="auto">
            <a:xfrm>
              <a:off x="1640695" y="6127230"/>
              <a:ext cx="92914" cy="92992"/>
              <a:chOff x="2653" y="972"/>
              <a:chExt cx="2372" cy="2374"/>
            </a:xfrm>
            <a:solidFill>
              <a:schemeClr val="tx1"/>
            </a:solidFill>
          </p:grpSpPr>
          <p:sp>
            <p:nvSpPr>
              <p:cNvPr id="14" name="Freeform 5">
                <a:extLst>
                  <a:ext uri="{FF2B5EF4-FFF2-40B4-BE49-F238E27FC236}">
                    <a16:creationId xmlns:a16="http://schemas.microsoft.com/office/drawing/2014/main" id="{68802D42-C0F1-DAF9-8B74-77C13FA40FE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sp>
            <p:nvSpPr>
              <p:cNvPr id="15" name="Freeform 6">
                <a:extLst>
                  <a:ext uri="{FF2B5EF4-FFF2-40B4-BE49-F238E27FC236}">
                    <a16:creationId xmlns:a16="http://schemas.microsoft.com/office/drawing/2014/main" id="{511AB5E8-AF45-535E-DBEE-21EA3AA4AC1B}"/>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sp>
            <p:nvSpPr>
              <p:cNvPr id="16" name="Oval 7">
                <a:extLst>
                  <a:ext uri="{FF2B5EF4-FFF2-40B4-BE49-F238E27FC236}">
                    <a16:creationId xmlns:a16="http://schemas.microsoft.com/office/drawing/2014/main" id="{5A2B3252-69E6-21D8-7B9C-8CACF53B9BA3}"/>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Aptos" panose="020B0004020202020204" pitchFamily="34" charset="0"/>
                  <a:ea typeface="Alfabet" pitchFamily="2" charset="0"/>
                </a:endParaRPr>
              </a:p>
            </p:txBody>
          </p:sp>
        </p:grpSp>
        <p:pic>
          <p:nvPicPr>
            <p:cNvPr id="11" name="Graphic 10">
              <a:extLst>
                <a:ext uri="{FF2B5EF4-FFF2-40B4-BE49-F238E27FC236}">
                  <a16:creationId xmlns:a16="http://schemas.microsoft.com/office/drawing/2014/main" id="{EDEA13E0-DF26-3A35-755F-EB1D2F7140E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10838" y="6131300"/>
              <a:ext cx="122931" cy="84852"/>
            </a:xfrm>
            <a:prstGeom prst="rect">
              <a:avLst/>
            </a:prstGeom>
          </p:spPr>
        </p:pic>
        <p:pic>
          <p:nvPicPr>
            <p:cNvPr id="12" name="Graphic 11">
              <a:extLst>
                <a:ext uri="{FF2B5EF4-FFF2-40B4-BE49-F238E27FC236}">
                  <a16:creationId xmlns:a16="http://schemas.microsoft.com/office/drawing/2014/main" id="{B54DF270-EBC5-95DA-8346-7100B18EC91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023789" y="6126885"/>
              <a:ext cx="94234" cy="93682"/>
            </a:xfrm>
            <a:prstGeom prst="rect">
              <a:avLst/>
            </a:prstGeom>
          </p:spPr>
        </p:pic>
        <p:pic>
          <p:nvPicPr>
            <p:cNvPr id="13" name="Graphic 12">
              <a:extLst>
                <a:ext uri="{FF2B5EF4-FFF2-40B4-BE49-F238E27FC236}">
                  <a16:creationId xmlns:a16="http://schemas.microsoft.com/office/drawing/2014/main" id="{1D7C89CA-3D39-A79E-E143-FE65F0C89E2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76872" y="6131572"/>
              <a:ext cx="84309" cy="84309"/>
            </a:xfrm>
            <a:prstGeom prst="rect">
              <a:avLst/>
            </a:prstGeom>
          </p:spPr>
        </p:pic>
      </p:grpSp>
      <p:pic>
        <p:nvPicPr>
          <p:cNvPr id="24" name="Graphic 23">
            <a:extLst>
              <a:ext uri="{FF2B5EF4-FFF2-40B4-BE49-F238E27FC236}">
                <a16:creationId xmlns:a16="http://schemas.microsoft.com/office/drawing/2014/main" id="{1EBB4BF9-FEEC-4175-585A-2715E84D1EB5}"/>
              </a:ext>
            </a:extLst>
          </p:cNvPr>
          <p:cNvPicPr>
            <a:picLocks noChangeAspect="1"/>
          </p:cNvPicPr>
          <p:nvPr/>
        </p:nvPicPr>
        <p:blipFill>
          <a:blip r:embed="rId8">
            <a:extLst>
              <a:ext uri="{96DAC541-7B7A-43D3-8B79-37D633B846F1}">
                <asvg:svgBlip xmlns:asvg="http://schemas.microsoft.com/office/drawing/2016/SVG/main" r:embed="rId9"/>
              </a:ext>
            </a:extLst>
          </a:blip>
          <a:srcRect t="31605" r="39224"/>
          <a:stretch>
            <a:fillRect/>
          </a:stretch>
        </p:blipFill>
        <p:spPr>
          <a:xfrm>
            <a:off x="6684852" y="0"/>
            <a:ext cx="5507148" cy="6197600"/>
          </a:xfrm>
          <a:custGeom>
            <a:avLst/>
            <a:gdLst>
              <a:gd name="connsiteX0" fmla="*/ 0 w 5507148"/>
              <a:gd name="connsiteY0" fmla="*/ 0 h 6197600"/>
              <a:gd name="connsiteX1" fmla="*/ 147022 w 5507148"/>
              <a:gd name="connsiteY1" fmla="*/ 0 h 6197600"/>
              <a:gd name="connsiteX2" fmla="*/ 5507148 w 5507148"/>
              <a:gd name="connsiteY2" fmla="*/ 0 h 6197600"/>
              <a:gd name="connsiteX3" fmla="*/ 5507148 w 5507148"/>
              <a:gd name="connsiteY3" fmla="*/ 6197600 h 6197600"/>
              <a:gd name="connsiteX4" fmla="*/ 0 w 5507148"/>
              <a:gd name="connsiteY4" fmla="*/ 6197600 h 619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148" h="6197600">
                <a:moveTo>
                  <a:pt x="0" y="0"/>
                </a:moveTo>
                <a:lnTo>
                  <a:pt x="147022" y="0"/>
                </a:lnTo>
                <a:lnTo>
                  <a:pt x="5507148" y="0"/>
                </a:lnTo>
                <a:lnTo>
                  <a:pt x="5507148" y="6197600"/>
                </a:lnTo>
                <a:lnTo>
                  <a:pt x="0" y="6197600"/>
                </a:lnTo>
                <a:close/>
              </a:path>
            </a:pathLst>
          </a:custGeom>
        </p:spPr>
      </p:pic>
      <p:pic>
        <p:nvPicPr>
          <p:cNvPr id="21" name="Picture 2">
            <a:extLst>
              <a:ext uri="{FF2B5EF4-FFF2-40B4-BE49-F238E27FC236}">
                <a16:creationId xmlns:a16="http://schemas.microsoft.com/office/drawing/2014/main" id="{7FDF1ADE-EF76-ABDC-A94C-B4B22DDF49A4}"/>
              </a:ext>
            </a:extLst>
          </p:cNvPr>
          <p:cNvPicPr>
            <a:picLocks noChangeAspect="1" noChangeArrowheads="1"/>
          </p:cNvPicPr>
          <p:nvPr/>
        </p:nvPicPr>
        <p:blipFill rotWithShape="1">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auto">
          <a:xfrm>
            <a:off x="10895722" y="1322746"/>
            <a:ext cx="693024" cy="760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34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reserve="1" userDrawn="1">
  <p:cSld name="Photo+Content_Dark Blue">
    <p:bg>
      <p:bgPr>
        <a:solidFill>
          <a:schemeClr val="accent2"/>
        </a:solidFill>
        <a:effectLst/>
      </p:bgPr>
    </p:bg>
    <p:spTree>
      <p:nvGrpSpPr>
        <p:cNvPr id="1" name=""/>
        <p:cNvGrpSpPr/>
        <p:nvPr/>
      </p:nvGrpSpPr>
      <p:grpSpPr>
        <a:xfrm>
          <a:off x="0" y="0"/>
          <a:ext cx="0" cy="0"/>
          <a:chOff x="0" y="0"/>
          <a:chExt cx="0" cy="0"/>
        </a:xfrm>
      </p:grpSpPr>
      <p:sp>
        <p:nvSpPr>
          <p:cNvPr id="34" name="Text Placeholder 9">
            <a:extLst>
              <a:ext uri="{FF2B5EF4-FFF2-40B4-BE49-F238E27FC236}">
                <a16:creationId xmlns:a16="http://schemas.microsoft.com/office/drawing/2014/main" id="{C4E6416A-9559-FB3E-0BBF-7EA0AD461D64}"/>
              </a:ext>
            </a:extLst>
          </p:cNvPr>
          <p:cNvSpPr>
            <a:spLocks noGrp="1"/>
          </p:cNvSpPr>
          <p:nvPr>
            <p:ph type="body" sz="quarter" idx="14" hasCustomPrompt="1"/>
          </p:nvPr>
        </p:nvSpPr>
        <p:spPr>
          <a:xfrm>
            <a:off x="515937" y="1196975"/>
            <a:ext cx="5327651" cy="1198115"/>
          </a:xfrm>
        </p:spPr>
        <p:txBody>
          <a:bodyPr wrap="square" anchor="b">
            <a:noAutofit/>
          </a:bodyPr>
          <a:lstStyle>
            <a:lvl1pPr marL="0" indent="0">
              <a:buNone/>
              <a:defRPr sz="1300" cap="all" spc="150" baseline="0">
                <a:solidFill>
                  <a:schemeClr val="tx1"/>
                </a:solidFill>
              </a:defRPr>
            </a:lvl1pPr>
          </a:lstStyle>
          <a:p>
            <a:pPr lvl="0"/>
            <a:r>
              <a:rPr lang="en-US"/>
              <a:t>EYEBROW HEADER</a:t>
            </a:r>
          </a:p>
        </p:txBody>
      </p:sp>
      <p:sp>
        <p:nvSpPr>
          <p:cNvPr id="35" name="Title 13">
            <a:extLst>
              <a:ext uri="{FF2B5EF4-FFF2-40B4-BE49-F238E27FC236}">
                <a16:creationId xmlns:a16="http://schemas.microsoft.com/office/drawing/2014/main" id="{6E52DE1D-E1C5-FA43-157D-B6DB44997581}"/>
              </a:ext>
            </a:extLst>
          </p:cNvPr>
          <p:cNvSpPr>
            <a:spLocks noGrp="1"/>
          </p:cNvSpPr>
          <p:nvPr>
            <p:ph type="title" hasCustomPrompt="1"/>
          </p:nvPr>
        </p:nvSpPr>
        <p:spPr>
          <a:xfrm>
            <a:off x="515937" y="2711631"/>
            <a:ext cx="5327651" cy="730069"/>
          </a:xfrm>
        </p:spPr>
        <p:txBody>
          <a:bodyPr anchor="t"/>
          <a:lstStyle>
            <a:lvl1pPr algn="l" defTabSz="914400" rtl="0" eaLnBrk="1" latinLnBrk="0" hangingPunct="1">
              <a:lnSpc>
                <a:spcPct val="85000"/>
              </a:lnSpc>
              <a:spcBef>
                <a:spcPct val="0"/>
              </a:spcBef>
              <a:buNone/>
              <a:defRPr lang="en-US" sz="2800" kern="2000" spc="-50" baseline="0" dirty="0">
                <a:solidFill>
                  <a:schemeClr val="tx2"/>
                </a:solidFill>
                <a:latin typeface="+mj-lt"/>
                <a:ea typeface="+mj-ea"/>
                <a:cs typeface="+mj-cs"/>
              </a:defRPr>
            </a:lvl1pPr>
          </a:lstStyle>
          <a:p>
            <a:r>
              <a:rPr lang="en-US"/>
              <a:t>2:1 Content &amp; Photo layout </a:t>
            </a:r>
            <a:br>
              <a:rPr lang="en-US"/>
            </a:br>
            <a:r>
              <a:rPr lang="en-US"/>
              <a:t>Title 2 lines maximum</a:t>
            </a:r>
          </a:p>
        </p:txBody>
      </p:sp>
      <p:sp>
        <p:nvSpPr>
          <p:cNvPr id="5" name="Picture Placeholder 4">
            <a:extLst>
              <a:ext uri="{FF2B5EF4-FFF2-40B4-BE49-F238E27FC236}">
                <a16:creationId xmlns:a16="http://schemas.microsoft.com/office/drawing/2014/main" id="{9ECAE361-7F8C-900A-EC59-0A43B1F58E51}"/>
              </a:ext>
            </a:extLst>
          </p:cNvPr>
          <p:cNvSpPr>
            <a:spLocks noGrp="1" noChangeAspect="1"/>
          </p:cNvSpPr>
          <p:nvPr>
            <p:ph type="pic" sz="quarter" idx="12" hasCustomPrompt="1"/>
          </p:nvPr>
        </p:nvSpPr>
        <p:spPr>
          <a:xfrm>
            <a:off x="7150937" y="0"/>
            <a:ext cx="5041063" cy="6858000"/>
          </a:xfrm>
          <a:custGeom>
            <a:avLst/>
            <a:gdLst>
              <a:gd name="connsiteX0" fmla="*/ 1341684 w 5041063"/>
              <a:gd name="connsiteY0" fmla="*/ 0 h 6858000"/>
              <a:gd name="connsiteX1" fmla="*/ 5041063 w 5041063"/>
              <a:gd name="connsiteY1" fmla="*/ 0 h 6858000"/>
              <a:gd name="connsiteX2" fmla="*/ 5041063 w 5041063"/>
              <a:gd name="connsiteY2" fmla="*/ 6858000 h 6858000"/>
              <a:gd name="connsiteX3" fmla="*/ 1681589 w 5041063"/>
              <a:gd name="connsiteY3" fmla="*/ 6858000 h 6858000"/>
              <a:gd name="connsiteX4" fmla="*/ 1527585 w 5041063"/>
              <a:gd name="connsiteY4" fmla="*/ 6724571 h 6858000"/>
              <a:gd name="connsiteX5" fmla="*/ 0 w 5041063"/>
              <a:gd name="connsiteY5" fmla="*/ 3272503 h 6858000"/>
              <a:gd name="connsiteX6" fmla="*/ 1211269 w 5041063"/>
              <a:gd name="connsiteY6" fmla="*/ 1368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1063" h="6858000">
                <a:moveTo>
                  <a:pt x="1341684" y="0"/>
                </a:moveTo>
                <a:lnTo>
                  <a:pt x="5041063" y="0"/>
                </a:lnTo>
                <a:lnTo>
                  <a:pt x="5041063" y="6858000"/>
                </a:lnTo>
                <a:lnTo>
                  <a:pt x="1681589" y="6858000"/>
                </a:lnTo>
                <a:lnTo>
                  <a:pt x="1527585" y="6724571"/>
                </a:lnTo>
                <a:cubicBezTo>
                  <a:pt x="589158" y="5871472"/>
                  <a:pt x="0" y="4640804"/>
                  <a:pt x="0" y="3272503"/>
                </a:cubicBezTo>
                <a:cubicBezTo>
                  <a:pt x="0" y="2065179"/>
                  <a:pt x="458687" y="965008"/>
                  <a:pt x="1211269" y="136816"/>
                </a:cubicBezTo>
                <a:close/>
              </a:path>
            </a:pathLst>
          </a:custGeom>
          <a:noFill/>
        </p:spPr>
        <p:txBody>
          <a:bodyPr wrap="square" lIns="540000" rIns="0" anchor="ctr">
            <a:noAutofit/>
          </a:bodyPr>
          <a:lstStyle>
            <a:lvl1pPr marL="0" indent="0">
              <a:buNone/>
              <a:defRPr sz="2800">
                <a:latin typeface="+mj-lt"/>
              </a:defRPr>
            </a:lvl1pPr>
          </a:lstStyle>
          <a:p>
            <a:r>
              <a:rPr lang="en-US"/>
              <a:t>Click the icon to insert photo</a:t>
            </a:r>
          </a:p>
        </p:txBody>
      </p:sp>
      <p:grpSp>
        <p:nvGrpSpPr>
          <p:cNvPr id="4" name="Group 3">
            <a:extLst>
              <a:ext uri="{FF2B5EF4-FFF2-40B4-BE49-F238E27FC236}">
                <a16:creationId xmlns:a16="http://schemas.microsoft.com/office/drawing/2014/main" id="{41D7158E-1B12-0775-885E-DE5CC963C3B9}"/>
              </a:ext>
            </a:extLst>
          </p:cNvPr>
          <p:cNvGrpSpPr/>
          <p:nvPr userDrawn="1"/>
        </p:nvGrpSpPr>
        <p:grpSpPr>
          <a:xfrm>
            <a:off x="12290489" y="-1"/>
            <a:ext cx="2910882" cy="6858001"/>
            <a:chOff x="12290489" y="-1"/>
            <a:chExt cx="2910882" cy="6858001"/>
          </a:xfrm>
        </p:grpSpPr>
        <p:sp>
          <p:nvSpPr>
            <p:cNvPr id="6" name="Rectangle 5">
              <a:extLst>
                <a:ext uri="{FF2B5EF4-FFF2-40B4-BE49-F238E27FC236}">
                  <a16:creationId xmlns:a16="http://schemas.microsoft.com/office/drawing/2014/main" id="{776E4E50-274F-6D1B-0A0C-1F6E4528D3F9}"/>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7" name="TextBox 6">
              <a:extLst>
                <a:ext uri="{FF2B5EF4-FFF2-40B4-BE49-F238E27FC236}">
                  <a16:creationId xmlns:a16="http://schemas.microsoft.com/office/drawing/2014/main" id="{C87C11E0-DF8E-1ABE-FEE7-6499AEBE1055}"/>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MAGE</a:t>
              </a:r>
            </a:p>
          </p:txBody>
        </p:sp>
        <p:cxnSp>
          <p:nvCxnSpPr>
            <p:cNvPr id="8" name="Straight Connector 7">
              <a:extLst>
                <a:ext uri="{FF2B5EF4-FFF2-40B4-BE49-F238E27FC236}">
                  <a16:creationId xmlns:a16="http://schemas.microsoft.com/office/drawing/2014/main" id="{C60CF7EC-9522-C6C7-3BC9-4B0B55509BE4}"/>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26D4E14-6C3D-FD0D-7425-CCF2AB04D21A}"/>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mage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11" name="TextBox 10">
              <a:extLst>
                <a:ext uri="{FF2B5EF4-FFF2-40B4-BE49-F238E27FC236}">
                  <a16:creationId xmlns:a16="http://schemas.microsoft.com/office/drawing/2014/main" id="{D1918A8B-BB61-A30A-0DB6-687E6717B4BC}"/>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12" name="TextBox 11">
              <a:extLst>
                <a:ext uri="{FF2B5EF4-FFF2-40B4-BE49-F238E27FC236}">
                  <a16:creationId xmlns:a16="http://schemas.microsoft.com/office/drawing/2014/main" id="{6B914621-3FC5-7825-04CC-6ED19E2421AB}"/>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13" name="TextBox 12">
              <a:extLst>
                <a:ext uri="{FF2B5EF4-FFF2-40B4-BE49-F238E27FC236}">
                  <a16:creationId xmlns:a16="http://schemas.microsoft.com/office/drawing/2014/main" id="{6D61D55A-6546-C518-94C3-9E6CEB6B9559}"/>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mages from the </a:t>
              </a:r>
              <a:r>
                <a:rPr lang="en-US">
                  <a:solidFill>
                    <a:schemeClr val="accent1"/>
                  </a:solidFill>
                  <a:latin typeface="Aptos" panose="020B0004020202020204" pitchFamily="34" charset="0"/>
                  <a:cs typeface="Aparajita" panose="02020603050405020304" pitchFamily="18" charset="0"/>
                </a:rPr>
                <a:t>Qualcomm Brand Portal</a:t>
              </a:r>
            </a:p>
            <a:p>
              <a:pPr lvl="0">
                <a:spcBef>
                  <a:spcPts val="700"/>
                </a:spcBef>
              </a:pPr>
              <a:r>
                <a:rPr lang="en-US">
                  <a:latin typeface="Aptos" panose="020B0004020202020204" pitchFamily="34" charset="0"/>
                  <a:cs typeface="Aparajita" panose="02020603050405020304" pitchFamily="18" charset="0"/>
                </a:rPr>
                <a:t>Add the image to the placeholder.</a:t>
              </a:r>
            </a:p>
          </p:txBody>
        </p:sp>
        <p:sp>
          <p:nvSpPr>
            <p:cNvPr id="15" name="TextBox 14">
              <a:extLst>
                <a:ext uri="{FF2B5EF4-FFF2-40B4-BE49-F238E27FC236}">
                  <a16:creationId xmlns:a16="http://schemas.microsoft.com/office/drawing/2014/main" id="{49CFE6D3-62CB-F8A6-4F3C-E6191D794F16}"/>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mage placeholder.</a:t>
              </a:r>
            </a:p>
            <a:p>
              <a:pPr lvl="1">
                <a:buNone/>
              </a:pPr>
              <a:r>
                <a:rPr lang="en-US" sz="1050">
                  <a:latin typeface="Aptos" panose="020B0004020202020204" pitchFamily="34" charset="0"/>
                  <a:cs typeface="Aparajita" panose="02020603050405020304" pitchFamily="18" charset="0"/>
                </a:rPr>
                <a:t>Right-click or use keyboard shortcuts to paste the image.</a:t>
              </a:r>
            </a:p>
          </p:txBody>
        </p:sp>
        <p:sp>
          <p:nvSpPr>
            <p:cNvPr id="16" name="TextBox 15">
              <a:extLst>
                <a:ext uri="{FF2B5EF4-FFF2-40B4-BE49-F238E27FC236}">
                  <a16:creationId xmlns:a16="http://schemas.microsoft.com/office/drawing/2014/main" id="{C2F23C51-B59E-FF78-4C32-D595FFB654D3}"/>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mage.</a:t>
              </a:r>
            </a:p>
          </p:txBody>
        </p:sp>
        <p:grpSp>
          <p:nvGrpSpPr>
            <p:cNvPr id="17" name="Group 16">
              <a:extLst>
                <a:ext uri="{FF2B5EF4-FFF2-40B4-BE49-F238E27FC236}">
                  <a16:creationId xmlns:a16="http://schemas.microsoft.com/office/drawing/2014/main" id="{389462F3-65FE-2A37-D03E-7A614C0D81F2}"/>
                </a:ext>
              </a:extLst>
            </p:cNvPr>
            <p:cNvGrpSpPr/>
            <p:nvPr userDrawn="1"/>
          </p:nvGrpSpPr>
          <p:grpSpPr>
            <a:xfrm>
              <a:off x="12429548" y="3236396"/>
              <a:ext cx="2735151" cy="1280928"/>
              <a:chOff x="9286315" y="6976989"/>
              <a:chExt cx="2735151" cy="1280928"/>
            </a:xfrm>
          </p:grpSpPr>
          <p:sp>
            <p:nvSpPr>
              <p:cNvPr id="28" name="Rectangle 27">
                <a:extLst>
                  <a:ext uri="{FF2B5EF4-FFF2-40B4-BE49-F238E27FC236}">
                    <a16:creationId xmlns:a16="http://schemas.microsoft.com/office/drawing/2014/main" id="{7B73E073-D488-E46C-DB4F-0F196FCD191A}"/>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9" name="TextBox 28">
                <a:extLst>
                  <a:ext uri="{FF2B5EF4-FFF2-40B4-BE49-F238E27FC236}">
                    <a16:creationId xmlns:a16="http://schemas.microsoft.com/office/drawing/2014/main" id="{081DD7D5-5A35-4D88-DF96-F36AB8E6F37E}"/>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Images</a:t>
                </a:r>
              </a:p>
            </p:txBody>
          </p:sp>
          <p:pic>
            <p:nvPicPr>
              <p:cNvPr id="30" name="Graphic 29">
                <a:extLst>
                  <a:ext uri="{FF2B5EF4-FFF2-40B4-BE49-F238E27FC236}">
                    <a16:creationId xmlns:a16="http://schemas.microsoft.com/office/drawing/2014/main" id="{01C29CC4-C932-0686-A8CC-FDBC0829CA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1" name="TextBox 30">
                <a:extLst>
                  <a:ext uri="{FF2B5EF4-FFF2-40B4-BE49-F238E27FC236}">
                    <a16:creationId xmlns:a16="http://schemas.microsoft.com/office/drawing/2014/main" id="{32FF60A4-F11D-CAC8-44FE-75DFF212D5D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32" name="Picture 31">
                <a:extLst>
                  <a:ext uri="{FF2B5EF4-FFF2-40B4-BE49-F238E27FC236}">
                    <a16:creationId xmlns:a16="http://schemas.microsoft.com/office/drawing/2014/main" id="{B0D1B931-10D7-2698-B21E-FA87E71256D3}"/>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33" name="TextBox 32">
                <a:extLst>
                  <a:ext uri="{FF2B5EF4-FFF2-40B4-BE49-F238E27FC236}">
                    <a16:creationId xmlns:a16="http://schemas.microsoft.com/office/drawing/2014/main" id="{9A3A83B2-BA67-43AF-852A-8B41B4692200}"/>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18" name="Group 17">
              <a:extLst>
                <a:ext uri="{FF2B5EF4-FFF2-40B4-BE49-F238E27FC236}">
                  <a16:creationId xmlns:a16="http://schemas.microsoft.com/office/drawing/2014/main" id="{CE0CB17A-7B36-4A71-D388-6A9803926DC1}"/>
                </a:ext>
              </a:extLst>
            </p:cNvPr>
            <p:cNvGrpSpPr/>
            <p:nvPr userDrawn="1"/>
          </p:nvGrpSpPr>
          <p:grpSpPr>
            <a:xfrm>
              <a:off x="12429548" y="4543123"/>
              <a:ext cx="2735151" cy="2200108"/>
              <a:chOff x="9538241" y="5155416"/>
              <a:chExt cx="2735151" cy="2200108"/>
            </a:xfrm>
          </p:grpSpPr>
          <p:sp>
            <p:nvSpPr>
              <p:cNvPr id="19" name="Rectangle 18">
                <a:extLst>
                  <a:ext uri="{FF2B5EF4-FFF2-40B4-BE49-F238E27FC236}">
                    <a16:creationId xmlns:a16="http://schemas.microsoft.com/office/drawing/2014/main" id="{C14D8EDE-723F-2DD3-F236-B14212CF8226}"/>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0" name="TextBox 19">
                <a:extLst>
                  <a:ext uri="{FF2B5EF4-FFF2-40B4-BE49-F238E27FC236}">
                    <a16:creationId xmlns:a16="http://schemas.microsoft.com/office/drawing/2014/main" id="{BCE9ADE7-3E5D-9A8F-6B8D-71E0856426F0}"/>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mages</a:t>
                </a:r>
              </a:p>
            </p:txBody>
          </p:sp>
          <p:pic>
            <p:nvPicPr>
              <p:cNvPr id="21" name="Graphic 20">
                <a:extLst>
                  <a:ext uri="{FF2B5EF4-FFF2-40B4-BE49-F238E27FC236}">
                    <a16:creationId xmlns:a16="http://schemas.microsoft.com/office/drawing/2014/main" id="{1ECA69AD-56C2-A51C-D275-88C84BCE0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2" name="TextBox 21">
                <a:extLst>
                  <a:ext uri="{FF2B5EF4-FFF2-40B4-BE49-F238E27FC236}">
                    <a16:creationId xmlns:a16="http://schemas.microsoft.com/office/drawing/2014/main" id="{8B70DDAC-6E90-5E7B-00A4-9F3F09643250}"/>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mage and select “Change Picture”</a:t>
                </a:r>
              </a:p>
            </p:txBody>
          </p:sp>
          <p:sp>
            <p:nvSpPr>
              <p:cNvPr id="23" name="TextBox 22">
                <a:extLst>
                  <a:ext uri="{FF2B5EF4-FFF2-40B4-BE49-F238E27FC236}">
                    <a16:creationId xmlns:a16="http://schemas.microsoft.com/office/drawing/2014/main" id="{5A9524A8-A4FF-62F0-70A7-B17C5CD0BA89}"/>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4" name="TextBox 23">
                <a:extLst>
                  <a:ext uri="{FF2B5EF4-FFF2-40B4-BE49-F238E27FC236}">
                    <a16:creationId xmlns:a16="http://schemas.microsoft.com/office/drawing/2014/main" id="{1902ABD8-6709-A522-05AF-0C16F0C66447}"/>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25" name="TextBox 24">
                <a:extLst>
                  <a:ext uri="{FF2B5EF4-FFF2-40B4-BE49-F238E27FC236}">
                    <a16:creationId xmlns:a16="http://schemas.microsoft.com/office/drawing/2014/main" id="{3B4A36E7-29EA-DAC6-E456-5012F410E3E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mage as normal.</a:t>
                </a:r>
              </a:p>
            </p:txBody>
          </p:sp>
          <p:cxnSp>
            <p:nvCxnSpPr>
              <p:cNvPr id="26" name="Straight Connector 25">
                <a:extLst>
                  <a:ext uri="{FF2B5EF4-FFF2-40B4-BE49-F238E27FC236}">
                    <a16:creationId xmlns:a16="http://schemas.microsoft.com/office/drawing/2014/main" id="{92A06D9F-C256-0E65-6C93-87262752FF9E}"/>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DE2EFB4-2948-29CC-1F00-C75D05EAE486}"/>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3" name="Text Placeholder 16">
            <a:extLst>
              <a:ext uri="{FF2B5EF4-FFF2-40B4-BE49-F238E27FC236}">
                <a16:creationId xmlns:a16="http://schemas.microsoft.com/office/drawing/2014/main" id="{761E5387-0FB0-19C2-FA98-97B449918263}"/>
              </a:ext>
            </a:extLst>
          </p:cNvPr>
          <p:cNvSpPr>
            <a:spLocks noGrp="1"/>
          </p:cNvSpPr>
          <p:nvPr>
            <p:ph type="body" sz="quarter" idx="15" hasCustomPrompt="1"/>
          </p:nvPr>
        </p:nvSpPr>
        <p:spPr>
          <a:xfrm>
            <a:off x="515938" y="3581401"/>
            <a:ext cx="5327650" cy="2435086"/>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0" name="Footer Placeholder 129">
            <a:extLst>
              <a:ext uri="{FF2B5EF4-FFF2-40B4-BE49-F238E27FC236}">
                <a16:creationId xmlns:a16="http://schemas.microsoft.com/office/drawing/2014/main" id="{6E955ECC-94BE-5FD6-AD77-43B7140E9EA4}"/>
              </a:ext>
            </a:extLst>
          </p:cNvPr>
          <p:cNvSpPr>
            <a:spLocks noGrp="1"/>
          </p:cNvSpPr>
          <p:nvPr>
            <p:ph type="ftr" sz="quarter" idx="22"/>
          </p:nvPr>
        </p:nvSpPr>
        <p:spPr>
          <a:xfrm>
            <a:off x="515938" y="6173304"/>
            <a:ext cx="6480175" cy="118174"/>
          </a:xfrm>
        </p:spPr>
        <p:txBody>
          <a:bodyPr/>
          <a:lstStyle>
            <a:lvl1pPr>
              <a:defRPr>
                <a:solidFill>
                  <a:schemeClr val="accent6">
                    <a:lumMod val="90000"/>
                  </a:schemeClr>
                </a:solidFill>
              </a:defRPr>
            </a:lvl1pPr>
          </a:lstStyle>
          <a:p>
            <a:r>
              <a:rPr lang="en-CA"/>
              <a:t>5G Broadcast Conference</a:t>
            </a:r>
          </a:p>
        </p:txBody>
      </p:sp>
    </p:spTree>
    <p:extLst>
      <p:ext uri="{BB962C8B-B14F-4D97-AF65-F5344CB8AC3E}">
        <p14:creationId xmlns:p14="http://schemas.microsoft.com/office/powerpoint/2010/main" val="383119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19">
          <p15:clr>
            <a:srgbClr val="FBAE40"/>
          </p15:clr>
        </p15:guide>
        <p15:guide id="6" orient="horz" pos="1502">
          <p15:clr>
            <a:srgbClr val="FBAE40"/>
          </p15:clr>
        </p15:guide>
        <p15:guide id="7" orient="horz" pos="2432">
          <p15:clr>
            <a:srgbClr val="FBAE40"/>
          </p15:clr>
        </p15:guide>
        <p15:guide id="10" pos="3681">
          <p15:clr>
            <a:srgbClr val="FBAE40"/>
          </p15:clr>
        </p15:guide>
      </p15:sldGuideLst>
    </p:ext>
  </p:extLs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itle+4Contents_Dark Blue">
    <p:bg>
      <p:bgPr>
        <a:solidFill>
          <a:schemeClr val="accent2"/>
        </a:solidFill>
        <a:effectLst/>
      </p:bgPr>
    </p:bg>
    <p:spTree>
      <p:nvGrpSpPr>
        <p:cNvPr id="1" name=""/>
        <p:cNvGrpSpPr/>
        <p:nvPr/>
      </p:nvGrpSpPr>
      <p:grpSpPr>
        <a:xfrm>
          <a:off x="0" y="0"/>
          <a:ext cx="0" cy="0"/>
          <a:chOff x="0" y="0"/>
          <a:chExt cx="0" cy="0"/>
        </a:xfrm>
      </p:grpSpPr>
      <p:sp>
        <p:nvSpPr>
          <p:cNvPr id="121" name="Title 120">
            <a:extLst>
              <a:ext uri="{FF2B5EF4-FFF2-40B4-BE49-F238E27FC236}">
                <a16:creationId xmlns:a16="http://schemas.microsoft.com/office/drawing/2014/main" id="{69A0FF75-14D8-E32A-7063-C9748A3C9F91}"/>
              </a:ext>
            </a:extLst>
          </p:cNvPr>
          <p:cNvSpPr>
            <a:spLocks noGrp="1"/>
          </p:cNvSpPr>
          <p:nvPr>
            <p:ph type="title" hasCustomPrompt="1"/>
          </p:nvPr>
        </p:nvSpPr>
        <p:spPr>
          <a:xfrm>
            <a:off x="515938" y="2795081"/>
            <a:ext cx="3556709" cy="1294408"/>
          </a:xfrm>
        </p:spPr>
        <p:txBody>
          <a:bodyPr anchor="ctr"/>
          <a:lstStyle>
            <a:lvl1pPr algn="l" defTabSz="914400" rtl="0" eaLnBrk="1" latinLnBrk="0" hangingPunct="1">
              <a:lnSpc>
                <a:spcPct val="85000"/>
              </a:lnSpc>
              <a:spcBef>
                <a:spcPct val="0"/>
              </a:spcBef>
              <a:buNone/>
              <a:defRPr lang="en-US" sz="2800" kern="2000" spc="-50" baseline="0" dirty="0">
                <a:solidFill>
                  <a:schemeClr val="tx2"/>
                </a:solidFill>
                <a:latin typeface="+mj-lt"/>
                <a:ea typeface="+mj-ea"/>
                <a:cs typeface="+mj-cs"/>
              </a:defRPr>
            </a:lvl1pPr>
          </a:lstStyle>
          <a:p>
            <a:r>
              <a:rPr lang="en-US"/>
              <a:t>Title+4 Contents layout </a:t>
            </a:r>
            <a:br>
              <a:rPr lang="en-US"/>
            </a:br>
            <a:r>
              <a:rPr lang="en-US"/>
              <a:t>Title up to </a:t>
            </a:r>
            <a:br>
              <a:rPr lang="en-US"/>
            </a:br>
            <a:r>
              <a:rPr lang="en-US"/>
              <a:t>3 lines maximum</a:t>
            </a:r>
          </a:p>
        </p:txBody>
      </p:sp>
      <p:sp>
        <p:nvSpPr>
          <p:cNvPr id="3" name="Picture Placeholder 2">
            <a:extLst>
              <a:ext uri="{FF2B5EF4-FFF2-40B4-BE49-F238E27FC236}">
                <a16:creationId xmlns:a16="http://schemas.microsoft.com/office/drawing/2014/main" id="{F0B8F96D-FD44-F171-A9D8-DBDAC78FC8E4}"/>
              </a:ext>
            </a:extLst>
          </p:cNvPr>
          <p:cNvSpPr>
            <a:spLocks noGrp="1" noChangeAspect="1"/>
          </p:cNvSpPr>
          <p:nvPr>
            <p:ph type="pic" sz="quarter" idx="23" hasCustomPrompt="1"/>
          </p:nvPr>
        </p:nvSpPr>
        <p:spPr>
          <a:xfrm>
            <a:off x="4629921" y="691208"/>
            <a:ext cx="759113" cy="759113"/>
          </a:xfrm>
        </p:spPr>
        <p:txBody>
          <a:bodyPr lIns="144000"/>
          <a:lstStyle>
            <a:lvl1pPr marL="0" indent="0">
              <a:buNone/>
              <a:defRPr sz="1400"/>
            </a:lvl1pPr>
          </a:lstStyle>
          <a:p>
            <a:r>
              <a:rPr lang="en-US"/>
              <a:t>Icon</a:t>
            </a:r>
          </a:p>
        </p:txBody>
      </p:sp>
      <p:sp>
        <p:nvSpPr>
          <p:cNvPr id="7" name="Text Placeholder 22">
            <a:extLst>
              <a:ext uri="{FF2B5EF4-FFF2-40B4-BE49-F238E27FC236}">
                <a16:creationId xmlns:a16="http://schemas.microsoft.com/office/drawing/2014/main" id="{540F481F-27E2-9596-6618-0167AE789EB7}"/>
              </a:ext>
            </a:extLst>
          </p:cNvPr>
          <p:cNvSpPr>
            <a:spLocks noGrp="1"/>
          </p:cNvSpPr>
          <p:nvPr>
            <p:ph type="body" sz="quarter" idx="13" hasCustomPrompt="1"/>
          </p:nvPr>
        </p:nvSpPr>
        <p:spPr>
          <a:xfrm>
            <a:off x="5704822" y="699924"/>
            <a:ext cx="5360054" cy="263149"/>
          </a:xfrm>
        </p:spPr>
        <p:txBody>
          <a:bodyPr wrap="square" anchor="b">
            <a:noAutofit/>
          </a:bodyPr>
          <a:lstStyle>
            <a:lvl1pPr marL="0" indent="0">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11" name="Text Placeholder 16">
            <a:extLst>
              <a:ext uri="{FF2B5EF4-FFF2-40B4-BE49-F238E27FC236}">
                <a16:creationId xmlns:a16="http://schemas.microsoft.com/office/drawing/2014/main" id="{5AD3B09A-9879-9D06-43BD-4EA317213C47}"/>
              </a:ext>
            </a:extLst>
          </p:cNvPr>
          <p:cNvSpPr>
            <a:spLocks noGrp="1"/>
          </p:cNvSpPr>
          <p:nvPr>
            <p:ph type="body" sz="quarter" idx="15" hasCustomPrompt="1"/>
          </p:nvPr>
        </p:nvSpPr>
        <p:spPr>
          <a:xfrm>
            <a:off x="5704821" y="101917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4" name="Picture Placeholder 2">
            <a:extLst>
              <a:ext uri="{FF2B5EF4-FFF2-40B4-BE49-F238E27FC236}">
                <a16:creationId xmlns:a16="http://schemas.microsoft.com/office/drawing/2014/main" id="{A9FF6113-EF3A-1576-D73C-A52A121FAB1C}"/>
              </a:ext>
            </a:extLst>
          </p:cNvPr>
          <p:cNvSpPr>
            <a:spLocks noGrp="1" noChangeAspect="1"/>
          </p:cNvSpPr>
          <p:nvPr>
            <p:ph type="pic" sz="quarter" idx="24" hasCustomPrompt="1"/>
          </p:nvPr>
        </p:nvSpPr>
        <p:spPr>
          <a:xfrm>
            <a:off x="4629921" y="2138783"/>
            <a:ext cx="759113" cy="759113"/>
          </a:xfrm>
        </p:spPr>
        <p:txBody>
          <a:bodyPr lIns="144000"/>
          <a:lstStyle>
            <a:lvl1pPr marL="0" indent="0">
              <a:buNone/>
              <a:defRPr sz="1400"/>
            </a:lvl1pPr>
          </a:lstStyle>
          <a:p>
            <a:r>
              <a:rPr lang="en-US"/>
              <a:t>Icon</a:t>
            </a:r>
          </a:p>
        </p:txBody>
      </p:sp>
      <p:sp>
        <p:nvSpPr>
          <p:cNvPr id="8" name="Text Placeholder 22">
            <a:extLst>
              <a:ext uri="{FF2B5EF4-FFF2-40B4-BE49-F238E27FC236}">
                <a16:creationId xmlns:a16="http://schemas.microsoft.com/office/drawing/2014/main" id="{0D18EACE-127B-6B06-AD25-4A2241813BAF}"/>
              </a:ext>
            </a:extLst>
          </p:cNvPr>
          <p:cNvSpPr>
            <a:spLocks noGrp="1"/>
          </p:cNvSpPr>
          <p:nvPr>
            <p:ph type="body" sz="quarter" idx="16" hasCustomPrompt="1"/>
          </p:nvPr>
        </p:nvSpPr>
        <p:spPr>
          <a:xfrm>
            <a:off x="5704822" y="2143614"/>
            <a:ext cx="5360054" cy="263149"/>
          </a:xfrm>
        </p:spPr>
        <p:txBody>
          <a:bodyPr wrap="square" anchor="b">
            <a:noAutofit/>
          </a:bodyPr>
          <a:lstStyle>
            <a:lvl1pPr marL="0" indent="0">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12" name="Text Placeholder 16">
            <a:extLst>
              <a:ext uri="{FF2B5EF4-FFF2-40B4-BE49-F238E27FC236}">
                <a16:creationId xmlns:a16="http://schemas.microsoft.com/office/drawing/2014/main" id="{FE68A898-D303-8D55-DAE9-354A3ADEF94C}"/>
              </a:ext>
            </a:extLst>
          </p:cNvPr>
          <p:cNvSpPr>
            <a:spLocks noGrp="1"/>
          </p:cNvSpPr>
          <p:nvPr>
            <p:ph type="body" sz="quarter" idx="17" hasCustomPrompt="1"/>
          </p:nvPr>
        </p:nvSpPr>
        <p:spPr>
          <a:xfrm>
            <a:off x="5704821" y="246286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5" name="Picture Placeholder 2">
            <a:extLst>
              <a:ext uri="{FF2B5EF4-FFF2-40B4-BE49-F238E27FC236}">
                <a16:creationId xmlns:a16="http://schemas.microsoft.com/office/drawing/2014/main" id="{B81CC10C-2479-2172-4790-C33A7D0FDF87}"/>
              </a:ext>
            </a:extLst>
          </p:cNvPr>
          <p:cNvSpPr>
            <a:spLocks noGrp="1" noChangeAspect="1"/>
          </p:cNvSpPr>
          <p:nvPr>
            <p:ph type="pic" sz="quarter" idx="25" hasCustomPrompt="1"/>
          </p:nvPr>
        </p:nvSpPr>
        <p:spPr>
          <a:xfrm>
            <a:off x="4629921" y="3586358"/>
            <a:ext cx="759113" cy="759113"/>
          </a:xfrm>
        </p:spPr>
        <p:txBody>
          <a:bodyPr lIns="144000"/>
          <a:lstStyle>
            <a:lvl1pPr marL="0" indent="0">
              <a:buNone/>
              <a:defRPr sz="1400"/>
            </a:lvl1pPr>
          </a:lstStyle>
          <a:p>
            <a:r>
              <a:rPr lang="en-US"/>
              <a:t>Icon</a:t>
            </a:r>
          </a:p>
        </p:txBody>
      </p:sp>
      <p:sp>
        <p:nvSpPr>
          <p:cNvPr id="9" name="Text Placeholder 22">
            <a:extLst>
              <a:ext uri="{FF2B5EF4-FFF2-40B4-BE49-F238E27FC236}">
                <a16:creationId xmlns:a16="http://schemas.microsoft.com/office/drawing/2014/main" id="{9D4E19AD-AAFC-4CA9-0DD1-B7CB4DF0A72F}"/>
              </a:ext>
            </a:extLst>
          </p:cNvPr>
          <p:cNvSpPr>
            <a:spLocks noGrp="1"/>
          </p:cNvSpPr>
          <p:nvPr>
            <p:ph type="body" sz="quarter" idx="18" hasCustomPrompt="1"/>
          </p:nvPr>
        </p:nvSpPr>
        <p:spPr>
          <a:xfrm>
            <a:off x="5704822" y="3587071"/>
            <a:ext cx="5360054" cy="263149"/>
          </a:xfrm>
        </p:spPr>
        <p:txBody>
          <a:bodyPr wrap="square" anchor="b">
            <a:noAutofit/>
          </a:bodyPr>
          <a:lstStyle>
            <a:lvl1pPr marL="0" indent="0">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13" name="Text Placeholder 16">
            <a:extLst>
              <a:ext uri="{FF2B5EF4-FFF2-40B4-BE49-F238E27FC236}">
                <a16:creationId xmlns:a16="http://schemas.microsoft.com/office/drawing/2014/main" id="{EA88F319-A94C-7FA8-D23A-48F40D533176}"/>
              </a:ext>
            </a:extLst>
          </p:cNvPr>
          <p:cNvSpPr>
            <a:spLocks noGrp="1"/>
          </p:cNvSpPr>
          <p:nvPr>
            <p:ph type="body" sz="quarter" idx="19" hasCustomPrompt="1"/>
          </p:nvPr>
        </p:nvSpPr>
        <p:spPr>
          <a:xfrm>
            <a:off x="5704821" y="3906322"/>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6" name="Picture Placeholder 2">
            <a:extLst>
              <a:ext uri="{FF2B5EF4-FFF2-40B4-BE49-F238E27FC236}">
                <a16:creationId xmlns:a16="http://schemas.microsoft.com/office/drawing/2014/main" id="{36FDE296-B561-8BFB-75AC-DF9E526B6014}"/>
              </a:ext>
            </a:extLst>
          </p:cNvPr>
          <p:cNvSpPr>
            <a:spLocks noGrp="1" noChangeAspect="1"/>
          </p:cNvSpPr>
          <p:nvPr>
            <p:ph type="pic" sz="quarter" idx="26" hasCustomPrompt="1"/>
          </p:nvPr>
        </p:nvSpPr>
        <p:spPr>
          <a:xfrm>
            <a:off x="4629921" y="5033933"/>
            <a:ext cx="759113" cy="759113"/>
          </a:xfrm>
        </p:spPr>
        <p:txBody>
          <a:bodyPr lIns="144000"/>
          <a:lstStyle>
            <a:lvl1pPr marL="0" indent="0">
              <a:buNone/>
              <a:defRPr sz="1400"/>
            </a:lvl1pPr>
          </a:lstStyle>
          <a:p>
            <a:r>
              <a:rPr lang="en-US"/>
              <a:t>Icon</a:t>
            </a:r>
          </a:p>
        </p:txBody>
      </p:sp>
      <p:sp>
        <p:nvSpPr>
          <p:cNvPr id="10" name="Text Placeholder 22">
            <a:extLst>
              <a:ext uri="{FF2B5EF4-FFF2-40B4-BE49-F238E27FC236}">
                <a16:creationId xmlns:a16="http://schemas.microsoft.com/office/drawing/2014/main" id="{D992648B-AB2D-7A33-2295-0C1C75B319F2}"/>
              </a:ext>
            </a:extLst>
          </p:cNvPr>
          <p:cNvSpPr>
            <a:spLocks noGrp="1"/>
          </p:cNvSpPr>
          <p:nvPr>
            <p:ph type="body" sz="quarter" idx="20" hasCustomPrompt="1"/>
          </p:nvPr>
        </p:nvSpPr>
        <p:spPr>
          <a:xfrm>
            <a:off x="5704822" y="5021236"/>
            <a:ext cx="5360054" cy="263149"/>
          </a:xfrm>
        </p:spPr>
        <p:txBody>
          <a:bodyPr wrap="square" anchor="b">
            <a:noAutofit/>
          </a:bodyPr>
          <a:lstStyle>
            <a:lvl1pPr marL="0" indent="0">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14" name="Text Placeholder 16">
            <a:extLst>
              <a:ext uri="{FF2B5EF4-FFF2-40B4-BE49-F238E27FC236}">
                <a16:creationId xmlns:a16="http://schemas.microsoft.com/office/drawing/2014/main" id="{650DFDAE-2409-3A42-4F81-05073BC1CAE7}"/>
              </a:ext>
            </a:extLst>
          </p:cNvPr>
          <p:cNvSpPr>
            <a:spLocks noGrp="1"/>
          </p:cNvSpPr>
          <p:nvPr>
            <p:ph type="body" sz="quarter" idx="21" hasCustomPrompt="1"/>
          </p:nvPr>
        </p:nvSpPr>
        <p:spPr>
          <a:xfrm>
            <a:off x="5704821" y="5340487"/>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grpSp>
        <p:nvGrpSpPr>
          <p:cNvPr id="15" name="Group 14">
            <a:extLst>
              <a:ext uri="{FF2B5EF4-FFF2-40B4-BE49-F238E27FC236}">
                <a16:creationId xmlns:a16="http://schemas.microsoft.com/office/drawing/2014/main" id="{F77BD259-5024-44B6-4331-133DCABB8F9C}"/>
              </a:ext>
            </a:extLst>
          </p:cNvPr>
          <p:cNvGrpSpPr/>
          <p:nvPr userDrawn="1"/>
        </p:nvGrpSpPr>
        <p:grpSpPr>
          <a:xfrm>
            <a:off x="12290489" y="-1"/>
            <a:ext cx="2910882" cy="6858001"/>
            <a:chOff x="12290489" y="-1"/>
            <a:chExt cx="2910882" cy="6858001"/>
          </a:xfrm>
        </p:grpSpPr>
        <p:sp>
          <p:nvSpPr>
            <p:cNvPr id="16" name="Rectangle 15">
              <a:extLst>
                <a:ext uri="{FF2B5EF4-FFF2-40B4-BE49-F238E27FC236}">
                  <a16:creationId xmlns:a16="http://schemas.microsoft.com/office/drawing/2014/main" id="{52FE775B-0093-4339-5EF6-270DB363C18B}"/>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17" name="TextBox 16">
              <a:extLst>
                <a:ext uri="{FF2B5EF4-FFF2-40B4-BE49-F238E27FC236}">
                  <a16:creationId xmlns:a16="http://schemas.microsoft.com/office/drawing/2014/main" id="{916B6350-C36C-32D0-951C-C8D8FB8416BF}"/>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18" name="Straight Connector 17">
              <a:extLst>
                <a:ext uri="{FF2B5EF4-FFF2-40B4-BE49-F238E27FC236}">
                  <a16:creationId xmlns:a16="http://schemas.microsoft.com/office/drawing/2014/main" id="{E47D660B-4936-78D8-F4A4-DAB0BC7E03C5}"/>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BC0AE0E-4AD4-BEE7-FD9C-5EA2E0A1B141}"/>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20" name="TextBox 19">
              <a:extLst>
                <a:ext uri="{FF2B5EF4-FFF2-40B4-BE49-F238E27FC236}">
                  <a16:creationId xmlns:a16="http://schemas.microsoft.com/office/drawing/2014/main" id="{49209059-CF1E-08D3-3F7A-FAC35FDA9BBF}"/>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21" name="TextBox 20">
              <a:extLst>
                <a:ext uri="{FF2B5EF4-FFF2-40B4-BE49-F238E27FC236}">
                  <a16:creationId xmlns:a16="http://schemas.microsoft.com/office/drawing/2014/main" id="{0C971D57-2421-B227-300E-995A04705C6F}"/>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22" name="TextBox 21">
              <a:extLst>
                <a:ext uri="{FF2B5EF4-FFF2-40B4-BE49-F238E27FC236}">
                  <a16:creationId xmlns:a16="http://schemas.microsoft.com/office/drawing/2014/main" id="{BBE78A04-3089-6613-C6E2-1FC39D17BE01}"/>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23" name="TextBox 22">
              <a:extLst>
                <a:ext uri="{FF2B5EF4-FFF2-40B4-BE49-F238E27FC236}">
                  <a16:creationId xmlns:a16="http://schemas.microsoft.com/office/drawing/2014/main" id="{9056B1A2-EA1B-551F-CE17-C2C9E6A48604}"/>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24" name="TextBox 23">
              <a:extLst>
                <a:ext uri="{FF2B5EF4-FFF2-40B4-BE49-F238E27FC236}">
                  <a16:creationId xmlns:a16="http://schemas.microsoft.com/office/drawing/2014/main" id="{0D4E0F89-0DA1-B58C-F760-D369065B0B77}"/>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25" name="Group 24">
              <a:extLst>
                <a:ext uri="{FF2B5EF4-FFF2-40B4-BE49-F238E27FC236}">
                  <a16:creationId xmlns:a16="http://schemas.microsoft.com/office/drawing/2014/main" id="{E1D13BA3-44A8-CAFB-C917-A93DE8FDC4EC}"/>
                </a:ext>
              </a:extLst>
            </p:cNvPr>
            <p:cNvGrpSpPr/>
            <p:nvPr userDrawn="1"/>
          </p:nvGrpSpPr>
          <p:grpSpPr>
            <a:xfrm>
              <a:off x="12429548" y="3236396"/>
              <a:ext cx="2735151" cy="1280928"/>
              <a:chOff x="9286315" y="6976989"/>
              <a:chExt cx="2735151" cy="1280928"/>
            </a:xfrm>
          </p:grpSpPr>
          <p:sp>
            <p:nvSpPr>
              <p:cNvPr id="36" name="Rectangle 35">
                <a:extLst>
                  <a:ext uri="{FF2B5EF4-FFF2-40B4-BE49-F238E27FC236}">
                    <a16:creationId xmlns:a16="http://schemas.microsoft.com/office/drawing/2014/main" id="{7A32D45A-C3C8-4CCC-D60D-8700BE89FC85}"/>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37" name="TextBox 36">
                <a:extLst>
                  <a:ext uri="{FF2B5EF4-FFF2-40B4-BE49-F238E27FC236}">
                    <a16:creationId xmlns:a16="http://schemas.microsoft.com/office/drawing/2014/main" id="{3F6B4FEE-B9D7-E3A2-54A0-6CB4EB6508A6}"/>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38" name="Graphic 37">
                <a:extLst>
                  <a:ext uri="{FF2B5EF4-FFF2-40B4-BE49-F238E27FC236}">
                    <a16:creationId xmlns:a16="http://schemas.microsoft.com/office/drawing/2014/main" id="{AB491D60-107E-9739-2EDC-58193D6B2F5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9" name="TextBox 38">
                <a:extLst>
                  <a:ext uri="{FF2B5EF4-FFF2-40B4-BE49-F238E27FC236}">
                    <a16:creationId xmlns:a16="http://schemas.microsoft.com/office/drawing/2014/main" id="{57DC661C-AD94-461B-568F-70D6BC77072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40" name="Picture 39">
                <a:extLst>
                  <a:ext uri="{FF2B5EF4-FFF2-40B4-BE49-F238E27FC236}">
                    <a16:creationId xmlns:a16="http://schemas.microsoft.com/office/drawing/2014/main" id="{6D706E30-F202-512E-97C2-B5A1E80B10F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41" name="TextBox 40">
                <a:extLst>
                  <a:ext uri="{FF2B5EF4-FFF2-40B4-BE49-F238E27FC236}">
                    <a16:creationId xmlns:a16="http://schemas.microsoft.com/office/drawing/2014/main" id="{F168A4D1-5CBC-0C8E-508D-C0418A398772}"/>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26" name="Group 25">
              <a:extLst>
                <a:ext uri="{FF2B5EF4-FFF2-40B4-BE49-F238E27FC236}">
                  <a16:creationId xmlns:a16="http://schemas.microsoft.com/office/drawing/2014/main" id="{F52AE86E-D8B8-1BF3-EC0B-3797D2FE28B7}"/>
                </a:ext>
              </a:extLst>
            </p:cNvPr>
            <p:cNvGrpSpPr/>
            <p:nvPr userDrawn="1"/>
          </p:nvGrpSpPr>
          <p:grpSpPr>
            <a:xfrm>
              <a:off x="12429548" y="4543123"/>
              <a:ext cx="2735151" cy="2200108"/>
              <a:chOff x="9538241" y="5155416"/>
              <a:chExt cx="2735151" cy="2200108"/>
            </a:xfrm>
          </p:grpSpPr>
          <p:sp>
            <p:nvSpPr>
              <p:cNvPr id="27" name="Rectangle 26">
                <a:extLst>
                  <a:ext uri="{FF2B5EF4-FFF2-40B4-BE49-F238E27FC236}">
                    <a16:creationId xmlns:a16="http://schemas.microsoft.com/office/drawing/2014/main" id="{D6CA8E4E-476B-E795-39BB-D722B3918A62}"/>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8" name="TextBox 27">
                <a:extLst>
                  <a:ext uri="{FF2B5EF4-FFF2-40B4-BE49-F238E27FC236}">
                    <a16:creationId xmlns:a16="http://schemas.microsoft.com/office/drawing/2014/main" id="{C0ECE1EB-12A9-D2EA-BCC2-1C89AA3CA37F}"/>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29" name="Graphic 28">
                <a:extLst>
                  <a:ext uri="{FF2B5EF4-FFF2-40B4-BE49-F238E27FC236}">
                    <a16:creationId xmlns:a16="http://schemas.microsoft.com/office/drawing/2014/main" id="{77FFFF79-8EA8-8E88-8297-64A3AB474F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30" name="TextBox 29">
                <a:extLst>
                  <a:ext uri="{FF2B5EF4-FFF2-40B4-BE49-F238E27FC236}">
                    <a16:creationId xmlns:a16="http://schemas.microsoft.com/office/drawing/2014/main" id="{7A987C7D-D402-05C5-7814-3B4992F76448}"/>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31" name="TextBox 30">
                <a:extLst>
                  <a:ext uri="{FF2B5EF4-FFF2-40B4-BE49-F238E27FC236}">
                    <a16:creationId xmlns:a16="http://schemas.microsoft.com/office/drawing/2014/main" id="{358C2B31-5BF3-7D1F-F330-17B484B5CF90}"/>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32" name="TextBox 31">
                <a:extLst>
                  <a:ext uri="{FF2B5EF4-FFF2-40B4-BE49-F238E27FC236}">
                    <a16:creationId xmlns:a16="http://schemas.microsoft.com/office/drawing/2014/main" id="{B3A02F4C-1B41-DEEC-F47C-85A33098BDBA}"/>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33" name="TextBox 32">
                <a:extLst>
                  <a:ext uri="{FF2B5EF4-FFF2-40B4-BE49-F238E27FC236}">
                    <a16:creationId xmlns:a16="http://schemas.microsoft.com/office/drawing/2014/main" id="{3674C09F-DA87-9239-0455-AFFD216A879E}"/>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34" name="Straight Connector 33">
                <a:extLst>
                  <a:ext uri="{FF2B5EF4-FFF2-40B4-BE49-F238E27FC236}">
                    <a16:creationId xmlns:a16="http://schemas.microsoft.com/office/drawing/2014/main" id="{9CD5E69C-23BB-9751-7615-10986D576FFD}"/>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345A950-5552-9237-C3A1-52E17E835B51}"/>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TextBox 1">
            <a:extLst>
              <a:ext uri="{FF2B5EF4-FFF2-40B4-BE49-F238E27FC236}">
                <a16:creationId xmlns:a16="http://schemas.microsoft.com/office/drawing/2014/main" id="{BDBEE89A-B45C-7D54-BFA0-559F4BC62BC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
        <p:nvSpPr>
          <p:cNvPr id="42" name="Footer Placeholder 2">
            <a:extLst>
              <a:ext uri="{FF2B5EF4-FFF2-40B4-BE49-F238E27FC236}">
                <a16:creationId xmlns:a16="http://schemas.microsoft.com/office/drawing/2014/main" id="{920B862D-804D-E51A-93CC-90FE3076AA3F}"/>
              </a:ext>
            </a:extLst>
          </p:cNvPr>
          <p:cNvSpPr>
            <a:spLocks noGrp="1"/>
          </p:cNvSpPr>
          <p:nvPr>
            <p:ph type="ftr" sz="quarter" idx="3"/>
          </p:nvPr>
        </p:nvSpPr>
        <p:spPr>
          <a:xfrm>
            <a:off x="515938" y="6396925"/>
            <a:ext cx="6359648" cy="118174"/>
          </a:xfrm>
          <a:prstGeom prst="rect">
            <a:avLst/>
          </a:prstGeom>
        </p:spPr>
        <p:txBody>
          <a:bodyPr vert="horz" wrap="square" lIns="0" tIns="0" rIns="0" bIns="0" rtlCol="0" anchor="b">
            <a:no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90000"/>
                  </a:schemeClr>
                </a:solidFill>
                <a:latin typeface="+mn-lt"/>
                <a:ea typeface="+mn-ea"/>
                <a:cs typeface="+mn-cs"/>
              </a:defRPr>
            </a:lvl1pPr>
          </a:lstStyle>
          <a:p>
            <a:r>
              <a:rPr lang="en-CA"/>
              <a:t>5G Broadcast Conference</a:t>
            </a:r>
          </a:p>
        </p:txBody>
      </p:sp>
    </p:spTree>
    <p:extLst>
      <p:ext uri="{BB962C8B-B14F-4D97-AF65-F5344CB8AC3E}">
        <p14:creationId xmlns:p14="http://schemas.microsoft.com/office/powerpoint/2010/main" val="382642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8" pos="2570">
          <p15:clr>
            <a:srgbClr val="FBAE40"/>
          </p15:clr>
        </p15:guide>
      </p15:sldGuideLst>
    </p:ext>
  </p:extLs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wo Column_Dark Blue">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wo column layout</a:t>
            </a:r>
            <a:br>
              <a:rPr lang="en-US"/>
            </a:br>
            <a:r>
              <a:rPr lang="en-US"/>
              <a:t>Title 2 lines maximum</a:t>
            </a:r>
            <a:endParaRPr lang="en-CA"/>
          </a:p>
        </p:txBody>
      </p:sp>
      <p:sp>
        <p:nvSpPr>
          <p:cNvPr id="8" name="Picture Placeholder 2">
            <a:extLst>
              <a:ext uri="{FF2B5EF4-FFF2-40B4-BE49-F238E27FC236}">
                <a16:creationId xmlns:a16="http://schemas.microsoft.com/office/drawing/2014/main" id="{BDA827D7-28EB-4441-6CCA-2B0C03B56D27}"/>
              </a:ext>
            </a:extLst>
          </p:cNvPr>
          <p:cNvSpPr>
            <a:spLocks noGrp="1" noChangeAspect="1"/>
          </p:cNvSpPr>
          <p:nvPr>
            <p:ph type="pic" sz="quarter" idx="25" hasCustomPrompt="1"/>
          </p:nvPr>
        </p:nvSpPr>
        <p:spPr>
          <a:xfrm>
            <a:off x="531812" y="1601038"/>
            <a:ext cx="835024" cy="835024"/>
          </a:xfrm>
        </p:spPr>
        <p:txBody>
          <a:bodyPr lIns="144000"/>
          <a:lstStyle>
            <a:lvl1pPr marL="0" indent="0">
              <a:buNone/>
              <a:defRPr sz="1400"/>
            </a:lvl1pPr>
          </a:lstStyle>
          <a:p>
            <a:r>
              <a:rPr lang="en-US"/>
              <a:t>Icon</a:t>
            </a:r>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2489200"/>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37" name="Group 36">
            <a:extLst>
              <a:ext uri="{FF2B5EF4-FFF2-40B4-BE49-F238E27FC236}">
                <a16:creationId xmlns:a16="http://schemas.microsoft.com/office/drawing/2014/main" id="{10F49D17-1776-704C-F74F-C44449FC5E27}"/>
              </a:ext>
            </a:extLst>
          </p:cNvPr>
          <p:cNvGrpSpPr/>
          <p:nvPr userDrawn="1"/>
        </p:nvGrpSpPr>
        <p:grpSpPr>
          <a:xfrm>
            <a:off x="12290489" y="-1"/>
            <a:ext cx="2910882" cy="6858001"/>
            <a:chOff x="12290489" y="-1"/>
            <a:chExt cx="2910882" cy="6858001"/>
          </a:xfrm>
        </p:grpSpPr>
        <p:sp>
          <p:nvSpPr>
            <p:cNvPr id="38" name="Rectangle 37">
              <a:extLst>
                <a:ext uri="{FF2B5EF4-FFF2-40B4-BE49-F238E27FC236}">
                  <a16:creationId xmlns:a16="http://schemas.microsoft.com/office/drawing/2014/main" id="{EDF2EBFD-3940-9CE6-E2E4-A2DB14C55283}"/>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39" name="TextBox 38">
              <a:extLst>
                <a:ext uri="{FF2B5EF4-FFF2-40B4-BE49-F238E27FC236}">
                  <a16:creationId xmlns:a16="http://schemas.microsoft.com/office/drawing/2014/main" id="{4FA1526F-D10C-3137-C3EB-5ED0C5512632}"/>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0" name="Straight Connector 39">
              <a:extLst>
                <a:ext uri="{FF2B5EF4-FFF2-40B4-BE49-F238E27FC236}">
                  <a16:creationId xmlns:a16="http://schemas.microsoft.com/office/drawing/2014/main" id="{FDF68A1C-6DE8-56A7-465F-77F758319340}"/>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F427A8-EEBF-A0CE-7522-66C59E5C6DF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3D7672A3-A78B-1FD0-3F75-6020EC5B3B7F}"/>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3" name="TextBox 42">
              <a:extLst>
                <a:ext uri="{FF2B5EF4-FFF2-40B4-BE49-F238E27FC236}">
                  <a16:creationId xmlns:a16="http://schemas.microsoft.com/office/drawing/2014/main" id="{D220AF2A-18A4-D5E2-CC7A-337576F03CC7}"/>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4" name="TextBox 43">
              <a:extLst>
                <a:ext uri="{FF2B5EF4-FFF2-40B4-BE49-F238E27FC236}">
                  <a16:creationId xmlns:a16="http://schemas.microsoft.com/office/drawing/2014/main" id="{9345F942-0D58-8E65-B8C6-D2AA0093364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5" name="TextBox 44">
              <a:extLst>
                <a:ext uri="{FF2B5EF4-FFF2-40B4-BE49-F238E27FC236}">
                  <a16:creationId xmlns:a16="http://schemas.microsoft.com/office/drawing/2014/main" id="{7AD4600F-A71F-1EBC-44F0-2E985C054719}"/>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6" name="TextBox 45">
              <a:extLst>
                <a:ext uri="{FF2B5EF4-FFF2-40B4-BE49-F238E27FC236}">
                  <a16:creationId xmlns:a16="http://schemas.microsoft.com/office/drawing/2014/main" id="{4A580109-8D86-1BB1-008B-25C45ADD515F}"/>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47" name="Group 46">
              <a:extLst>
                <a:ext uri="{FF2B5EF4-FFF2-40B4-BE49-F238E27FC236}">
                  <a16:creationId xmlns:a16="http://schemas.microsoft.com/office/drawing/2014/main" id="{BD59EE4B-AD30-EDD9-596F-D986D6B32612}"/>
                </a:ext>
              </a:extLst>
            </p:cNvPr>
            <p:cNvGrpSpPr/>
            <p:nvPr userDrawn="1"/>
          </p:nvGrpSpPr>
          <p:grpSpPr>
            <a:xfrm>
              <a:off x="12429548" y="3236396"/>
              <a:ext cx="2735151" cy="1280928"/>
              <a:chOff x="9286315" y="6976989"/>
              <a:chExt cx="2735151" cy="1280928"/>
            </a:xfrm>
          </p:grpSpPr>
          <p:sp>
            <p:nvSpPr>
              <p:cNvPr id="58" name="Rectangle 57">
                <a:extLst>
                  <a:ext uri="{FF2B5EF4-FFF2-40B4-BE49-F238E27FC236}">
                    <a16:creationId xmlns:a16="http://schemas.microsoft.com/office/drawing/2014/main" id="{49D5E409-C37A-B0A2-33BB-0359BF510F25}"/>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9" name="TextBox 58">
                <a:extLst>
                  <a:ext uri="{FF2B5EF4-FFF2-40B4-BE49-F238E27FC236}">
                    <a16:creationId xmlns:a16="http://schemas.microsoft.com/office/drawing/2014/main" id="{EDB34C46-268C-7C96-AE28-BFE240E2A471}"/>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0" name="Graphic 59">
                <a:extLst>
                  <a:ext uri="{FF2B5EF4-FFF2-40B4-BE49-F238E27FC236}">
                    <a16:creationId xmlns:a16="http://schemas.microsoft.com/office/drawing/2014/main" id="{6875A335-18CC-8BF6-B5D9-843B33D62F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1" name="TextBox 60">
                <a:extLst>
                  <a:ext uri="{FF2B5EF4-FFF2-40B4-BE49-F238E27FC236}">
                    <a16:creationId xmlns:a16="http://schemas.microsoft.com/office/drawing/2014/main" id="{4C322459-BC36-4B8E-CFAE-B94820CAD34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62" name="Picture 61">
                <a:extLst>
                  <a:ext uri="{FF2B5EF4-FFF2-40B4-BE49-F238E27FC236}">
                    <a16:creationId xmlns:a16="http://schemas.microsoft.com/office/drawing/2014/main" id="{9ED8ECBA-C3F7-5048-0976-D24D5956382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3" name="TextBox 62">
                <a:extLst>
                  <a:ext uri="{FF2B5EF4-FFF2-40B4-BE49-F238E27FC236}">
                    <a16:creationId xmlns:a16="http://schemas.microsoft.com/office/drawing/2014/main" id="{754B0BA7-750B-D607-DC5A-F4F85F52221F}"/>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48" name="Group 47">
              <a:extLst>
                <a:ext uri="{FF2B5EF4-FFF2-40B4-BE49-F238E27FC236}">
                  <a16:creationId xmlns:a16="http://schemas.microsoft.com/office/drawing/2014/main" id="{279BE43B-F235-6EAE-7BF8-457F5AEADC82}"/>
                </a:ext>
              </a:extLst>
            </p:cNvPr>
            <p:cNvGrpSpPr/>
            <p:nvPr userDrawn="1"/>
          </p:nvGrpSpPr>
          <p:grpSpPr>
            <a:xfrm>
              <a:off x="12429548" y="4543123"/>
              <a:ext cx="2735151" cy="2200108"/>
              <a:chOff x="9538241" y="5155416"/>
              <a:chExt cx="2735151" cy="2200108"/>
            </a:xfrm>
          </p:grpSpPr>
          <p:sp>
            <p:nvSpPr>
              <p:cNvPr id="49" name="Rectangle 48">
                <a:extLst>
                  <a:ext uri="{FF2B5EF4-FFF2-40B4-BE49-F238E27FC236}">
                    <a16:creationId xmlns:a16="http://schemas.microsoft.com/office/drawing/2014/main" id="{9BF2F786-4459-B79C-0B6C-AE60936F3550}"/>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0" name="TextBox 49">
                <a:extLst>
                  <a:ext uri="{FF2B5EF4-FFF2-40B4-BE49-F238E27FC236}">
                    <a16:creationId xmlns:a16="http://schemas.microsoft.com/office/drawing/2014/main" id="{6EE5E131-DBB4-125E-2F8F-2AA225201E4E}"/>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1" name="Graphic 50">
                <a:extLst>
                  <a:ext uri="{FF2B5EF4-FFF2-40B4-BE49-F238E27FC236}">
                    <a16:creationId xmlns:a16="http://schemas.microsoft.com/office/drawing/2014/main" id="{13C7612B-4333-2101-D385-32A0F0801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2" name="TextBox 51">
                <a:extLst>
                  <a:ext uri="{FF2B5EF4-FFF2-40B4-BE49-F238E27FC236}">
                    <a16:creationId xmlns:a16="http://schemas.microsoft.com/office/drawing/2014/main" id="{92246FC0-FE5E-C371-C5FE-0C06A53AB56F}"/>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3" name="TextBox 52">
                <a:extLst>
                  <a:ext uri="{FF2B5EF4-FFF2-40B4-BE49-F238E27FC236}">
                    <a16:creationId xmlns:a16="http://schemas.microsoft.com/office/drawing/2014/main" id="{7D86C7BB-19BF-2243-ABDF-E97B5A6A49D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4" name="TextBox 53">
                <a:extLst>
                  <a:ext uri="{FF2B5EF4-FFF2-40B4-BE49-F238E27FC236}">
                    <a16:creationId xmlns:a16="http://schemas.microsoft.com/office/drawing/2014/main" id="{A1904FFB-C739-0F90-C7F5-DA9DED094FAB}"/>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5" name="TextBox 54">
                <a:extLst>
                  <a:ext uri="{FF2B5EF4-FFF2-40B4-BE49-F238E27FC236}">
                    <a16:creationId xmlns:a16="http://schemas.microsoft.com/office/drawing/2014/main" id="{ACB1AC66-5C4B-469C-9B82-3DEC7748C8C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6" name="Straight Connector 55">
                <a:extLst>
                  <a:ext uri="{FF2B5EF4-FFF2-40B4-BE49-F238E27FC236}">
                    <a16:creationId xmlns:a16="http://schemas.microsoft.com/office/drawing/2014/main" id="{59F4B141-EF3E-3F29-C00E-0D1B85F79C61}"/>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FA8221B-19B5-DF1D-3769-8CEB0E2CD3AB}"/>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p>
            <a:r>
              <a:rPr lang="en-CA"/>
              <a:t>5G Broadcast Conference</a:t>
            </a:r>
          </a:p>
        </p:txBody>
      </p:sp>
      <p:sp>
        <p:nvSpPr>
          <p:cNvPr id="9" name="Picture Placeholder 2">
            <a:extLst>
              <a:ext uri="{FF2B5EF4-FFF2-40B4-BE49-F238E27FC236}">
                <a16:creationId xmlns:a16="http://schemas.microsoft.com/office/drawing/2014/main" id="{549703AA-9655-8130-40CE-159745CE956D}"/>
              </a:ext>
            </a:extLst>
          </p:cNvPr>
          <p:cNvSpPr>
            <a:spLocks noGrp="1" noChangeAspect="1"/>
          </p:cNvSpPr>
          <p:nvPr>
            <p:ph type="pic" sz="quarter" idx="33" hasCustomPrompt="1"/>
          </p:nvPr>
        </p:nvSpPr>
        <p:spPr>
          <a:xfrm>
            <a:off x="6240018" y="1601038"/>
            <a:ext cx="835024" cy="835024"/>
          </a:xfrm>
        </p:spPr>
        <p:txBody>
          <a:bodyPr lIns="144000"/>
          <a:lstStyle>
            <a:lvl1pPr marL="0" indent="0">
              <a:buNone/>
              <a:defRPr sz="1400"/>
            </a:lvl1pPr>
          </a:lstStyle>
          <a:p>
            <a:r>
              <a:rPr lang="en-US"/>
              <a:t>Icon</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2489200"/>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Tree>
    <p:extLst>
      <p:ext uri="{BB962C8B-B14F-4D97-AF65-F5344CB8AC3E}">
        <p14:creationId xmlns:p14="http://schemas.microsoft.com/office/powerpoint/2010/main" val="29390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Three Column_Dark Blue">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hree column layout</a:t>
            </a:r>
            <a:br>
              <a:rPr lang="en-US"/>
            </a:br>
            <a:r>
              <a:rPr lang="en-US"/>
              <a:t>Title 2 lines maximum</a:t>
            </a:r>
            <a:endParaRPr lang="en-CA"/>
          </a:p>
        </p:txBody>
      </p:sp>
      <p:sp>
        <p:nvSpPr>
          <p:cNvPr id="6" name="Picture Placeholder 2">
            <a:extLst>
              <a:ext uri="{FF2B5EF4-FFF2-40B4-BE49-F238E27FC236}">
                <a16:creationId xmlns:a16="http://schemas.microsoft.com/office/drawing/2014/main" id="{029115E3-9D47-7E7E-69DC-D8DCC36D5A95}"/>
              </a:ext>
            </a:extLst>
          </p:cNvPr>
          <p:cNvSpPr>
            <a:spLocks noGrp="1" noChangeAspect="1"/>
          </p:cNvSpPr>
          <p:nvPr>
            <p:ph type="pic" sz="quarter" idx="29" hasCustomPrompt="1"/>
          </p:nvPr>
        </p:nvSpPr>
        <p:spPr>
          <a:xfrm>
            <a:off x="531811" y="1601038"/>
            <a:ext cx="835024" cy="835024"/>
          </a:xfrm>
        </p:spPr>
        <p:txBody>
          <a:bodyPr lIns="144000"/>
          <a:lstStyle>
            <a:lvl1pPr marL="0" indent="0">
              <a:buNone/>
              <a:defRPr sz="1400"/>
            </a:lvl1pPr>
          </a:lstStyle>
          <a:p>
            <a:r>
              <a:rPr lang="en-US"/>
              <a:t>Icon</a:t>
            </a:r>
          </a:p>
        </p:txBody>
      </p:sp>
      <p:sp>
        <p:nvSpPr>
          <p:cNvPr id="23" name="TextBox 22">
            <a:extLst>
              <a:ext uri="{FF2B5EF4-FFF2-40B4-BE49-F238E27FC236}">
                <a16:creationId xmlns:a16="http://schemas.microsoft.com/office/drawing/2014/main" id="{EDE40922-B18A-2DF9-C121-EF497B173DA5}"/>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0" name="Group 39">
            <a:extLst>
              <a:ext uri="{FF2B5EF4-FFF2-40B4-BE49-F238E27FC236}">
                <a16:creationId xmlns:a16="http://schemas.microsoft.com/office/drawing/2014/main" id="{C3479EAD-810E-2127-DFE4-C119FFAAF25F}"/>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5BDB44CD-9F2B-F58C-094C-02B9892CF15A}"/>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FB15FE9D-716F-C274-7D27-8D223E8ABE60}"/>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8E80D713-C5E7-B361-2F72-50AD4046E3F8}"/>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B814A9-8A88-5DDE-79A3-1B2EF1A66658}"/>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D615C7A9-E29B-21F9-E2E8-C923E8968F3E}"/>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3EA8DC82-0D60-6232-3BC9-24A65D14C00F}"/>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8FB3888D-CF08-9A5E-6087-0A96D256136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6CBF6BC2-3BF4-D922-4257-F4687B34FC4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0A03FA61-0E9A-7595-F64E-CDB3BA8FA0F9}"/>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045C6CE7-1836-CD98-FD2E-3852CC4F95C4}"/>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A244D9D0-DA66-A41C-0A97-F246FC60386E}"/>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62" name="TextBox 61">
                <a:extLst>
                  <a:ext uri="{FF2B5EF4-FFF2-40B4-BE49-F238E27FC236}">
                    <a16:creationId xmlns:a16="http://schemas.microsoft.com/office/drawing/2014/main" id="{1A64F655-4301-1FB7-250E-9C1A8B5FCB4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26C4B24F-6463-127F-4A4C-E83AB1F243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49B54B08-0A6A-2E23-571B-DAF9DEE5871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29" name="Picture 128">
                <a:extLst>
                  <a:ext uri="{FF2B5EF4-FFF2-40B4-BE49-F238E27FC236}">
                    <a16:creationId xmlns:a16="http://schemas.microsoft.com/office/drawing/2014/main" id="{922454F9-38F9-E75F-229D-6791D73750B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1" name="TextBox 130">
                <a:extLst>
                  <a:ext uri="{FF2B5EF4-FFF2-40B4-BE49-F238E27FC236}">
                    <a16:creationId xmlns:a16="http://schemas.microsoft.com/office/drawing/2014/main" id="{89AD0476-0BA4-5FE8-0058-0D8FFD04C7C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1" name="Group 50">
              <a:extLst>
                <a:ext uri="{FF2B5EF4-FFF2-40B4-BE49-F238E27FC236}">
                  <a16:creationId xmlns:a16="http://schemas.microsoft.com/office/drawing/2014/main" id="{4BE1028D-B18D-B36F-60B3-4986BFEEF925}"/>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0A9ABB30-2A24-E0D2-55B0-A73CE39D109F}"/>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3" name="TextBox 52">
                <a:extLst>
                  <a:ext uri="{FF2B5EF4-FFF2-40B4-BE49-F238E27FC236}">
                    <a16:creationId xmlns:a16="http://schemas.microsoft.com/office/drawing/2014/main" id="{10A95012-A7F5-02FE-E678-BF6265893549}"/>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C7D43E17-4D5B-8DC8-6045-9AA3AA7D64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EAA03FF1-2DB4-2322-26D7-04553EC0EC12}"/>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D47EFAF2-523E-10C5-E026-1FF65E7FB2E5}"/>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3B24F0A0-8AA7-8379-5E4A-1A2A95667D7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01829B35-272F-4074-92CC-A156C1CDADDD}"/>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7939134C-69A1-0463-A252-1582C51C7954}"/>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829B6B-797B-FB9F-5F92-9FEF0A3BFBE3}"/>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139D0396-5251-18D3-6D1D-FB672FB44CDE}"/>
              </a:ext>
            </a:extLst>
          </p:cNvPr>
          <p:cNvSpPr>
            <a:spLocks noGrp="1" noChangeAspect="1"/>
          </p:cNvSpPr>
          <p:nvPr>
            <p:ph type="pic" sz="quarter" idx="45" hasCustomPrompt="1"/>
          </p:nvPr>
        </p:nvSpPr>
        <p:spPr>
          <a:xfrm>
            <a:off x="4340711"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9" name="Picture Placeholder 2">
            <a:extLst>
              <a:ext uri="{FF2B5EF4-FFF2-40B4-BE49-F238E27FC236}">
                <a16:creationId xmlns:a16="http://schemas.microsoft.com/office/drawing/2014/main" id="{EB49F5C6-BE22-7E23-F398-419AF46EA9C3}"/>
              </a:ext>
            </a:extLst>
          </p:cNvPr>
          <p:cNvSpPr>
            <a:spLocks noGrp="1" noChangeAspect="1"/>
          </p:cNvSpPr>
          <p:nvPr>
            <p:ph type="pic" sz="quarter" idx="48" hasCustomPrompt="1"/>
          </p:nvPr>
        </p:nvSpPr>
        <p:spPr>
          <a:xfrm>
            <a:off x="8149611" y="1601038"/>
            <a:ext cx="835024" cy="835024"/>
          </a:xfrm>
        </p:spPr>
        <p:txBody>
          <a:bodyPr lIns="144000"/>
          <a:lstStyle>
            <a:lvl1pPr marL="0" indent="0">
              <a:buNone/>
              <a:defRPr sz="1400"/>
            </a:lvl1pPr>
          </a:lstStyle>
          <a:p>
            <a:r>
              <a:rPr lang="en-US"/>
              <a:t>Icon</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76577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Four Column_Dark Blue">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Four column layout</a:t>
            </a:r>
            <a:br>
              <a:rPr lang="en-US"/>
            </a:br>
            <a:r>
              <a:rPr lang="en-US"/>
              <a:t>Title 2 lines maximum</a:t>
            </a:r>
            <a:endParaRPr lang="en-CA"/>
          </a:p>
        </p:txBody>
      </p:sp>
      <p:sp>
        <p:nvSpPr>
          <p:cNvPr id="4" name="Picture Placeholder 2">
            <a:extLst>
              <a:ext uri="{FF2B5EF4-FFF2-40B4-BE49-F238E27FC236}">
                <a16:creationId xmlns:a16="http://schemas.microsoft.com/office/drawing/2014/main" id="{0AAFB50F-094B-2881-F919-B1EE84ACE5D7}"/>
              </a:ext>
            </a:extLst>
          </p:cNvPr>
          <p:cNvSpPr>
            <a:spLocks noGrp="1" noChangeAspect="1"/>
          </p:cNvSpPr>
          <p:nvPr>
            <p:ph type="pic" sz="quarter" idx="31" hasCustomPrompt="1"/>
          </p:nvPr>
        </p:nvSpPr>
        <p:spPr>
          <a:xfrm>
            <a:off x="531812" y="1601038"/>
            <a:ext cx="835024" cy="835024"/>
          </a:xfrm>
        </p:spPr>
        <p:txBody>
          <a:bodyPr lIns="144000"/>
          <a:lstStyle>
            <a:lvl1pPr marL="0" indent="0">
              <a:buNone/>
              <a:defRPr sz="1400"/>
            </a:lvl1pPr>
          </a:lstStyle>
          <a:p>
            <a:r>
              <a:rPr lang="en-US"/>
              <a:t>Icon</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3" name="Group 42">
            <a:extLst>
              <a:ext uri="{FF2B5EF4-FFF2-40B4-BE49-F238E27FC236}">
                <a16:creationId xmlns:a16="http://schemas.microsoft.com/office/drawing/2014/main" id="{717DDAE4-62DE-EEF2-E43F-005ACD006E14}"/>
              </a:ext>
            </a:extLst>
          </p:cNvPr>
          <p:cNvGrpSpPr/>
          <p:nvPr userDrawn="1"/>
        </p:nvGrpSpPr>
        <p:grpSpPr>
          <a:xfrm>
            <a:off x="12290489" y="-1"/>
            <a:ext cx="2910882" cy="6858001"/>
            <a:chOff x="12290489" y="-1"/>
            <a:chExt cx="2910882" cy="6858001"/>
          </a:xfrm>
        </p:grpSpPr>
        <p:sp>
          <p:nvSpPr>
            <p:cNvPr id="44" name="Rectangle 43">
              <a:extLst>
                <a:ext uri="{FF2B5EF4-FFF2-40B4-BE49-F238E27FC236}">
                  <a16:creationId xmlns:a16="http://schemas.microsoft.com/office/drawing/2014/main" id="{74829545-917D-5369-077E-2A4E82074C6F}"/>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91214599-3AC4-B786-02F0-AE556635205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6" name="Straight Connector 45">
              <a:extLst>
                <a:ext uri="{FF2B5EF4-FFF2-40B4-BE49-F238E27FC236}">
                  <a16:creationId xmlns:a16="http://schemas.microsoft.com/office/drawing/2014/main" id="{BCA5B2B5-C2E0-2592-2785-4F84ED886D75}"/>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22702B7-28A0-668C-65B6-669BFACDF46D}"/>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8" name="TextBox 47">
              <a:extLst>
                <a:ext uri="{FF2B5EF4-FFF2-40B4-BE49-F238E27FC236}">
                  <a16:creationId xmlns:a16="http://schemas.microsoft.com/office/drawing/2014/main" id="{8C58B4C5-C329-4790-4200-9150B0A43C33}"/>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9" name="TextBox 48">
              <a:extLst>
                <a:ext uri="{FF2B5EF4-FFF2-40B4-BE49-F238E27FC236}">
                  <a16:creationId xmlns:a16="http://schemas.microsoft.com/office/drawing/2014/main" id="{D5299741-2394-3A23-F67F-F322FE1C0CB8}"/>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50" name="TextBox 49">
              <a:extLst>
                <a:ext uri="{FF2B5EF4-FFF2-40B4-BE49-F238E27FC236}">
                  <a16:creationId xmlns:a16="http://schemas.microsoft.com/office/drawing/2014/main" id="{43A73320-4AE9-4630-370C-00C5ADECD4A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51" name="TextBox 50">
              <a:extLst>
                <a:ext uri="{FF2B5EF4-FFF2-40B4-BE49-F238E27FC236}">
                  <a16:creationId xmlns:a16="http://schemas.microsoft.com/office/drawing/2014/main" id="{36600997-0C5B-7E7E-13B9-8B1FBC40768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52" name="TextBox 51">
              <a:extLst>
                <a:ext uri="{FF2B5EF4-FFF2-40B4-BE49-F238E27FC236}">
                  <a16:creationId xmlns:a16="http://schemas.microsoft.com/office/drawing/2014/main" id="{222AF4B2-579A-DE69-535D-5A7232B8BF25}"/>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3" name="Group 52">
              <a:extLst>
                <a:ext uri="{FF2B5EF4-FFF2-40B4-BE49-F238E27FC236}">
                  <a16:creationId xmlns:a16="http://schemas.microsoft.com/office/drawing/2014/main" id="{D431143D-EA3F-BA31-FDD0-86758B90458F}"/>
                </a:ext>
              </a:extLst>
            </p:cNvPr>
            <p:cNvGrpSpPr/>
            <p:nvPr userDrawn="1"/>
          </p:nvGrpSpPr>
          <p:grpSpPr>
            <a:xfrm>
              <a:off x="12429548" y="3236396"/>
              <a:ext cx="2735151" cy="1280928"/>
              <a:chOff x="9286315" y="6976989"/>
              <a:chExt cx="2735151" cy="1280928"/>
            </a:xfrm>
          </p:grpSpPr>
          <p:sp>
            <p:nvSpPr>
              <p:cNvPr id="128" name="Rectangle 127">
                <a:extLst>
                  <a:ext uri="{FF2B5EF4-FFF2-40B4-BE49-F238E27FC236}">
                    <a16:creationId xmlns:a16="http://schemas.microsoft.com/office/drawing/2014/main" id="{992C18FF-FCA0-B6DC-4B5F-813875A58CAD}"/>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129" name="TextBox 128">
                <a:extLst>
                  <a:ext uri="{FF2B5EF4-FFF2-40B4-BE49-F238E27FC236}">
                    <a16:creationId xmlns:a16="http://schemas.microsoft.com/office/drawing/2014/main" id="{CC870698-701A-2242-78AE-B6CBE951C53A}"/>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131" name="Graphic 130">
                <a:extLst>
                  <a:ext uri="{FF2B5EF4-FFF2-40B4-BE49-F238E27FC236}">
                    <a16:creationId xmlns:a16="http://schemas.microsoft.com/office/drawing/2014/main" id="{27F479C9-EBF7-C89C-EBDD-699C93B929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A8B38676-38BD-C97A-3E60-811AD05F329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33" name="Picture 132">
                <a:extLst>
                  <a:ext uri="{FF2B5EF4-FFF2-40B4-BE49-F238E27FC236}">
                    <a16:creationId xmlns:a16="http://schemas.microsoft.com/office/drawing/2014/main" id="{52C3F74E-3500-E869-070E-EB7D7CFFDD4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4" name="TextBox 133">
                <a:extLst>
                  <a:ext uri="{FF2B5EF4-FFF2-40B4-BE49-F238E27FC236}">
                    <a16:creationId xmlns:a16="http://schemas.microsoft.com/office/drawing/2014/main" id="{FD2E6A13-5E3C-A37E-FF9D-6CC65A1A8599}"/>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4" name="Group 53">
              <a:extLst>
                <a:ext uri="{FF2B5EF4-FFF2-40B4-BE49-F238E27FC236}">
                  <a16:creationId xmlns:a16="http://schemas.microsoft.com/office/drawing/2014/main" id="{C17097D5-36D6-39B2-EA5B-55509107C41A}"/>
                </a:ext>
              </a:extLst>
            </p:cNvPr>
            <p:cNvGrpSpPr/>
            <p:nvPr userDrawn="1"/>
          </p:nvGrpSpPr>
          <p:grpSpPr>
            <a:xfrm>
              <a:off x="12429548" y="4543123"/>
              <a:ext cx="2735151" cy="2200108"/>
              <a:chOff x="9538241" y="5155416"/>
              <a:chExt cx="2735151" cy="2200108"/>
            </a:xfrm>
          </p:grpSpPr>
          <p:sp>
            <p:nvSpPr>
              <p:cNvPr id="55" name="Rectangle 54">
                <a:extLst>
                  <a:ext uri="{FF2B5EF4-FFF2-40B4-BE49-F238E27FC236}">
                    <a16:creationId xmlns:a16="http://schemas.microsoft.com/office/drawing/2014/main" id="{3834CD4C-1311-915F-D846-C8EF6D502AC7}"/>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6" name="TextBox 55">
                <a:extLst>
                  <a:ext uri="{FF2B5EF4-FFF2-40B4-BE49-F238E27FC236}">
                    <a16:creationId xmlns:a16="http://schemas.microsoft.com/office/drawing/2014/main" id="{26D4593E-4325-4054-E8E0-2C4565BC080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7" name="Graphic 56">
                <a:extLst>
                  <a:ext uri="{FF2B5EF4-FFF2-40B4-BE49-F238E27FC236}">
                    <a16:creationId xmlns:a16="http://schemas.microsoft.com/office/drawing/2014/main" id="{AB5C6E66-2D1C-CA85-B320-68D3759A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8" name="TextBox 57">
                <a:extLst>
                  <a:ext uri="{FF2B5EF4-FFF2-40B4-BE49-F238E27FC236}">
                    <a16:creationId xmlns:a16="http://schemas.microsoft.com/office/drawing/2014/main" id="{59524F0B-C3FC-E96B-9EF5-AD8583AA42AC}"/>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9" name="TextBox 58">
                <a:extLst>
                  <a:ext uri="{FF2B5EF4-FFF2-40B4-BE49-F238E27FC236}">
                    <a16:creationId xmlns:a16="http://schemas.microsoft.com/office/drawing/2014/main" id="{BE622394-901B-B821-BDE6-422E33014D2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60" name="TextBox 59">
                <a:extLst>
                  <a:ext uri="{FF2B5EF4-FFF2-40B4-BE49-F238E27FC236}">
                    <a16:creationId xmlns:a16="http://schemas.microsoft.com/office/drawing/2014/main" id="{7AD17B2F-A0CC-7E95-D315-F28D5BBC0E3A}"/>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61" name="TextBox 60">
                <a:extLst>
                  <a:ext uri="{FF2B5EF4-FFF2-40B4-BE49-F238E27FC236}">
                    <a16:creationId xmlns:a16="http://schemas.microsoft.com/office/drawing/2014/main" id="{D9245573-D378-F3B6-9D43-7A0AC9D3F67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62" name="Straight Connector 61">
                <a:extLst>
                  <a:ext uri="{FF2B5EF4-FFF2-40B4-BE49-F238E27FC236}">
                    <a16:creationId xmlns:a16="http://schemas.microsoft.com/office/drawing/2014/main" id="{DF948D1D-C3E1-EF3A-5CFF-FC5BD4F401D2}"/>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6D6806E-4824-9CA0-7A29-8C9379EA11A7}"/>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7" name="Picture Placeholder 2">
            <a:extLst>
              <a:ext uri="{FF2B5EF4-FFF2-40B4-BE49-F238E27FC236}">
                <a16:creationId xmlns:a16="http://schemas.microsoft.com/office/drawing/2014/main" id="{7742E333-DAE8-AADC-AB85-E09272B827B3}"/>
              </a:ext>
            </a:extLst>
          </p:cNvPr>
          <p:cNvSpPr>
            <a:spLocks noGrp="1" noChangeAspect="1"/>
          </p:cNvSpPr>
          <p:nvPr>
            <p:ph type="pic" sz="quarter" idx="50" hasCustomPrompt="1"/>
          </p:nvPr>
        </p:nvSpPr>
        <p:spPr>
          <a:xfrm>
            <a:off x="3380247" y="1601038"/>
            <a:ext cx="835024" cy="835024"/>
          </a:xfrm>
        </p:spPr>
        <p:txBody>
          <a:bodyPr lIns="144000"/>
          <a:lstStyle>
            <a:lvl1pPr marL="0" indent="0">
              <a:buNone/>
              <a:defRPr sz="1400"/>
            </a:lvl1pPr>
          </a:lstStyle>
          <a:p>
            <a:r>
              <a:rPr lang="en-US"/>
              <a:t>Icon</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3" name="Picture Placeholder 2">
            <a:extLst>
              <a:ext uri="{FF2B5EF4-FFF2-40B4-BE49-F238E27FC236}">
                <a16:creationId xmlns:a16="http://schemas.microsoft.com/office/drawing/2014/main" id="{49D03249-A3CA-5A91-C717-27E68D6F7831}"/>
              </a:ext>
            </a:extLst>
          </p:cNvPr>
          <p:cNvSpPr>
            <a:spLocks noGrp="1" noChangeAspect="1"/>
          </p:cNvSpPr>
          <p:nvPr>
            <p:ph type="pic" sz="quarter" idx="53" hasCustomPrompt="1"/>
          </p:nvPr>
        </p:nvSpPr>
        <p:spPr>
          <a:xfrm>
            <a:off x="6228682" y="1601038"/>
            <a:ext cx="835024" cy="835024"/>
          </a:xfrm>
        </p:spPr>
        <p:txBody>
          <a:bodyPr lIns="144000"/>
          <a:lstStyle>
            <a:lvl1pPr marL="0" indent="0">
              <a:buNone/>
              <a:defRPr sz="1400"/>
            </a:lvl1pPr>
          </a:lstStyle>
          <a:p>
            <a:r>
              <a:rPr lang="en-US"/>
              <a:t>Icon</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63A76360-B909-3A81-788A-127C2E0DCFCA}"/>
              </a:ext>
            </a:extLst>
          </p:cNvPr>
          <p:cNvSpPr>
            <a:spLocks noGrp="1" noChangeAspect="1"/>
          </p:cNvSpPr>
          <p:nvPr>
            <p:ph type="pic" sz="quarter" idx="56" hasCustomPrompt="1"/>
          </p:nvPr>
        </p:nvSpPr>
        <p:spPr>
          <a:xfrm>
            <a:off x="9077116"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117774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Two Column_Dark Blue (No Icon)">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wo column layout</a:t>
            </a:r>
            <a:br>
              <a:rPr lang="en-US"/>
            </a:br>
            <a:r>
              <a:rPr lang="en-US"/>
              <a:t>Title 2 lines maximum</a:t>
            </a:r>
            <a:endParaRPr lang="en-CA"/>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1706497"/>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37" name="Group 36">
            <a:extLst>
              <a:ext uri="{FF2B5EF4-FFF2-40B4-BE49-F238E27FC236}">
                <a16:creationId xmlns:a16="http://schemas.microsoft.com/office/drawing/2014/main" id="{10F49D17-1776-704C-F74F-C44449FC5E27}"/>
              </a:ext>
            </a:extLst>
          </p:cNvPr>
          <p:cNvGrpSpPr/>
          <p:nvPr userDrawn="1"/>
        </p:nvGrpSpPr>
        <p:grpSpPr>
          <a:xfrm>
            <a:off x="12290489" y="-1"/>
            <a:ext cx="2910882" cy="6858001"/>
            <a:chOff x="12290489" y="-1"/>
            <a:chExt cx="2910882" cy="6858001"/>
          </a:xfrm>
        </p:grpSpPr>
        <p:sp>
          <p:nvSpPr>
            <p:cNvPr id="38" name="Rectangle 37">
              <a:extLst>
                <a:ext uri="{FF2B5EF4-FFF2-40B4-BE49-F238E27FC236}">
                  <a16:creationId xmlns:a16="http://schemas.microsoft.com/office/drawing/2014/main" id="{EDF2EBFD-3940-9CE6-E2E4-A2DB14C55283}"/>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39" name="TextBox 38">
              <a:extLst>
                <a:ext uri="{FF2B5EF4-FFF2-40B4-BE49-F238E27FC236}">
                  <a16:creationId xmlns:a16="http://schemas.microsoft.com/office/drawing/2014/main" id="{4FA1526F-D10C-3137-C3EB-5ED0C5512632}"/>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0" name="Straight Connector 39">
              <a:extLst>
                <a:ext uri="{FF2B5EF4-FFF2-40B4-BE49-F238E27FC236}">
                  <a16:creationId xmlns:a16="http://schemas.microsoft.com/office/drawing/2014/main" id="{FDF68A1C-6DE8-56A7-465F-77F758319340}"/>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F427A8-EEBF-A0CE-7522-66C59E5C6DF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3D7672A3-A78B-1FD0-3F75-6020EC5B3B7F}"/>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3" name="TextBox 42">
              <a:extLst>
                <a:ext uri="{FF2B5EF4-FFF2-40B4-BE49-F238E27FC236}">
                  <a16:creationId xmlns:a16="http://schemas.microsoft.com/office/drawing/2014/main" id="{D220AF2A-18A4-D5E2-CC7A-337576F03CC7}"/>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4" name="TextBox 43">
              <a:extLst>
                <a:ext uri="{FF2B5EF4-FFF2-40B4-BE49-F238E27FC236}">
                  <a16:creationId xmlns:a16="http://schemas.microsoft.com/office/drawing/2014/main" id="{9345F942-0D58-8E65-B8C6-D2AA0093364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5" name="TextBox 44">
              <a:extLst>
                <a:ext uri="{FF2B5EF4-FFF2-40B4-BE49-F238E27FC236}">
                  <a16:creationId xmlns:a16="http://schemas.microsoft.com/office/drawing/2014/main" id="{7AD4600F-A71F-1EBC-44F0-2E985C054719}"/>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6" name="TextBox 45">
              <a:extLst>
                <a:ext uri="{FF2B5EF4-FFF2-40B4-BE49-F238E27FC236}">
                  <a16:creationId xmlns:a16="http://schemas.microsoft.com/office/drawing/2014/main" id="{4A580109-8D86-1BB1-008B-25C45ADD515F}"/>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47" name="Group 46">
              <a:extLst>
                <a:ext uri="{FF2B5EF4-FFF2-40B4-BE49-F238E27FC236}">
                  <a16:creationId xmlns:a16="http://schemas.microsoft.com/office/drawing/2014/main" id="{BD59EE4B-AD30-EDD9-596F-D986D6B32612}"/>
                </a:ext>
              </a:extLst>
            </p:cNvPr>
            <p:cNvGrpSpPr/>
            <p:nvPr userDrawn="1"/>
          </p:nvGrpSpPr>
          <p:grpSpPr>
            <a:xfrm>
              <a:off x="12429548" y="3236396"/>
              <a:ext cx="2735151" cy="1280928"/>
              <a:chOff x="9286315" y="6976989"/>
              <a:chExt cx="2735151" cy="1280928"/>
            </a:xfrm>
          </p:grpSpPr>
          <p:sp>
            <p:nvSpPr>
              <p:cNvPr id="58" name="Rectangle 57">
                <a:extLst>
                  <a:ext uri="{FF2B5EF4-FFF2-40B4-BE49-F238E27FC236}">
                    <a16:creationId xmlns:a16="http://schemas.microsoft.com/office/drawing/2014/main" id="{49D5E409-C37A-B0A2-33BB-0359BF510F25}"/>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9" name="TextBox 58">
                <a:extLst>
                  <a:ext uri="{FF2B5EF4-FFF2-40B4-BE49-F238E27FC236}">
                    <a16:creationId xmlns:a16="http://schemas.microsoft.com/office/drawing/2014/main" id="{EDB34C46-268C-7C96-AE28-BFE240E2A471}"/>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0" name="Graphic 59">
                <a:extLst>
                  <a:ext uri="{FF2B5EF4-FFF2-40B4-BE49-F238E27FC236}">
                    <a16:creationId xmlns:a16="http://schemas.microsoft.com/office/drawing/2014/main" id="{6875A335-18CC-8BF6-B5D9-843B33D62F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1" name="TextBox 60">
                <a:extLst>
                  <a:ext uri="{FF2B5EF4-FFF2-40B4-BE49-F238E27FC236}">
                    <a16:creationId xmlns:a16="http://schemas.microsoft.com/office/drawing/2014/main" id="{4C322459-BC36-4B8E-CFAE-B94820CAD34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62" name="Picture 61">
                <a:extLst>
                  <a:ext uri="{FF2B5EF4-FFF2-40B4-BE49-F238E27FC236}">
                    <a16:creationId xmlns:a16="http://schemas.microsoft.com/office/drawing/2014/main" id="{9ED8ECBA-C3F7-5048-0976-D24D5956382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3" name="TextBox 62">
                <a:extLst>
                  <a:ext uri="{FF2B5EF4-FFF2-40B4-BE49-F238E27FC236}">
                    <a16:creationId xmlns:a16="http://schemas.microsoft.com/office/drawing/2014/main" id="{754B0BA7-750B-D607-DC5A-F4F85F52221F}"/>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48" name="Group 47">
              <a:extLst>
                <a:ext uri="{FF2B5EF4-FFF2-40B4-BE49-F238E27FC236}">
                  <a16:creationId xmlns:a16="http://schemas.microsoft.com/office/drawing/2014/main" id="{279BE43B-F235-6EAE-7BF8-457F5AEADC82}"/>
                </a:ext>
              </a:extLst>
            </p:cNvPr>
            <p:cNvGrpSpPr/>
            <p:nvPr userDrawn="1"/>
          </p:nvGrpSpPr>
          <p:grpSpPr>
            <a:xfrm>
              <a:off x="12429548" y="4543123"/>
              <a:ext cx="2735151" cy="2200108"/>
              <a:chOff x="9538241" y="5155416"/>
              <a:chExt cx="2735151" cy="2200108"/>
            </a:xfrm>
          </p:grpSpPr>
          <p:sp>
            <p:nvSpPr>
              <p:cNvPr id="49" name="Rectangle 48">
                <a:extLst>
                  <a:ext uri="{FF2B5EF4-FFF2-40B4-BE49-F238E27FC236}">
                    <a16:creationId xmlns:a16="http://schemas.microsoft.com/office/drawing/2014/main" id="{9BF2F786-4459-B79C-0B6C-AE60936F3550}"/>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0" name="TextBox 49">
                <a:extLst>
                  <a:ext uri="{FF2B5EF4-FFF2-40B4-BE49-F238E27FC236}">
                    <a16:creationId xmlns:a16="http://schemas.microsoft.com/office/drawing/2014/main" id="{6EE5E131-DBB4-125E-2F8F-2AA225201E4E}"/>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1" name="Graphic 50">
                <a:extLst>
                  <a:ext uri="{FF2B5EF4-FFF2-40B4-BE49-F238E27FC236}">
                    <a16:creationId xmlns:a16="http://schemas.microsoft.com/office/drawing/2014/main" id="{13C7612B-4333-2101-D385-32A0F0801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2" name="TextBox 51">
                <a:extLst>
                  <a:ext uri="{FF2B5EF4-FFF2-40B4-BE49-F238E27FC236}">
                    <a16:creationId xmlns:a16="http://schemas.microsoft.com/office/drawing/2014/main" id="{92246FC0-FE5E-C371-C5FE-0C06A53AB56F}"/>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3" name="TextBox 52">
                <a:extLst>
                  <a:ext uri="{FF2B5EF4-FFF2-40B4-BE49-F238E27FC236}">
                    <a16:creationId xmlns:a16="http://schemas.microsoft.com/office/drawing/2014/main" id="{7D86C7BB-19BF-2243-ABDF-E97B5A6A49D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4" name="TextBox 53">
                <a:extLst>
                  <a:ext uri="{FF2B5EF4-FFF2-40B4-BE49-F238E27FC236}">
                    <a16:creationId xmlns:a16="http://schemas.microsoft.com/office/drawing/2014/main" id="{A1904FFB-C739-0F90-C7F5-DA9DED094FAB}"/>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5" name="TextBox 54">
                <a:extLst>
                  <a:ext uri="{FF2B5EF4-FFF2-40B4-BE49-F238E27FC236}">
                    <a16:creationId xmlns:a16="http://schemas.microsoft.com/office/drawing/2014/main" id="{ACB1AC66-5C4B-469C-9B82-3DEC7748C8C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6" name="Straight Connector 55">
                <a:extLst>
                  <a:ext uri="{FF2B5EF4-FFF2-40B4-BE49-F238E27FC236}">
                    <a16:creationId xmlns:a16="http://schemas.microsoft.com/office/drawing/2014/main" id="{59F4B141-EF3E-3F29-C00E-0D1B85F79C61}"/>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FA8221B-19B5-DF1D-3769-8CEB0E2CD3AB}"/>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p>
            <a:r>
              <a:rPr lang="en-CA"/>
              <a:t>5G Broadcast Conference</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1706497"/>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Tree>
    <p:extLst>
      <p:ext uri="{BB962C8B-B14F-4D97-AF65-F5344CB8AC3E}">
        <p14:creationId xmlns:p14="http://schemas.microsoft.com/office/powerpoint/2010/main" val="143858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Three Column_Dark Blue (No Icon)">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hree column layout</a:t>
            </a:r>
            <a:br>
              <a:rPr lang="en-US"/>
            </a:br>
            <a:r>
              <a:rPr lang="en-US"/>
              <a:t>Title 2 lines maximum</a:t>
            </a:r>
            <a:endParaRPr lang="en-CA"/>
          </a:p>
        </p:txBody>
      </p:sp>
      <p:sp>
        <p:nvSpPr>
          <p:cNvPr id="23" name="TextBox 22">
            <a:extLst>
              <a:ext uri="{FF2B5EF4-FFF2-40B4-BE49-F238E27FC236}">
                <a16:creationId xmlns:a16="http://schemas.microsoft.com/office/drawing/2014/main" id="{EDE40922-B18A-2DF9-C121-EF497B173DA5}"/>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0" name="Group 39">
            <a:extLst>
              <a:ext uri="{FF2B5EF4-FFF2-40B4-BE49-F238E27FC236}">
                <a16:creationId xmlns:a16="http://schemas.microsoft.com/office/drawing/2014/main" id="{C3479EAD-810E-2127-DFE4-C119FFAAF25F}"/>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5BDB44CD-9F2B-F58C-094C-02B9892CF15A}"/>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FB15FE9D-716F-C274-7D27-8D223E8ABE60}"/>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8E80D713-C5E7-B361-2F72-50AD4046E3F8}"/>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B814A9-8A88-5DDE-79A3-1B2EF1A66658}"/>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D615C7A9-E29B-21F9-E2E8-C923E8968F3E}"/>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3EA8DC82-0D60-6232-3BC9-24A65D14C00F}"/>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8FB3888D-CF08-9A5E-6087-0A96D256136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6CBF6BC2-3BF4-D922-4257-F4687B34FC4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0A03FA61-0E9A-7595-F64E-CDB3BA8FA0F9}"/>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045C6CE7-1836-CD98-FD2E-3852CC4F95C4}"/>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A244D9D0-DA66-A41C-0A97-F246FC60386E}"/>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62" name="TextBox 61">
                <a:extLst>
                  <a:ext uri="{FF2B5EF4-FFF2-40B4-BE49-F238E27FC236}">
                    <a16:creationId xmlns:a16="http://schemas.microsoft.com/office/drawing/2014/main" id="{1A64F655-4301-1FB7-250E-9C1A8B5FCB4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26C4B24F-6463-127F-4A4C-E83AB1F243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49B54B08-0A6A-2E23-571B-DAF9DEE5871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29" name="Picture 128">
                <a:extLst>
                  <a:ext uri="{FF2B5EF4-FFF2-40B4-BE49-F238E27FC236}">
                    <a16:creationId xmlns:a16="http://schemas.microsoft.com/office/drawing/2014/main" id="{922454F9-38F9-E75F-229D-6791D73750B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1" name="TextBox 130">
                <a:extLst>
                  <a:ext uri="{FF2B5EF4-FFF2-40B4-BE49-F238E27FC236}">
                    <a16:creationId xmlns:a16="http://schemas.microsoft.com/office/drawing/2014/main" id="{89AD0476-0BA4-5FE8-0058-0D8FFD04C7C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1" name="Group 50">
              <a:extLst>
                <a:ext uri="{FF2B5EF4-FFF2-40B4-BE49-F238E27FC236}">
                  <a16:creationId xmlns:a16="http://schemas.microsoft.com/office/drawing/2014/main" id="{4BE1028D-B18D-B36F-60B3-4986BFEEF925}"/>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0A9ABB30-2A24-E0D2-55B0-A73CE39D109F}"/>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3" name="TextBox 52">
                <a:extLst>
                  <a:ext uri="{FF2B5EF4-FFF2-40B4-BE49-F238E27FC236}">
                    <a16:creationId xmlns:a16="http://schemas.microsoft.com/office/drawing/2014/main" id="{10A95012-A7F5-02FE-E678-BF6265893549}"/>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C7D43E17-4D5B-8DC8-6045-9AA3AA7D64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EAA03FF1-2DB4-2322-26D7-04553EC0EC12}"/>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D47EFAF2-523E-10C5-E026-1FF65E7FB2E5}"/>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3B24F0A0-8AA7-8379-5E4A-1A2A95667D7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01829B35-272F-4074-92CC-A156C1CDADDD}"/>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7939134C-69A1-0463-A252-1582C51C7954}"/>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829B6B-797B-FB9F-5F92-9FEF0A3BFBE3}"/>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77493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Four Column_Dark Blue (No Icon)">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Four column layout</a:t>
            </a:r>
            <a:br>
              <a:rPr lang="en-US"/>
            </a:br>
            <a:r>
              <a:rPr lang="en-US"/>
              <a:t>Title 2 lines maximum</a:t>
            </a:r>
            <a:endParaRPr lang="en-CA"/>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3" name="Group 42">
            <a:extLst>
              <a:ext uri="{FF2B5EF4-FFF2-40B4-BE49-F238E27FC236}">
                <a16:creationId xmlns:a16="http://schemas.microsoft.com/office/drawing/2014/main" id="{717DDAE4-62DE-EEF2-E43F-005ACD006E14}"/>
              </a:ext>
            </a:extLst>
          </p:cNvPr>
          <p:cNvGrpSpPr/>
          <p:nvPr userDrawn="1"/>
        </p:nvGrpSpPr>
        <p:grpSpPr>
          <a:xfrm>
            <a:off x="12290489" y="-1"/>
            <a:ext cx="2910882" cy="6858001"/>
            <a:chOff x="12290489" y="-1"/>
            <a:chExt cx="2910882" cy="6858001"/>
          </a:xfrm>
        </p:grpSpPr>
        <p:sp>
          <p:nvSpPr>
            <p:cNvPr id="44" name="Rectangle 43">
              <a:extLst>
                <a:ext uri="{FF2B5EF4-FFF2-40B4-BE49-F238E27FC236}">
                  <a16:creationId xmlns:a16="http://schemas.microsoft.com/office/drawing/2014/main" id="{74829545-917D-5369-077E-2A4E82074C6F}"/>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91214599-3AC4-B786-02F0-AE556635205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6" name="Straight Connector 45">
              <a:extLst>
                <a:ext uri="{FF2B5EF4-FFF2-40B4-BE49-F238E27FC236}">
                  <a16:creationId xmlns:a16="http://schemas.microsoft.com/office/drawing/2014/main" id="{BCA5B2B5-C2E0-2592-2785-4F84ED886D75}"/>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22702B7-28A0-668C-65B6-669BFACDF46D}"/>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8" name="TextBox 47">
              <a:extLst>
                <a:ext uri="{FF2B5EF4-FFF2-40B4-BE49-F238E27FC236}">
                  <a16:creationId xmlns:a16="http://schemas.microsoft.com/office/drawing/2014/main" id="{8C58B4C5-C329-4790-4200-9150B0A43C33}"/>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9" name="TextBox 48">
              <a:extLst>
                <a:ext uri="{FF2B5EF4-FFF2-40B4-BE49-F238E27FC236}">
                  <a16:creationId xmlns:a16="http://schemas.microsoft.com/office/drawing/2014/main" id="{D5299741-2394-3A23-F67F-F322FE1C0CB8}"/>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50" name="TextBox 49">
              <a:extLst>
                <a:ext uri="{FF2B5EF4-FFF2-40B4-BE49-F238E27FC236}">
                  <a16:creationId xmlns:a16="http://schemas.microsoft.com/office/drawing/2014/main" id="{43A73320-4AE9-4630-370C-00C5ADECD4A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51" name="TextBox 50">
              <a:extLst>
                <a:ext uri="{FF2B5EF4-FFF2-40B4-BE49-F238E27FC236}">
                  <a16:creationId xmlns:a16="http://schemas.microsoft.com/office/drawing/2014/main" id="{36600997-0C5B-7E7E-13B9-8B1FBC40768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52" name="TextBox 51">
              <a:extLst>
                <a:ext uri="{FF2B5EF4-FFF2-40B4-BE49-F238E27FC236}">
                  <a16:creationId xmlns:a16="http://schemas.microsoft.com/office/drawing/2014/main" id="{222AF4B2-579A-DE69-535D-5A7232B8BF25}"/>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3" name="Group 52">
              <a:extLst>
                <a:ext uri="{FF2B5EF4-FFF2-40B4-BE49-F238E27FC236}">
                  <a16:creationId xmlns:a16="http://schemas.microsoft.com/office/drawing/2014/main" id="{D431143D-EA3F-BA31-FDD0-86758B90458F}"/>
                </a:ext>
              </a:extLst>
            </p:cNvPr>
            <p:cNvGrpSpPr/>
            <p:nvPr userDrawn="1"/>
          </p:nvGrpSpPr>
          <p:grpSpPr>
            <a:xfrm>
              <a:off x="12429548" y="3236396"/>
              <a:ext cx="2735151" cy="1280928"/>
              <a:chOff x="9286315" y="6976989"/>
              <a:chExt cx="2735151" cy="1280928"/>
            </a:xfrm>
          </p:grpSpPr>
          <p:sp>
            <p:nvSpPr>
              <p:cNvPr id="128" name="Rectangle 127">
                <a:extLst>
                  <a:ext uri="{FF2B5EF4-FFF2-40B4-BE49-F238E27FC236}">
                    <a16:creationId xmlns:a16="http://schemas.microsoft.com/office/drawing/2014/main" id="{992C18FF-FCA0-B6DC-4B5F-813875A58CAD}"/>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129" name="TextBox 128">
                <a:extLst>
                  <a:ext uri="{FF2B5EF4-FFF2-40B4-BE49-F238E27FC236}">
                    <a16:creationId xmlns:a16="http://schemas.microsoft.com/office/drawing/2014/main" id="{CC870698-701A-2242-78AE-B6CBE951C53A}"/>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131" name="Graphic 130">
                <a:extLst>
                  <a:ext uri="{FF2B5EF4-FFF2-40B4-BE49-F238E27FC236}">
                    <a16:creationId xmlns:a16="http://schemas.microsoft.com/office/drawing/2014/main" id="{27F479C9-EBF7-C89C-EBDD-699C93B929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A8B38676-38BD-C97A-3E60-811AD05F329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33" name="Picture 132">
                <a:extLst>
                  <a:ext uri="{FF2B5EF4-FFF2-40B4-BE49-F238E27FC236}">
                    <a16:creationId xmlns:a16="http://schemas.microsoft.com/office/drawing/2014/main" id="{52C3F74E-3500-E869-070E-EB7D7CFFDD4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4" name="TextBox 133">
                <a:extLst>
                  <a:ext uri="{FF2B5EF4-FFF2-40B4-BE49-F238E27FC236}">
                    <a16:creationId xmlns:a16="http://schemas.microsoft.com/office/drawing/2014/main" id="{FD2E6A13-5E3C-A37E-FF9D-6CC65A1A8599}"/>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4" name="Group 53">
              <a:extLst>
                <a:ext uri="{FF2B5EF4-FFF2-40B4-BE49-F238E27FC236}">
                  <a16:creationId xmlns:a16="http://schemas.microsoft.com/office/drawing/2014/main" id="{C17097D5-36D6-39B2-EA5B-55509107C41A}"/>
                </a:ext>
              </a:extLst>
            </p:cNvPr>
            <p:cNvGrpSpPr/>
            <p:nvPr userDrawn="1"/>
          </p:nvGrpSpPr>
          <p:grpSpPr>
            <a:xfrm>
              <a:off x="12429548" y="4543123"/>
              <a:ext cx="2735151" cy="2200108"/>
              <a:chOff x="9538241" y="5155416"/>
              <a:chExt cx="2735151" cy="2200108"/>
            </a:xfrm>
          </p:grpSpPr>
          <p:sp>
            <p:nvSpPr>
              <p:cNvPr id="55" name="Rectangle 54">
                <a:extLst>
                  <a:ext uri="{FF2B5EF4-FFF2-40B4-BE49-F238E27FC236}">
                    <a16:creationId xmlns:a16="http://schemas.microsoft.com/office/drawing/2014/main" id="{3834CD4C-1311-915F-D846-C8EF6D502AC7}"/>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6" name="TextBox 55">
                <a:extLst>
                  <a:ext uri="{FF2B5EF4-FFF2-40B4-BE49-F238E27FC236}">
                    <a16:creationId xmlns:a16="http://schemas.microsoft.com/office/drawing/2014/main" id="{26D4593E-4325-4054-E8E0-2C4565BC080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7" name="Graphic 56">
                <a:extLst>
                  <a:ext uri="{FF2B5EF4-FFF2-40B4-BE49-F238E27FC236}">
                    <a16:creationId xmlns:a16="http://schemas.microsoft.com/office/drawing/2014/main" id="{AB5C6E66-2D1C-CA85-B320-68D3759A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8" name="TextBox 57">
                <a:extLst>
                  <a:ext uri="{FF2B5EF4-FFF2-40B4-BE49-F238E27FC236}">
                    <a16:creationId xmlns:a16="http://schemas.microsoft.com/office/drawing/2014/main" id="{59524F0B-C3FC-E96B-9EF5-AD8583AA42AC}"/>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9" name="TextBox 58">
                <a:extLst>
                  <a:ext uri="{FF2B5EF4-FFF2-40B4-BE49-F238E27FC236}">
                    <a16:creationId xmlns:a16="http://schemas.microsoft.com/office/drawing/2014/main" id="{BE622394-901B-B821-BDE6-422E33014D2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60" name="TextBox 59">
                <a:extLst>
                  <a:ext uri="{FF2B5EF4-FFF2-40B4-BE49-F238E27FC236}">
                    <a16:creationId xmlns:a16="http://schemas.microsoft.com/office/drawing/2014/main" id="{7AD17B2F-A0CC-7E95-D315-F28D5BBC0E3A}"/>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61" name="TextBox 60">
                <a:extLst>
                  <a:ext uri="{FF2B5EF4-FFF2-40B4-BE49-F238E27FC236}">
                    <a16:creationId xmlns:a16="http://schemas.microsoft.com/office/drawing/2014/main" id="{D9245573-D378-F3B6-9D43-7A0AC9D3F67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62" name="Straight Connector 61">
                <a:extLst>
                  <a:ext uri="{FF2B5EF4-FFF2-40B4-BE49-F238E27FC236}">
                    <a16:creationId xmlns:a16="http://schemas.microsoft.com/office/drawing/2014/main" id="{DF948D1D-C3E1-EF3A-5CFF-FC5BD4F401D2}"/>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6D6806E-4824-9CA0-7A29-8C9379EA11A7}"/>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352814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738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Quote_Dark Blue">
    <p:bg>
      <p:bgPr>
        <a:solidFill>
          <a:schemeClr val="accent2"/>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B91DB79-E2AC-CE2B-5FAE-BEC630409992}"/>
              </a:ext>
            </a:extLst>
          </p:cNvPr>
          <p:cNvSpPr>
            <a:spLocks noGrp="1"/>
          </p:cNvSpPr>
          <p:nvPr>
            <p:ph type="title" hasCustomPrompt="1"/>
          </p:nvPr>
        </p:nvSpPr>
        <p:spPr>
          <a:xfrm>
            <a:off x="531812" y="1196975"/>
            <a:ext cx="11144251" cy="3616325"/>
          </a:xfrm>
        </p:spPr>
        <p:txBody>
          <a:bodyPr anchor="ctr"/>
          <a:lstStyle>
            <a:lvl1pPr marL="0" marR="0" indent="0" algn="ctr" defTabSz="914400" rtl="0" eaLnBrk="1" fontAlgn="auto" latinLnBrk="0" hangingPunct="1">
              <a:lnSpc>
                <a:spcPct val="84000"/>
              </a:lnSpc>
              <a:spcBef>
                <a:spcPct val="0"/>
              </a:spcBef>
              <a:spcAft>
                <a:spcPts val="0"/>
              </a:spcAft>
              <a:buClrTx/>
              <a:buSzTx/>
              <a:buFontTx/>
              <a:buNone/>
              <a:tabLst/>
              <a:defRPr sz="5500"/>
            </a:lvl1pPr>
          </a:lstStyle>
          <a:p>
            <a:r>
              <a:rPr lang="en-US"/>
              <a:t>Quote 4 lines maximum. </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laoreet</a:t>
            </a:r>
            <a:r>
              <a:rPr lang="en-US"/>
              <a:t> </a:t>
            </a:r>
            <a:r>
              <a:rPr lang="en-US" err="1"/>
              <a:t>venenatis</a:t>
            </a:r>
            <a:r>
              <a:rPr lang="en-US"/>
              <a:t> </a:t>
            </a:r>
            <a:r>
              <a:rPr lang="en-US" err="1"/>
              <a:t>urna</a:t>
            </a:r>
            <a:r>
              <a:rPr lang="en-US"/>
              <a:t>, in </a:t>
            </a:r>
            <a:r>
              <a:rPr lang="en-US" err="1"/>
              <a:t>vehicula</a:t>
            </a:r>
            <a:r>
              <a:rPr lang="en-US"/>
              <a:t> mi.</a:t>
            </a:r>
          </a:p>
        </p:txBody>
      </p:sp>
      <p:sp>
        <p:nvSpPr>
          <p:cNvPr id="13" name="Text Placeholder 22">
            <a:extLst>
              <a:ext uri="{FF2B5EF4-FFF2-40B4-BE49-F238E27FC236}">
                <a16:creationId xmlns:a16="http://schemas.microsoft.com/office/drawing/2014/main" id="{84EB628F-8E06-31E6-5105-B798681A887F}"/>
              </a:ext>
            </a:extLst>
          </p:cNvPr>
          <p:cNvSpPr>
            <a:spLocks noGrp="1"/>
          </p:cNvSpPr>
          <p:nvPr>
            <p:ph type="body" sz="quarter" idx="13" hasCustomPrompt="1"/>
          </p:nvPr>
        </p:nvSpPr>
        <p:spPr>
          <a:xfrm>
            <a:off x="531811" y="5053746"/>
            <a:ext cx="11144252" cy="1112104"/>
          </a:xfrm>
        </p:spPr>
        <p:txBody>
          <a:bodyPr wrap="square" anchor="b">
            <a:noAutofit/>
          </a:bodyPr>
          <a:lstStyle>
            <a:lvl1pPr marL="0" indent="0" algn="ctr">
              <a:buNone/>
              <a:defRPr sz="2800" spc="-50" baseline="0">
                <a:latin typeface="+mj-lt"/>
              </a:defRPr>
            </a:lvl1pPr>
          </a:lstStyle>
          <a:p>
            <a:pPr lvl="0"/>
            <a:r>
              <a:rPr lang="en-US"/>
              <a:t>Quote attribution</a:t>
            </a:r>
          </a:p>
        </p:txBody>
      </p:sp>
      <p:sp>
        <p:nvSpPr>
          <p:cNvPr id="6" name="TextBox 5">
            <a:extLst>
              <a:ext uri="{FF2B5EF4-FFF2-40B4-BE49-F238E27FC236}">
                <a16:creationId xmlns:a16="http://schemas.microsoft.com/office/drawing/2014/main" id="{84739A76-C8B6-CADD-ACBA-17389E4E17CB}"/>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
        <p:nvSpPr>
          <p:cNvPr id="2" name="Footer Placeholder 1">
            <a:extLst>
              <a:ext uri="{FF2B5EF4-FFF2-40B4-BE49-F238E27FC236}">
                <a16:creationId xmlns:a16="http://schemas.microsoft.com/office/drawing/2014/main" id="{F16C6448-AB08-7665-09DF-C32961CFFB7A}"/>
              </a:ext>
            </a:extLst>
          </p:cNvPr>
          <p:cNvSpPr>
            <a:spLocks noGrp="1"/>
          </p:cNvSpPr>
          <p:nvPr>
            <p:ph type="ftr" sz="quarter" idx="14"/>
          </p:nvPr>
        </p:nvSpPr>
        <p:spPr/>
        <p:txBody>
          <a:bodyPr/>
          <a:lstStyle/>
          <a:p>
            <a:r>
              <a:rPr lang="en-CA"/>
              <a:t>5G Broadcast Conference</a:t>
            </a:r>
          </a:p>
        </p:txBody>
      </p:sp>
    </p:spTree>
    <p:extLst>
      <p:ext uri="{BB962C8B-B14F-4D97-AF65-F5344CB8AC3E}">
        <p14:creationId xmlns:p14="http://schemas.microsoft.com/office/powerpoint/2010/main" val="115524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itle+Content_Dark Blue">
    <p:bg>
      <p:bgPr>
        <a:solidFill>
          <a:schemeClr val="accent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F8DD13-BEA9-2C60-4EDB-8044D82F4225}"/>
              </a:ext>
            </a:extLst>
          </p:cNvPr>
          <p:cNvSpPr>
            <a:spLocks noGrp="1"/>
          </p:cNvSpPr>
          <p:nvPr>
            <p:ph type="title" hasCustomPrompt="1"/>
          </p:nvPr>
        </p:nvSpPr>
        <p:spPr/>
        <p:txBody>
          <a:bodyPr/>
          <a:lstStyle/>
          <a:p>
            <a:r>
              <a:rPr lang="en-US"/>
              <a:t>Title + Content layout</a:t>
            </a:r>
            <a:br>
              <a:rPr lang="en-US"/>
            </a:br>
            <a:r>
              <a:rPr lang="en-US"/>
              <a:t>Title 2 lines maximum</a:t>
            </a:r>
            <a:endParaRPr lang="en-CA"/>
          </a:p>
        </p:txBody>
      </p:sp>
      <p:sp>
        <p:nvSpPr>
          <p:cNvPr id="3" name="Footer Placeholder 2">
            <a:extLst>
              <a:ext uri="{FF2B5EF4-FFF2-40B4-BE49-F238E27FC236}">
                <a16:creationId xmlns:a16="http://schemas.microsoft.com/office/drawing/2014/main" id="{575466BB-39CC-C85B-590E-1C209388959A}"/>
              </a:ext>
            </a:extLst>
          </p:cNvPr>
          <p:cNvSpPr>
            <a:spLocks noGrp="1"/>
          </p:cNvSpPr>
          <p:nvPr>
            <p:ph type="ftr" sz="quarter" idx="10"/>
          </p:nvPr>
        </p:nvSpPr>
        <p:spPr/>
        <p:txBody>
          <a:bodyPr/>
          <a:lstStyle/>
          <a:p>
            <a:r>
              <a:rPr lang="en-CA"/>
              <a:t>5G Broadcast Conference</a:t>
            </a:r>
          </a:p>
        </p:txBody>
      </p:sp>
      <p:sp>
        <p:nvSpPr>
          <p:cNvPr id="2" name="Text Placeholder 3">
            <a:extLst>
              <a:ext uri="{FF2B5EF4-FFF2-40B4-BE49-F238E27FC236}">
                <a16:creationId xmlns:a16="http://schemas.microsoft.com/office/drawing/2014/main" id="{78EBEF18-027F-EE19-DBC3-5DC0B50554D0}"/>
              </a:ext>
            </a:extLst>
          </p:cNvPr>
          <p:cNvSpPr>
            <a:spLocks noGrp="1"/>
          </p:cNvSpPr>
          <p:nvPr>
            <p:ph idx="1" hasCustomPrompt="1"/>
          </p:nvPr>
        </p:nvSpPr>
        <p:spPr>
          <a:xfrm>
            <a:off x="515938" y="1820860"/>
            <a:ext cx="11160126"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461C6F2B-E74D-C23D-F292-9AE7A5E92539}"/>
              </a:ext>
            </a:extLst>
          </p:cNvPr>
          <p:cNvSpPr>
            <a:spLocks noGrp="1"/>
          </p:cNvSpPr>
          <p:nvPr>
            <p:ph type="body" sz="quarter" idx="11" hasCustomPrompt="1"/>
          </p:nvPr>
        </p:nvSpPr>
        <p:spPr>
          <a:xfrm>
            <a:off x="515938" y="1387475"/>
            <a:ext cx="11160125" cy="233910"/>
          </a:xfrm>
        </p:spPr>
        <p:txBody>
          <a:bodyPr>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50001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showMasterSp="0" preserve="1" userDrawn="1">
  <p:cSld name="50/50 Title+Content_Dark Blue">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5065712" cy="647700"/>
          </a:xfrm>
        </p:spPr>
        <p:txBody>
          <a:bodyPr/>
          <a:lstStyle>
            <a:lvl1pPr>
              <a:lnSpc>
                <a:spcPct val="85000"/>
              </a:lnSpc>
              <a:defRPr>
                <a:solidFill>
                  <a:schemeClr val="tx1"/>
                </a:solidFill>
              </a:defRPr>
            </a:lvl1pPr>
          </a:lstStyle>
          <a:p>
            <a:r>
              <a:rPr lang="en-US"/>
              <a:t>50/50 Title + Content</a:t>
            </a:r>
            <a:br>
              <a:rPr lang="en-US"/>
            </a:br>
            <a:r>
              <a:rPr lang="en-US"/>
              <a:t>Title 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5065711" cy="118174"/>
          </a:xfrm>
        </p:spPr>
        <p:txBody>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CA" sz="800" kern="1200" baseline="0" dirty="0" smtClean="0">
                <a:solidFill>
                  <a:schemeClr val="accent6">
                    <a:lumMod val="90000"/>
                  </a:schemeClr>
                </a:solidFill>
                <a:latin typeface="+mn-lt"/>
                <a:ea typeface="+mn-ea"/>
                <a:cs typeface="+mn-cs"/>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5065712"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5065712"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tx1"/>
                </a:solidFill>
                <a:latin typeface="+mn-lt"/>
                <a:ea typeface="+mn-ea"/>
                <a:cs typeface="+mn-cs"/>
              </a:rPr>
              <a:pPr marL="0" lvl="0" algn="l" defTabSz="914400" rtl="0" eaLnBrk="1" latinLnBrk="0" hangingPunct="1">
                <a:lnSpc>
                  <a:spcPct val="125000"/>
                </a:lnSpc>
              </a:pPr>
              <a:t>‹#›</a:t>
            </a:fld>
            <a:endParaRPr lang="en-US" sz="800" kern="1200">
              <a:solidFill>
                <a:schemeClr val="tx1"/>
              </a:solidFill>
              <a:latin typeface="+mn-lt"/>
              <a:ea typeface="+mn-ea"/>
              <a:cs typeface="+mn-cs"/>
            </a:endParaRP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solidFill>
                <a:schemeClr val="tx1"/>
              </a:solidFill>
            </a:endParaRPr>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solidFill>
                <a:schemeClr val="tx1"/>
              </a:solidFill>
            </a:endParaRPr>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6611936" y="628017"/>
            <a:ext cx="5065200"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pPr lvl="0"/>
            <a:r>
              <a:rPr lang="en-US"/>
              <a:t>50/50 Title + Content</a:t>
            </a:r>
            <a:br>
              <a:rPr lang="en-US"/>
            </a:br>
            <a:r>
              <a:rPr lang="en-US"/>
              <a:t>Title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6611937" y="1820860"/>
            <a:ext cx="5065200"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6611937" y="1387475"/>
            <a:ext cx="5065200"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1581958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4165">
          <p15:clr>
            <a:srgbClr val="FBAE40"/>
          </p15:clr>
        </p15:guide>
        <p15:guide id="3" pos="3516">
          <p15:clr>
            <a:srgbClr val="FBAE4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userDrawn="1">
  <p:cSld name="2/1 Title+Content_Dark Blue">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8127602" y="0"/>
            <a:ext cx="40643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7097314" cy="647700"/>
          </a:xfrm>
        </p:spPr>
        <p:txBody>
          <a:bodyPr/>
          <a:lstStyle>
            <a:lvl1pPr>
              <a:lnSpc>
                <a:spcPct val="85000"/>
              </a:lnSpc>
              <a:defRPr>
                <a:solidFill>
                  <a:schemeClr val="tx1"/>
                </a:solidFill>
              </a:defRPr>
            </a:lvl1pPr>
          </a:lstStyle>
          <a:p>
            <a:r>
              <a:rPr lang="en-US"/>
              <a:t>2/1 Title + Content</a:t>
            </a:r>
            <a:br>
              <a:rPr lang="en-US"/>
            </a:br>
            <a:r>
              <a:rPr lang="en-US"/>
              <a:t>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7097313" cy="118174"/>
          </a:xfrm>
        </p:spPr>
        <p:txBody>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CA" sz="800" kern="1200" baseline="0" dirty="0" smtClean="0">
                <a:solidFill>
                  <a:schemeClr val="accent6">
                    <a:lumMod val="90000"/>
                  </a:schemeClr>
                </a:solidFill>
                <a:latin typeface="+mn-lt"/>
                <a:ea typeface="+mn-ea"/>
                <a:cs typeface="+mn-cs"/>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7097314"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7097314"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tx1"/>
                </a:solidFill>
                <a:latin typeface="+mn-lt"/>
                <a:ea typeface="+mn-ea"/>
                <a:cs typeface="+mn-cs"/>
              </a:rPr>
              <a:pPr marL="0" lvl="0" algn="l" defTabSz="914400" rtl="0" eaLnBrk="1" latinLnBrk="0" hangingPunct="1">
                <a:lnSpc>
                  <a:spcPct val="125000"/>
                </a:lnSpc>
              </a:pPr>
              <a:t>‹#›</a:t>
            </a:fld>
            <a:endParaRPr lang="en-US" sz="800" kern="1200">
              <a:solidFill>
                <a:schemeClr val="tx1"/>
              </a:solidFill>
              <a:latin typeface="+mn-lt"/>
              <a:ea typeface="+mn-ea"/>
              <a:cs typeface="+mn-cs"/>
            </a:endParaRPr>
          </a:p>
        </p:txBody>
      </p:sp>
      <p:sp>
        <p:nvSpPr>
          <p:cNvPr id="7" name="TextBox 6">
            <a:extLst>
              <a:ext uri="{FF2B5EF4-FFF2-40B4-BE49-F238E27FC236}">
                <a16:creationId xmlns:a16="http://schemas.microsoft.com/office/drawing/2014/main" id="{B8D9ACE2-2765-F3B0-D6F0-6EEB06E3BF04}"/>
              </a:ext>
            </a:extLst>
          </p:cNvPr>
          <p:cNvSpPr txBox="1"/>
          <p:nvPr userDrawn="1"/>
        </p:nvSpPr>
        <p:spPr>
          <a:xfrm>
            <a:off x="8640762" y="6279571"/>
            <a:ext cx="289786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tx1"/>
                </a:solidFill>
                <a:latin typeface="+mn-lt"/>
                <a:ea typeface="+mn-ea"/>
                <a:cs typeface="+mn-cs"/>
              </a:rPr>
              <a:t>Confidential – Qualcomm Technologies, Inc. and/or its affiliated companies – May Contain Trade Secrets</a:t>
            </a: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solidFill>
                <a:schemeClr val="tx1"/>
              </a:solidFill>
            </a:endParaRPr>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solidFill>
                <a:schemeClr val="tx1"/>
              </a:solidFill>
            </a:endParaRPr>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8640762" y="628017"/>
            <a:ext cx="3036373"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pPr lvl="0"/>
            <a:r>
              <a:rPr lang="en-US"/>
              <a:t>2/1 Title + Content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8640763" y="1820860"/>
            <a:ext cx="3036373"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8640763" y="1387475"/>
            <a:ext cx="3036373"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1441539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00">
          <p15:clr>
            <a:srgbClr val="FBAE40"/>
          </p15:clr>
        </p15:guide>
        <p15:guide id="2" pos="5443">
          <p15:clr>
            <a:srgbClr val="FBAE40"/>
          </p15:clr>
        </p15:guide>
        <p15:guide id="3" pos="5122">
          <p15:clr>
            <a:srgbClr val="FBAE4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Blank_Dark Blue">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86D27F9-CF30-5B0A-BEC1-BF74B6CB4CB7}"/>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34157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showMasterSp="0" preserve="1" userDrawn="1">
  <p:cSld name="Photo+Content_Black">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B69D9101-5103-BD0B-DC2D-41CB0A78D249}"/>
              </a:ext>
            </a:extLst>
          </p:cNvPr>
          <p:cNvSpPr>
            <a:spLocks noGrp="1"/>
          </p:cNvSpPr>
          <p:nvPr>
            <p:ph type="body" sz="quarter" idx="14" hasCustomPrompt="1"/>
          </p:nvPr>
        </p:nvSpPr>
        <p:spPr>
          <a:xfrm>
            <a:off x="515937" y="1196975"/>
            <a:ext cx="5327651" cy="1198115"/>
          </a:xfrm>
        </p:spPr>
        <p:txBody>
          <a:bodyPr wrap="square" anchor="b">
            <a:noAutofit/>
          </a:bodyPr>
          <a:lstStyle>
            <a:lvl1pPr marL="0" indent="0">
              <a:buNone/>
              <a:defRPr sz="1300" cap="all" spc="150" baseline="0">
                <a:solidFill>
                  <a:schemeClr val="tx1"/>
                </a:solidFill>
              </a:defRPr>
            </a:lvl1pPr>
          </a:lstStyle>
          <a:p>
            <a:pPr lvl="0"/>
            <a:r>
              <a:rPr lang="en-US"/>
              <a:t>EYEBROW HEADER</a:t>
            </a:r>
          </a:p>
        </p:txBody>
      </p:sp>
      <p:sp>
        <p:nvSpPr>
          <p:cNvPr id="4" name="Title 13">
            <a:extLst>
              <a:ext uri="{FF2B5EF4-FFF2-40B4-BE49-F238E27FC236}">
                <a16:creationId xmlns:a16="http://schemas.microsoft.com/office/drawing/2014/main" id="{9C2E6A67-498D-55F2-44A0-AEB73181C1F5}"/>
              </a:ext>
            </a:extLst>
          </p:cNvPr>
          <p:cNvSpPr>
            <a:spLocks noGrp="1"/>
          </p:cNvSpPr>
          <p:nvPr>
            <p:ph type="title" hasCustomPrompt="1"/>
          </p:nvPr>
        </p:nvSpPr>
        <p:spPr>
          <a:xfrm>
            <a:off x="515937" y="2711631"/>
            <a:ext cx="5327651" cy="730069"/>
          </a:xfrm>
        </p:spPr>
        <p:txBody>
          <a:bodyPr anchor="t"/>
          <a:lstStyle>
            <a:lvl1pPr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r>
              <a:rPr lang="en-US"/>
              <a:t>2:1 Content &amp; Photo layout </a:t>
            </a:r>
            <a:br>
              <a:rPr lang="en-US"/>
            </a:br>
            <a:r>
              <a:rPr lang="en-US"/>
              <a:t>Title 2 lines maximum</a:t>
            </a:r>
          </a:p>
        </p:txBody>
      </p:sp>
      <p:sp>
        <p:nvSpPr>
          <p:cNvPr id="5" name="Text Placeholder 16">
            <a:extLst>
              <a:ext uri="{FF2B5EF4-FFF2-40B4-BE49-F238E27FC236}">
                <a16:creationId xmlns:a16="http://schemas.microsoft.com/office/drawing/2014/main" id="{567A0B54-1429-39DB-5A18-7783AC1134DD}"/>
              </a:ext>
            </a:extLst>
          </p:cNvPr>
          <p:cNvSpPr>
            <a:spLocks noGrp="1"/>
          </p:cNvSpPr>
          <p:nvPr>
            <p:ph type="body" sz="quarter" idx="15" hasCustomPrompt="1"/>
          </p:nvPr>
        </p:nvSpPr>
        <p:spPr>
          <a:xfrm>
            <a:off x="515938" y="3581401"/>
            <a:ext cx="5327650" cy="2435086"/>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6" name="Footer Placeholder 129">
            <a:extLst>
              <a:ext uri="{FF2B5EF4-FFF2-40B4-BE49-F238E27FC236}">
                <a16:creationId xmlns:a16="http://schemas.microsoft.com/office/drawing/2014/main" id="{8D80928B-7E3D-8479-1AC2-7A221DBC66EF}"/>
              </a:ext>
            </a:extLst>
          </p:cNvPr>
          <p:cNvSpPr>
            <a:spLocks noGrp="1"/>
          </p:cNvSpPr>
          <p:nvPr>
            <p:ph type="ftr" sz="quarter" idx="22"/>
          </p:nvPr>
        </p:nvSpPr>
        <p:spPr>
          <a:xfrm>
            <a:off x="515938" y="6173304"/>
            <a:ext cx="6480175" cy="118174"/>
          </a:xfrm>
        </p:spPr>
        <p:txBody>
          <a:bodyPr/>
          <a:lstStyle>
            <a:lvl1pPr>
              <a:defRPr>
                <a:solidFill>
                  <a:schemeClr val="accent6">
                    <a:lumMod val="90000"/>
                  </a:schemeClr>
                </a:solidFill>
              </a:defRPr>
            </a:lvl1pPr>
          </a:lstStyle>
          <a:p>
            <a:r>
              <a:rPr lang="en-CA"/>
              <a:t>5G Broadcast Conference</a:t>
            </a:r>
          </a:p>
        </p:txBody>
      </p:sp>
      <p:sp>
        <p:nvSpPr>
          <p:cNvPr id="2" name="Picture Placeholder 1">
            <a:extLst>
              <a:ext uri="{FF2B5EF4-FFF2-40B4-BE49-F238E27FC236}">
                <a16:creationId xmlns:a16="http://schemas.microsoft.com/office/drawing/2014/main" id="{68EEC9EC-FC4A-92E3-C233-D049AA444FB1}"/>
              </a:ext>
            </a:extLst>
          </p:cNvPr>
          <p:cNvSpPr>
            <a:spLocks noGrp="1" noChangeAspect="1"/>
          </p:cNvSpPr>
          <p:nvPr>
            <p:ph type="pic" sz="quarter" idx="12" hasCustomPrompt="1"/>
          </p:nvPr>
        </p:nvSpPr>
        <p:spPr>
          <a:xfrm>
            <a:off x="7150937" y="0"/>
            <a:ext cx="5041063" cy="6858000"/>
          </a:xfrm>
          <a:custGeom>
            <a:avLst/>
            <a:gdLst>
              <a:gd name="connsiteX0" fmla="*/ 1341684 w 5041063"/>
              <a:gd name="connsiteY0" fmla="*/ 0 h 6858000"/>
              <a:gd name="connsiteX1" fmla="*/ 5041063 w 5041063"/>
              <a:gd name="connsiteY1" fmla="*/ 0 h 6858000"/>
              <a:gd name="connsiteX2" fmla="*/ 5041063 w 5041063"/>
              <a:gd name="connsiteY2" fmla="*/ 6858000 h 6858000"/>
              <a:gd name="connsiteX3" fmla="*/ 1681589 w 5041063"/>
              <a:gd name="connsiteY3" fmla="*/ 6858000 h 6858000"/>
              <a:gd name="connsiteX4" fmla="*/ 1527585 w 5041063"/>
              <a:gd name="connsiteY4" fmla="*/ 6724571 h 6858000"/>
              <a:gd name="connsiteX5" fmla="*/ 0 w 5041063"/>
              <a:gd name="connsiteY5" fmla="*/ 3272503 h 6858000"/>
              <a:gd name="connsiteX6" fmla="*/ 1211269 w 5041063"/>
              <a:gd name="connsiteY6" fmla="*/ 1368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1063" h="6858000">
                <a:moveTo>
                  <a:pt x="1341684" y="0"/>
                </a:moveTo>
                <a:lnTo>
                  <a:pt x="5041063" y="0"/>
                </a:lnTo>
                <a:lnTo>
                  <a:pt x="5041063" y="6858000"/>
                </a:lnTo>
                <a:lnTo>
                  <a:pt x="1681589" y="6858000"/>
                </a:lnTo>
                <a:lnTo>
                  <a:pt x="1527585" y="6724571"/>
                </a:lnTo>
                <a:cubicBezTo>
                  <a:pt x="589158" y="5871472"/>
                  <a:pt x="0" y="4640804"/>
                  <a:pt x="0" y="3272503"/>
                </a:cubicBezTo>
                <a:cubicBezTo>
                  <a:pt x="0" y="2065179"/>
                  <a:pt x="458687" y="965008"/>
                  <a:pt x="1211269" y="136816"/>
                </a:cubicBezTo>
                <a:close/>
              </a:path>
            </a:pathLst>
          </a:custGeom>
          <a:noFill/>
        </p:spPr>
        <p:txBody>
          <a:bodyPr wrap="square" lIns="540000" rIns="0" anchor="ctr">
            <a:noAutofit/>
          </a:bodyPr>
          <a:lstStyle>
            <a:lvl1pPr marL="0" indent="0">
              <a:buNone/>
              <a:defRPr sz="3000"/>
            </a:lvl1pPr>
          </a:lstStyle>
          <a:p>
            <a:r>
              <a:rPr lang="en-US"/>
              <a:t>Click the icon to insert photo</a:t>
            </a:r>
          </a:p>
        </p:txBody>
      </p:sp>
      <p:grpSp>
        <p:nvGrpSpPr>
          <p:cNvPr id="7" name="Group 6">
            <a:extLst>
              <a:ext uri="{FF2B5EF4-FFF2-40B4-BE49-F238E27FC236}">
                <a16:creationId xmlns:a16="http://schemas.microsoft.com/office/drawing/2014/main" id="{B2803B46-6AFA-41A0-EB99-0BD1C1063C46}"/>
              </a:ext>
            </a:extLst>
          </p:cNvPr>
          <p:cNvGrpSpPr/>
          <p:nvPr userDrawn="1"/>
        </p:nvGrpSpPr>
        <p:grpSpPr>
          <a:xfrm>
            <a:off x="12290489" y="-1"/>
            <a:ext cx="2910882" cy="6858001"/>
            <a:chOff x="12290489" y="-1"/>
            <a:chExt cx="2910882" cy="6858001"/>
          </a:xfrm>
        </p:grpSpPr>
        <p:sp>
          <p:nvSpPr>
            <p:cNvPr id="8" name="Rectangle 7">
              <a:extLst>
                <a:ext uri="{FF2B5EF4-FFF2-40B4-BE49-F238E27FC236}">
                  <a16:creationId xmlns:a16="http://schemas.microsoft.com/office/drawing/2014/main" id="{7FE3F89A-9E40-27C7-B7BE-985808404242}"/>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9" name="TextBox 8">
              <a:extLst>
                <a:ext uri="{FF2B5EF4-FFF2-40B4-BE49-F238E27FC236}">
                  <a16:creationId xmlns:a16="http://schemas.microsoft.com/office/drawing/2014/main" id="{C61F25C8-C335-7749-8C02-BA1FDB7DF185}"/>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MAGE</a:t>
              </a:r>
            </a:p>
          </p:txBody>
        </p:sp>
        <p:cxnSp>
          <p:nvCxnSpPr>
            <p:cNvPr id="10" name="Straight Connector 9">
              <a:extLst>
                <a:ext uri="{FF2B5EF4-FFF2-40B4-BE49-F238E27FC236}">
                  <a16:creationId xmlns:a16="http://schemas.microsoft.com/office/drawing/2014/main" id="{93FBEB36-1958-954B-529B-9DFBB159054D}"/>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46270D9-E5B5-339E-6D31-12BEBFCCBE86}"/>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mage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12" name="TextBox 11">
              <a:extLst>
                <a:ext uri="{FF2B5EF4-FFF2-40B4-BE49-F238E27FC236}">
                  <a16:creationId xmlns:a16="http://schemas.microsoft.com/office/drawing/2014/main" id="{2E73870E-978A-5343-EABB-E6073836B531}"/>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13" name="TextBox 12">
              <a:extLst>
                <a:ext uri="{FF2B5EF4-FFF2-40B4-BE49-F238E27FC236}">
                  <a16:creationId xmlns:a16="http://schemas.microsoft.com/office/drawing/2014/main" id="{672CD1F3-6E36-C78E-03F8-61B8E15E33FC}"/>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14" name="TextBox 13">
              <a:extLst>
                <a:ext uri="{FF2B5EF4-FFF2-40B4-BE49-F238E27FC236}">
                  <a16:creationId xmlns:a16="http://schemas.microsoft.com/office/drawing/2014/main" id="{B833CDF8-6AB7-1B0E-53EE-488034AF2D9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mages from the </a:t>
              </a:r>
              <a:r>
                <a:rPr lang="en-US">
                  <a:solidFill>
                    <a:schemeClr val="accent1"/>
                  </a:solidFill>
                  <a:latin typeface="Aptos" panose="020B0004020202020204" pitchFamily="34" charset="0"/>
                  <a:cs typeface="Aparajita" panose="02020603050405020304" pitchFamily="18" charset="0"/>
                </a:rPr>
                <a:t>Qualcomm Brand Portal</a:t>
              </a:r>
            </a:p>
            <a:p>
              <a:pPr lvl="0">
                <a:spcBef>
                  <a:spcPts val="700"/>
                </a:spcBef>
              </a:pPr>
              <a:r>
                <a:rPr lang="en-US">
                  <a:latin typeface="Aptos" panose="020B0004020202020204" pitchFamily="34" charset="0"/>
                  <a:cs typeface="Aparajita" panose="02020603050405020304" pitchFamily="18" charset="0"/>
                </a:rPr>
                <a:t>Add the image to the placeholder.</a:t>
              </a:r>
            </a:p>
          </p:txBody>
        </p:sp>
        <p:sp>
          <p:nvSpPr>
            <p:cNvPr id="15" name="TextBox 14">
              <a:extLst>
                <a:ext uri="{FF2B5EF4-FFF2-40B4-BE49-F238E27FC236}">
                  <a16:creationId xmlns:a16="http://schemas.microsoft.com/office/drawing/2014/main" id="{2B3D397F-57F7-D0C6-D391-485FB87BE34D}"/>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mage placeholder.</a:t>
              </a:r>
            </a:p>
            <a:p>
              <a:pPr lvl="1">
                <a:buNone/>
              </a:pPr>
              <a:r>
                <a:rPr lang="en-US" sz="1050">
                  <a:latin typeface="Aptos" panose="020B0004020202020204" pitchFamily="34" charset="0"/>
                  <a:cs typeface="Aparajita" panose="02020603050405020304" pitchFamily="18" charset="0"/>
                </a:rPr>
                <a:t>Right-click or use keyboard shortcuts to paste the image.</a:t>
              </a:r>
            </a:p>
          </p:txBody>
        </p:sp>
        <p:sp>
          <p:nvSpPr>
            <p:cNvPr id="16" name="TextBox 15">
              <a:extLst>
                <a:ext uri="{FF2B5EF4-FFF2-40B4-BE49-F238E27FC236}">
                  <a16:creationId xmlns:a16="http://schemas.microsoft.com/office/drawing/2014/main" id="{DC941C1F-E03D-172E-6FE0-94FA949B65E6}"/>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mage.</a:t>
              </a:r>
            </a:p>
          </p:txBody>
        </p:sp>
        <p:grpSp>
          <p:nvGrpSpPr>
            <p:cNvPr id="17" name="Group 16">
              <a:extLst>
                <a:ext uri="{FF2B5EF4-FFF2-40B4-BE49-F238E27FC236}">
                  <a16:creationId xmlns:a16="http://schemas.microsoft.com/office/drawing/2014/main" id="{BB112CA0-EB7E-5767-F7E9-B454A521394F}"/>
                </a:ext>
              </a:extLst>
            </p:cNvPr>
            <p:cNvGrpSpPr/>
            <p:nvPr userDrawn="1"/>
          </p:nvGrpSpPr>
          <p:grpSpPr>
            <a:xfrm>
              <a:off x="12429548" y="3236396"/>
              <a:ext cx="2735151" cy="1280928"/>
              <a:chOff x="9286315" y="6976989"/>
              <a:chExt cx="2735151" cy="1280928"/>
            </a:xfrm>
          </p:grpSpPr>
          <p:sp>
            <p:nvSpPr>
              <p:cNvPr id="28" name="Rectangle 27">
                <a:extLst>
                  <a:ext uri="{FF2B5EF4-FFF2-40B4-BE49-F238E27FC236}">
                    <a16:creationId xmlns:a16="http://schemas.microsoft.com/office/drawing/2014/main" id="{B4469508-3963-980C-C94B-3551DDC6088F}"/>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9" name="TextBox 28">
                <a:extLst>
                  <a:ext uri="{FF2B5EF4-FFF2-40B4-BE49-F238E27FC236}">
                    <a16:creationId xmlns:a16="http://schemas.microsoft.com/office/drawing/2014/main" id="{9524E475-6BE0-356D-61A7-647536978E4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Images</a:t>
                </a:r>
              </a:p>
            </p:txBody>
          </p:sp>
          <p:pic>
            <p:nvPicPr>
              <p:cNvPr id="30" name="Graphic 29">
                <a:extLst>
                  <a:ext uri="{FF2B5EF4-FFF2-40B4-BE49-F238E27FC236}">
                    <a16:creationId xmlns:a16="http://schemas.microsoft.com/office/drawing/2014/main" id="{5F2ABD74-43F9-2E92-EE50-0F160C4A58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1" name="TextBox 30">
                <a:extLst>
                  <a:ext uri="{FF2B5EF4-FFF2-40B4-BE49-F238E27FC236}">
                    <a16:creationId xmlns:a16="http://schemas.microsoft.com/office/drawing/2014/main" id="{61FA0112-DCF0-1211-D2C3-3DA9CB620BA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32" name="Picture 31">
                <a:extLst>
                  <a:ext uri="{FF2B5EF4-FFF2-40B4-BE49-F238E27FC236}">
                    <a16:creationId xmlns:a16="http://schemas.microsoft.com/office/drawing/2014/main" id="{009305B4-7E52-800A-06C8-F44B6168BCBA}"/>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33" name="TextBox 32">
                <a:extLst>
                  <a:ext uri="{FF2B5EF4-FFF2-40B4-BE49-F238E27FC236}">
                    <a16:creationId xmlns:a16="http://schemas.microsoft.com/office/drawing/2014/main" id="{60BE1D2C-DB8C-729D-64C6-7EA1B732C782}"/>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18" name="Group 17">
              <a:extLst>
                <a:ext uri="{FF2B5EF4-FFF2-40B4-BE49-F238E27FC236}">
                  <a16:creationId xmlns:a16="http://schemas.microsoft.com/office/drawing/2014/main" id="{BEFDD349-EE1C-6775-3B1D-C1CDAF120DB9}"/>
                </a:ext>
              </a:extLst>
            </p:cNvPr>
            <p:cNvGrpSpPr/>
            <p:nvPr userDrawn="1"/>
          </p:nvGrpSpPr>
          <p:grpSpPr>
            <a:xfrm>
              <a:off x="12429548" y="4543123"/>
              <a:ext cx="2735151" cy="2200108"/>
              <a:chOff x="9538241" y="5155416"/>
              <a:chExt cx="2735151" cy="2200108"/>
            </a:xfrm>
          </p:grpSpPr>
          <p:sp>
            <p:nvSpPr>
              <p:cNvPr id="19" name="Rectangle 18">
                <a:extLst>
                  <a:ext uri="{FF2B5EF4-FFF2-40B4-BE49-F238E27FC236}">
                    <a16:creationId xmlns:a16="http://schemas.microsoft.com/office/drawing/2014/main" id="{84A2BB42-E5CC-6F03-BE09-48B64B6633AC}"/>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20" name="TextBox 19">
                <a:extLst>
                  <a:ext uri="{FF2B5EF4-FFF2-40B4-BE49-F238E27FC236}">
                    <a16:creationId xmlns:a16="http://schemas.microsoft.com/office/drawing/2014/main" id="{92A52123-4AA7-CEED-12F8-A158384DB525}"/>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mages</a:t>
                </a:r>
              </a:p>
            </p:txBody>
          </p:sp>
          <p:pic>
            <p:nvPicPr>
              <p:cNvPr id="21" name="Graphic 20">
                <a:extLst>
                  <a:ext uri="{FF2B5EF4-FFF2-40B4-BE49-F238E27FC236}">
                    <a16:creationId xmlns:a16="http://schemas.microsoft.com/office/drawing/2014/main" id="{934C1FE1-835F-26F6-345B-30A0F31F1D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2" name="TextBox 21">
                <a:extLst>
                  <a:ext uri="{FF2B5EF4-FFF2-40B4-BE49-F238E27FC236}">
                    <a16:creationId xmlns:a16="http://schemas.microsoft.com/office/drawing/2014/main" id="{F15ED128-DCEA-4A4A-A908-DCEC7A7525AB}"/>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mage and select “Change Picture”</a:t>
                </a:r>
              </a:p>
            </p:txBody>
          </p:sp>
          <p:sp>
            <p:nvSpPr>
              <p:cNvPr id="23" name="TextBox 22">
                <a:extLst>
                  <a:ext uri="{FF2B5EF4-FFF2-40B4-BE49-F238E27FC236}">
                    <a16:creationId xmlns:a16="http://schemas.microsoft.com/office/drawing/2014/main" id="{75AA3142-75FC-F3FD-C508-1E81C30A8270}"/>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4" name="TextBox 23">
                <a:extLst>
                  <a:ext uri="{FF2B5EF4-FFF2-40B4-BE49-F238E27FC236}">
                    <a16:creationId xmlns:a16="http://schemas.microsoft.com/office/drawing/2014/main" id="{54206A9A-D226-2A87-0215-903B2F78D05C}"/>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25" name="TextBox 24">
                <a:extLst>
                  <a:ext uri="{FF2B5EF4-FFF2-40B4-BE49-F238E27FC236}">
                    <a16:creationId xmlns:a16="http://schemas.microsoft.com/office/drawing/2014/main" id="{015A999A-7D74-7CF1-1626-EF3C82629839}"/>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mage as normal.</a:t>
                </a:r>
              </a:p>
            </p:txBody>
          </p:sp>
          <p:cxnSp>
            <p:nvCxnSpPr>
              <p:cNvPr id="26" name="Straight Connector 25">
                <a:extLst>
                  <a:ext uri="{FF2B5EF4-FFF2-40B4-BE49-F238E27FC236}">
                    <a16:creationId xmlns:a16="http://schemas.microsoft.com/office/drawing/2014/main" id="{5F650A17-F4C2-AF14-F1E1-143EC5234B6B}"/>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6950914-95F8-3723-9FE0-2487B980C27B}"/>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Tree>
    <p:extLst>
      <p:ext uri="{BB962C8B-B14F-4D97-AF65-F5344CB8AC3E}">
        <p14:creationId xmlns:p14="http://schemas.microsoft.com/office/powerpoint/2010/main" val="151890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19">
          <p15:clr>
            <a:srgbClr val="FBAE40"/>
          </p15:clr>
        </p15:guide>
        <p15:guide id="6" orient="horz" pos="1502">
          <p15:clr>
            <a:srgbClr val="FBAE40"/>
          </p15:clr>
        </p15:guide>
        <p15:guide id="7" orient="horz" pos="2432">
          <p15:clr>
            <a:srgbClr val="FBAE40"/>
          </p15:clr>
        </p15:guide>
        <p15:guide id="10" pos="3681">
          <p15:clr>
            <a:srgbClr val="FBAE40"/>
          </p15:clr>
        </p15:guide>
      </p15:sldGuideLst>
    </p:ext>
  </p:extLs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Title+4Contents_Black">
    <p:spTree>
      <p:nvGrpSpPr>
        <p:cNvPr id="1" name=""/>
        <p:cNvGrpSpPr/>
        <p:nvPr/>
      </p:nvGrpSpPr>
      <p:grpSpPr>
        <a:xfrm>
          <a:off x="0" y="0"/>
          <a:ext cx="0" cy="0"/>
          <a:chOff x="0" y="0"/>
          <a:chExt cx="0" cy="0"/>
        </a:xfrm>
      </p:grpSpPr>
      <p:sp>
        <p:nvSpPr>
          <p:cNvPr id="6" name="Title 120">
            <a:extLst>
              <a:ext uri="{FF2B5EF4-FFF2-40B4-BE49-F238E27FC236}">
                <a16:creationId xmlns:a16="http://schemas.microsoft.com/office/drawing/2014/main" id="{3276C3D4-8D41-C551-27C2-6A5602A09853}"/>
              </a:ext>
            </a:extLst>
          </p:cNvPr>
          <p:cNvSpPr>
            <a:spLocks noGrp="1"/>
          </p:cNvSpPr>
          <p:nvPr>
            <p:ph type="title" hasCustomPrompt="1"/>
          </p:nvPr>
        </p:nvSpPr>
        <p:spPr>
          <a:xfrm>
            <a:off x="515938" y="2795081"/>
            <a:ext cx="3556709" cy="1294408"/>
          </a:xfrm>
        </p:spPr>
        <p:txBody>
          <a:bodyPr anchor="ctr"/>
          <a:lstStyle>
            <a:lvl1pPr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r>
              <a:rPr lang="en-US"/>
              <a:t>Title+4 Contents layout </a:t>
            </a:r>
            <a:br>
              <a:rPr lang="en-US"/>
            </a:br>
            <a:r>
              <a:rPr lang="en-US"/>
              <a:t>Title up to </a:t>
            </a:r>
            <a:br>
              <a:rPr lang="en-US"/>
            </a:br>
            <a:r>
              <a:rPr lang="en-US"/>
              <a:t>3 lines maximum</a:t>
            </a:r>
          </a:p>
        </p:txBody>
      </p:sp>
      <p:sp>
        <p:nvSpPr>
          <p:cNvPr id="10" name="Picture Placeholder 2">
            <a:extLst>
              <a:ext uri="{FF2B5EF4-FFF2-40B4-BE49-F238E27FC236}">
                <a16:creationId xmlns:a16="http://schemas.microsoft.com/office/drawing/2014/main" id="{F553BB1F-5F28-5D3B-A5A8-60721AE4DD2D}"/>
              </a:ext>
            </a:extLst>
          </p:cNvPr>
          <p:cNvSpPr>
            <a:spLocks noGrp="1" noChangeAspect="1"/>
          </p:cNvSpPr>
          <p:nvPr>
            <p:ph type="pic" sz="quarter" idx="23" hasCustomPrompt="1"/>
          </p:nvPr>
        </p:nvSpPr>
        <p:spPr>
          <a:xfrm>
            <a:off x="4629921" y="691208"/>
            <a:ext cx="759113" cy="759113"/>
          </a:xfrm>
        </p:spPr>
        <p:txBody>
          <a:bodyPr lIns="144000"/>
          <a:lstStyle>
            <a:lvl1pPr marL="0" indent="0">
              <a:buNone/>
              <a:defRPr sz="1400"/>
            </a:lvl1pPr>
          </a:lstStyle>
          <a:p>
            <a:r>
              <a:rPr lang="en-US"/>
              <a:t>Icon</a:t>
            </a:r>
          </a:p>
        </p:txBody>
      </p:sp>
      <p:sp>
        <p:nvSpPr>
          <p:cNvPr id="122" name="Text Placeholder 22">
            <a:extLst>
              <a:ext uri="{FF2B5EF4-FFF2-40B4-BE49-F238E27FC236}">
                <a16:creationId xmlns:a16="http://schemas.microsoft.com/office/drawing/2014/main" id="{693B5A4C-7FB3-2918-A773-0EE6FED3D209}"/>
              </a:ext>
            </a:extLst>
          </p:cNvPr>
          <p:cNvSpPr>
            <a:spLocks noGrp="1"/>
          </p:cNvSpPr>
          <p:nvPr>
            <p:ph type="body" sz="quarter" idx="13" hasCustomPrompt="1"/>
          </p:nvPr>
        </p:nvSpPr>
        <p:spPr>
          <a:xfrm>
            <a:off x="5704822" y="699924"/>
            <a:ext cx="5360054" cy="263149"/>
          </a:xfrm>
        </p:spPr>
        <p:txBody>
          <a:bodyPr wrap="square" anchor="b">
            <a:noAutofit/>
          </a:bodyPr>
          <a:lstStyle>
            <a:lvl1pPr marL="0" indent="0">
              <a:spcBef>
                <a:spcPts val="0"/>
              </a:spcBef>
              <a:spcAft>
                <a:spcPts val="40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2" name="Text Placeholder 16">
            <a:extLst>
              <a:ext uri="{FF2B5EF4-FFF2-40B4-BE49-F238E27FC236}">
                <a16:creationId xmlns:a16="http://schemas.microsoft.com/office/drawing/2014/main" id="{3F0EB458-EDD6-6AD3-B1AB-24A4EA15A9FC}"/>
              </a:ext>
            </a:extLst>
          </p:cNvPr>
          <p:cNvSpPr>
            <a:spLocks noGrp="1"/>
          </p:cNvSpPr>
          <p:nvPr>
            <p:ph type="body" sz="quarter" idx="15" hasCustomPrompt="1"/>
          </p:nvPr>
        </p:nvSpPr>
        <p:spPr>
          <a:xfrm>
            <a:off x="5704821" y="101917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1" name="Picture Placeholder 2">
            <a:extLst>
              <a:ext uri="{FF2B5EF4-FFF2-40B4-BE49-F238E27FC236}">
                <a16:creationId xmlns:a16="http://schemas.microsoft.com/office/drawing/2014/main" id="{A5166B55-3C52-CF01-705A-E2BE18679F21}"/>
              </a:ext>
            </a:extLst>
          </p:cNvPr>
          <p:cNvSpPr>
            <a:spLocks noGrp="1" noChangeAspect="1"/>
          </p:cNvSpPr>
          <p:nvPr>
            <p:ph type="pic" sz="quarter" idx="24" hasCustomPrompt="1"/>
          </p:nvPr>
        </p:nvSpPr>
        <p:spPr>
          <a:xfrm>
            <a:off x="4629921" y="2138783"/>
            <a:ext cx="759113" cy="759113"/>
          </a:xfrm>
        </p:spPr>
        <p:txBody>
          <a:bodyPr lIns="144000"/>
          <a:lstStyle>
            <a:lvl1pPr marL="0" indent="0">
              <a:buNone/>
              <a:defRPr sz="1400"/>
            </a:lvl1pPr>
          </a:lstStyle>
          <a:p>
            <a:r>
              <a:rPr lang="en-US"/>
              <a:t>Icon</a:t>
            </a:r>
          </a:p>
        </p:txBody>
      </p:sp>
      <p:sp>
        <p:nvSpPr>
          <p:cNvPr id="124" name="Text Placeholder 22">
            <a:extLst>
              <a:ext uri="{FF2B5EF4-FFF2-40B4-BE49-F238E27FC236}">
                <a16:creationId xmlns:a16="http://schemas.microsoft.com/office/drawing/2014/main" id="{A14F4D35-AD24-5E3E-8E8D-CD803A85CDBB}"/>
              </a:ext>
            </a:extLst>
          </p:cNvPr>
          <p:cNvSpPr>
            <a:spLocks noGrp="1"/>
          </p:cNvSpPr>
          <p:nvPr>
            <p:ph type="body" sz="quarter" idx="16" hasCustomPrompt="1"/>
          </p:nvPr>
        </p:nvSpPr>
        <p:spPr>
          <a:xfrm>
            <a:off x="5704822" y="2143614"/>
            <a:ext cx="5360054" cy="263149"/>
          </a:xfrm>
        </p:spPr>
        <p:txBody>
          <a:bodyPr wrap="square" anchor="b">
            <a:noAutofit/>
          </a:bodyPr>
          <a:lstStyle>
            <a:lvl1pPr marL="0" indent="0">
              <a:spcBef>
                <a:spcPts val="0"/>
              </a:spcBef>
              <a:spcAft>
                <a:spcPts val="40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3" name="Text Placeholder 16">
            <a:extLst>
              <a:ext uri="{FF2B5EF4-FFF2-40B4-BE49-F238E27FC236}">
                <a16:creationId xmlns:a16="http://schemas.microsoft.com/office/drawing/2014/main" id="{FC2D4270-2921-E9A2-9D7C-4ECAF4952D88}"/>
              </a:ext>
            </a:extLst>
          </p:cNvPr>
          <p:cNvSpPr>
            <a:spLocks noGrp="1"/>
          </p:cNvSpPr>
          <p:nvPr>
            <p:ph type="body" sz="quarter" idx="17" hasCustomPrompt="1"/>
          </p:nvPr>
        </p:nvSpPr>
        <p:spPr>
          <a:xfrm>
            <a:off x="5704821" y="246286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2" name="Picture Placeholder 2">
            <a:extLst>
              <a:ext uri="{FF2B5EF4-FFF2-40B4-BE49-F238E27FC236}">
                <a16:creationId xmlns:a16="http://schemas.microsoft.com/office/drawing/2014/main" id="{D45478F2-FA52-8705-D73C-3B5C90BEA1CE}"/>
              </a:ext>
            </a:extLst>
          </p:cNvPr>
          <p:cNvSpPr>
            <a:spLocks noGrp="1" noChangeAspect="1"/>
          </p:cNvSpPr>
          <p:nvPr>
            <p:ph type="pic" sz="quarter" idx="25" hasCustomPrompt="1"/>
          </p:nvPr>
        </p:nvSpPr>
        <p:spPr>
          <a:xfrm>
            <a:off x="4629921" y="3586358"/>
            <a:ext cx="759113" cy="759113"/>
          </a:xfrm>
        </p:spPr>
        <p:txBody>
          <a:bodyPr lIns="144000"/>
          <a:lstStyle>
            <a:lvl1pPr marL="0" indent="0">
              <a:buNone/>
              <a:defRPr sz="1400"/>
            </a:lvl1pPr>
          </a:lstStyle>
          <a:p>
            <a:r>
              <a:rPr lang="en-US"/>
              <a:t>Icon</a:t>
            </a:r>
          </a:p>
        </p:txBody>
      </p:sp>
      <p:sp>
        <p:nvSpPr>
          <p:cNvPr id="126" name="Text Placeholder 22">
            <a:extLst>
              <a:ext uri="{FF2B5EF4-FFF2-40B4-BE49-F238E27FC236}">
                <a16:creationId xmlns:a16="http://schemas.microsoft.com/office/drawing/2014/main" id="{FCEBECB8-7041-9BA8-933B-3C0F5FF02831}"/>
              </a:ext>
            </a:extLst>
          </p:cNvPr>
          <p:cNvSpPr>
            <a:spLocks noGrp="1"/>
          </p:cNvSpPr>
          <p:nvPr>
            <p:ph type="body" sz="quarter" idx="18" hasCustomPrompt="1"/>
          </p:nvPr>
        </p:nvSpPr>
        <p:spPr>
          <a:xfrm>
            <a:off x="5704822" y="3587071"/>
            <a:ext cx="5360054" cy="263149"/>
          </a:xfrm>
        </p:spPr>
        <p:txBody>
          <a:bodyPr wrap="square" anchor="b">
            <a:noAutofit/>
          </a:bodyPr>
          <a:lstStyle>
            <a:lvl1pPr marL="0" indent="0">
              <a:spcBef>
                <a:spcPts val="0"/>
              </a:spcBef>
              <a:spcAft>
                <a:spcPts val="40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4" name="Text Placeholder 16">
            <a:extLst>
              <a:ext uri="{FF2B5EF4-FFF2-40B4-BE49-F238E27FC236}">
                <a16:creationId xmlns:a16="http://schemas.microsoft.com/office/drawing/2014/main" id="{43953901-F943-9352-2352-77D74F5FD39F}"/>
              </a:ext>
            </a:extLst>
          </p:cNvPr>
          <p:cNvSpPr>
            <a:spLocks noGrp="1"/>
          </p:cNvSpPr>
          <p:nvPr>
            <p:ph type="body" sz="quarter" idx="19" hasCustomPrompt="1"/>
          </p:nvPr>
        </p:nvSpPr>
        <p:spPr>
          <a:xfrm>
            <a:off x="5704821" y="3906322"/>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3" name="Picture Placeholder 2">
            <a:extLst>
              <a:ext uri="{FF2B5EF4-FFF2-40B4-BE49-F238E27FC236}">
                <a16:creationId xmlns:a16="http://schemas.microsoft.com/office/drawing/2014/main" id="{1BD308BA-E994-8363-C02C-E51BC3E1FF56}"/>
              </a:ext>
            </a:extLst>
          </p:cNvPr>
          <p:cNvSpPr>
            <a:spLocks noGrp="1" noChangeAspect="1"/>
          </p:cNvSpPr>
          <p:nvPr>
            <p:ph type="pic" sz="quarter" idx="26" hasCustomPrompt="1"/>
          </p:nvPr>
        </p:nvSpPr>
        <p:spPr>
          <a:xfrm>
            <a:off x="4629921" y="5033933"/>
            <a:ext cx="759113" cy="759113"/>
          </a:xfrm>
        </p:spPr>
        <p:txBody>
          <a:bodyPr lIns="144000"/>
          <a:lstStyle>
            <a:lvl1pPr marL="0" indent="0">
              <a:buNone/>
              <a:defRPr sz="1400"/>
            </a:lvl1pPr>
          </a:lstStyle>
          <a:p>
            <a:r>
              <a:rPr lang="en-US"/>
              <a:t>Icon</a:t>
            </a:r>
          </a:p>
        </p:txBody>
      </p:sp>
      <p:sp>
        <p:nvSpPr>
          <p:cNvPr id="128" name="Text Placeholder 22">
            <a:extLst>
              <a:ext uri="{FF2B5EF4-FFF2-40B4-BE49-F238E27FC236}">
                <a16:creationId xmlns:a16="http://schemas.microsoft.com/office/drawing/2014/main" id="{928EC958-013B-F8B1-324A-396A688B6278}"/>
              </a:ext>
            </a:extLst>
          </p:cNvPr>
          <p:cNvSpPr>
            <a:spLocks noGrp="1"/>
          </p:cNvSpPr>
          <p:nvPr>
            <p:ph type="body" sz="quarter" idx="20" hasCustomPrompt="1"/>
          </p:nvPr>
        </p:nvSpPr>
        <p:spPr>
          <a:xfrm>
            <a:off x="5704822" y="5021236"/>
            <a:ext cx="5360054" cy="263149"/>
          </a:xfrm>
        </p:spPr>
        <p:txBody>
          <a:bodyPr wrap="square" anchor="b">
            <a:noAutofit/>
          </a:bodyPr>
          <a:lstStyle>
            <a:lvl1pPr marL="0" indent="0">
              <a:spcBef>
                <a:spcPts val="0"/>
              </a:spcBef>
              <a:spcAft>
                <a:spcPts val="40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5" name="Text Placeholder 16">
            <a:extLst>
              <a:ext uri="{FF2B5EF4-FFF2-40B4-BE49-F238E27FC236}">
                <a16:creationId xmlns:a16="http://schemas.microsoft.com/office/drawing/2014/main" id="{79788385-4F41-23CE-C80D-DBA35A324839}"/>
              </a:ext>
            </a:extLst>
          </p:cNvPr>
          <p:cNvSpPr>
            <a:spLocks noGrp="1"/>
          </p:cNvSpPr>
          <p:nvPr>
            <p:ph type="body" sz="quarter" idx="21" hasCustomPrompt="1"/>
          </p:nvPr>
        </p:nvSpPr>
        <p:spPr>
          <a:xfrm>
            <a:off x="5704821" y="5340487"/>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9" name="TextBox 8">
            <a:extLst>
              <a:ext uri="{FF2B5EF4-FFF2-40B4-BE49-F238E27FC236}">
                <a16:creationId xmlns:a16="http://schemas.microsoft.com/office/drawing/2014/main" id="{2B352B48-B98A-418B-8943-940ABA2B2152}"/>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0" name="Group 39">
            <a:extLst>
              <a:ext uri="{FF2B5EF4-FFF2-40B4-BE49-F238E27FC236}">
                <a16:creationId xmlns:a16="http://schemas.microsoft.com/office/drawing/2014/main" id="{71011DA8-4562-4BF5-1592-23F0AD4830BC}"/>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EF1C697C-C806-5090-0AB5-76DDEC0B3C46}"/>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93B9AB69-7B63-827E-97DC-7C14D10E6811}"/>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C32506A4-0A85-702D-9EAF-69F41C1645FF}"/>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A1B7728-42BE-46B9-725C-B3507E6F2B82}"/>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A4C44748-0388-2607-F556-DD0346A6FFE4}"/>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5AD01F50-5273-7182-B2F8-AF2510DD5CC0}"/>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5FD0E615-4832-71E6-E4FC-A2E1D483CAD4}"/>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1549F8DC-2979-64F2-4038-B804FCA1399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92FD749C-3644-21F3-04CC-38E5C3020625}"/>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8BC18C52-3BF8-50CC-D894-5983970036C1}"/>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EF4A351D-DDE3-151E-DB7D-FD769C4BF15D}"/>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62" name="TextBox 61">
                <a:extLst>
                  <a:ext uri="{FF2B5EF4-FFF2-40B4-BE49-F238E27FC236}">
                    <a16:creationId xmlns:a16="http://schemas.microsoft.com/office/drawing/2014/main" id="{132C1837-4486-693D-6BAB-C765201A43B7}"/>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8CB7F7FF-35BB-D4A4-9B18-1DA787E74F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4" name="TextBox 63">
                <a:extLst>
                  <a:ext uri="{FF2B5EF4-FFF2-40B4-BE49-F238E27FC236}">
                    <a16:creationId xmlns:a16="http://schemas.microsoft.com/office/drawing/2014/main" id="{DA9BBAC3-BFAE-B4B1-3E39-E9CEA9844A5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65" name="Picture 64">
                <a:extLst>
                  <a:ext uri="{FF2B5EF4-FFF2-40B4-BE49-F238E27FC236}">
                    <a16:creationId xmlns:a16="http://schemas.microsoft.com/office/drawing/2014/main" id="{63FC1156-FA21-36A1-5959-36097E9C024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6" name="TextBox 65">
                <a:extLst>
                  <a:ext uri="{FF2B5EF4-FFF2-40B4-BE49-F238E27FC236}">
                    <a16:creationId xmlns:a16="http://schemas.microsoft.com/office/drawing/2014/main" id="{193FF509-5F4F-3A17-57CD-F0AABD6D16AC}"/>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1" name="Group 50">
              <a:extLst>
                <a:ext uri="{FF2B5EF4-FFF2-40B4-BE49-F238E27FC236}">
                  <a16:creationId xmlns:a16="http://schemas.microsoft.com/office/drawing/2014/main" id="{8A7C7271-E8BA-AB5C-398D-5587C5DF611D}"/>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4F9B8143-53E5-E2EE-2554-6FCC0C867459}"/>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3" name="TextBox 52">
                <a:extLst>
                  <a:ext uri="{FF2B5EF4-FFF2-40B4-BE49-F238E27FC236}">
                    <a16:creationId xmlns:a16="http://schemas.microsoft.com/office/drawing/2014/main" id="{240E5F83-A2B9-1567-89AB-04DE1BE669AA}"/>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2808E35A-54BA-C9BD-71ED-A46F49C84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45E27CBE-8508-A9C9-FC8D-AA6CB89EDBA0}"/>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16DE8FBB-4D4A-0A8A-DD56-3E98E12BA91D}"/>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8AD18A7E-0DA7-A415-1A1D-919CF2CD8493}"/>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17E87CEB-0D08-6190-9BCD-AB473DA59675}"/>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03076FEE-E214-5F57-5C30-DBA7B55CFF07}"/>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35C33FD8-B596-ED74-50C4-A1904A4BFA08}"/>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7" name="Footer Placeholder 6">
            <a:extLst>
              <a:ext uri="{FF2B5EF4-FFF2-40B4-BE49-F238E27FC236}">
                <a16:creationId xmlns:a16="http://schemas.microsoft.com/office/drawing/2014/main" id="{F8DFBB3D-0AE5-69F5-A9EF-C49A7246D3AF}"/>
              </a:ext>
            </a:extLst>
          </p:cNvPr>
          <p:cNvSpPr>
            <a:spLocks noGrp="1"/>
          </p:cNvSpPr>
          <p:nvPr>
            <p:ph type="ftr" sz="quarter" idx="27"/>
          </p:nvPr>
        </p:nvSpPr>
        <p:spPr/>
        <p:txBody>
          <a:bodyPr/>
          <a:lstStyle/>
          <a:p>
            <a:r>
              <a:rPr lang="en-CA"/>
              <a:t>5G Broadcast Conference</a:t>
            </a:r>
          </a:p>
        </p:txBody>
      </p:sp>
    </p:spTree>
    <p:extLst>
      <p:ext uri="{BB962C8B-B14F-4D97-AF65-F5344CB8AC3E}">
        <p14:creationId xmlns:p14="http://schemas.microsoft.com/office/powerpoint/2010/main" val="82840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8" pos="2570">
          <p15:clr>
            <a:srgbClr val="FBAE40"/>
          </p15:clr>
        </p15:guide>
      </p15:sldGuideLst>
    </p:ext>
  </p:extLs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wo Column_Blac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wo column layout</a:t>
            </a:r>
            <a:br>
              <a:rPr lang="en-US"/>
            </a:br>
            <a:r>
              <a:rPr lang="en-US"/>
              <a:t>Title 2 lines maximum</a:t>
            </a:r>
            <a:endParaRPr lang="en-CA"/>
          </a:p>
        </p:txBody>
      </p:sp>
      <p:sp>
        <p:nvSpPr>
          <p:cNvPr id="8" name="Picture Placeholder 2">
            <a:extLst>
              <a:ext uri="{FF2B5EF4-FFF2-40B4-BE49-F238E27FC236}">
                <a16:creationId xmlns:a16="http://schemas.microsoft.com/office/drawing/2014/main" id="{BDA827D7-28EB-4441-6CCA-2B0C03B56D27}"/>
              </a:ext>
            </a:extLst>
          </p:cNvPr>
          <p:cNvSpPr>
            <a:spLocks noGrp="1" noChangeAspect="1"/>
          </p:cNvSpPr>
          <p:nvPr>
            <p:ph type="pic" sz="quarter" idx="25" hasCustomPrompt="1"/>
          </p:nvPr>
        </p:nvSpPr>
        <p:spPr>
          <a:xfrm>
            <a:off x="531812" y="1601038"/>
            <a:ext cx="835024" cy="835024"/>
          </a:xfrm>
        </p:spPr>
        <p:txBody>
          <a:bodyPr lIns="144000"/>
          <a:lstStyle>
            <a:lvl1pPr marL="0" indent="0">
              <a:buNone/>
              <a:defRPr sz="1400"/>
            </a:lvl1pPr>
          </a:lstStyle>
          <a:p>
            <a:r>
              <a:rPr lang="en-US"/>
              <a:t>Icon</a:t>
            </a:r>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2489200"/>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37" name="Group 36">
            <a:extLst>
              <a:ext uri="{FF2B5EF4-FFF2-40B4-BE49-F238E27FC236}">
                <a16:creationId xmlns:a16="http://schemas.microsoft.com/office/drawing/2014/main" id="{10F49D17-1776-704C-F74F-C44449FC5E27}"/>
              </a:ext>
            </a:extLst>
          </p:cNvPr>
          <p:cNvGrpSpPr/>
          <p:nvPr userDrawn="1"/>
        </p:nvGrpSpPr>
        <p:grpSpPr>
          <a:xfrm>
            <a:off x="12290489" y="-1"/>
            <a:ext cx="2910882" cy="6858001"/>
            <a:chOff x="12290489" y="-1"/>
            <a:chExt cx="2910882" cy="6858001"/>
          </a:xfrm>
        </p:grpSpPr>
        <p:sp>
          <p:nvSpPr>
            <p:cNvPr id="38" name="Rectangle 37">
              <a:extLst>
                <a:ext uri="{FF2B5EF4-FFF2-40B4-BE49-F238E27FC236}">
                  <a16:creationId xmlns:a16="http://schemas.microsoft.com/office/drawing/2014/main" id="{EDF2EBFD-3940-9CE6-E2E4-A2DB14C55283}"/>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39" name="TextBox 38">
              <a:extLst>
                <a:ext uri="{FF2B5EF4-FFF2-40B4-BE49-F238E27FC236}">
                  <a16:creationId xmlns:a16="http://schemas.microsoft.com/office/drawing/2014/main" id="{4FA1526F-D10C-3137-C3EB-5ED0C5512632}"/>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0" name="Straight Connector 39">
              <a:extLst>
                <a:ext uri="{FF2B5EF4-FFF2-40B4-BE49-F238E27FC236}">
                  <a16:creationId xmlns:a16="http://schemas.microsoft.com/office/drawing/2014/main" id="{FDF68A1C-6DE8-56A7-465F-77F758319340}"/>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F427A8-EEBF-A0CE-7522-66C59E5C6DF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3D7672A3-A78B-1FD0-3F75-6020EC5B3B7F}"/>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3" name="TextBox 42">
              <a:extLst>
                <a:ext uri="{FF2B5EF4-FFF2-40B4-BE49-F238E27FC236}">
                  <a16:creationId xmlns:a16="http://schemas.microsoft.com/office/drawing/2014/main" id="{D220AF2A-18A4-D5E2-CC7A-337576F03CC7}"/>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4" name="TextBox 43">
              <a:extLst>
                <a:ext uri="{FF2B5EF4-FFF2-40B4-BE49-F238E27FC236}">
                  <a16:creationId xmlns:a16="http://schemas.microsoft.com/office/drawing/2014/main" id="{9345F942-0D58-8E65-B8C6-D2AA0093364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5" name="TextBox 44">
              <a:extLst>
                <a:ext uri="{FF2B5EF4-FFF2-40B4-BE49-F238E27FC236}">
                  <a16:creationId xmlns:a16="http://schemas.microsoft.com/office/drawing/2014/main" id="{7AD4600F-A71F-1EBC-44F0-2E985C054719}"/>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6" name="TextBox 45">
              <a:extLst>
                <a:ext uri="{FF2B5EF4-FFF2-40B4-BE49-F238E27FC236}">
                  <a16:creationId xmlns:a16="http://schemas.microsoft.com/office/drawing/2014/main" id="{4A580109-8D86-1BB1-008B-25C45ADD515F}"/>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47" name="Group 46">
              <a:extLst>
                <a:ext uri="{FF2B5EF4-FFF2-40B4-BE49-F238E27FC236}">
                  <a16:creationId xmlns:a16="http://schemas.microsoft.com/office/drawing/2014/main" id="{BD59EE4B-AD30-EDD9-596F-D986D6B32612}"/>
                </a:ext>
              </a:extLst>
            </p:cNvPr>
            <p:cNvGrpSpPr/>
            <p:nvPr userDrawn="1"/>
          </p:nvGrpSpPr>
          <p:grpSpPr>
            <a:xfrm>
              <a:off x="12429548" y="3236396"/>
              <a:ext cx="2735151" cy="1280928"/>
              <a:chOff x="9286315" y="6976989"/>
              <a:chExt cx="2735151" cy="1280928"/>
            </a:xfrm>
          </p:grpSpPr>
          <p:sp>
            <p:nvSpPr>
              <p:cNvPr id="58" name="Rectangle 57">
                <a:extLst>
                  <a:ext uri="{FF2B5EF4-FFF2-40B4-BE49-F238E27FC236}">
                    <a16:creationId xmlns:a16="http://schemas.microsoft.com/office/drawing/2014/main" id="{49D5E409-C37A-B0A2-33BB-0359BF510F25}"/>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9" name="TextBox 58">
                <a:extLst>
                  <a:ext uri="{FF2B5EF4-FFF2-40B4-BE49-F238E27FC236}">
                    <a16:creationId xmlns:a16="http://schemas.microsoft.com/office/drawing/2014/main" id="{EDB34C46-268C-7C96-AE28-BFE240E2A471}"/>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0" name="Graphic 59">
                <a:extLst>
                  <a:ext uri="{FF2B5EF4-FFF2-40B4-BE49-F238E27FC236}">
                    <a16:creationId xmlns:a16="http://schemas.microsoft.com/office/drawing/2014/main" id="{6875A335-18CC-8BF6-B5D9-843B33D62F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1" name="TextBox 60">
                <a:extLst>
                  <a:ext uri="{FF2B5EF4-FFF2-40B4-BE49-F238E27FC236}">
                    <a16:creationId xmlns:a16="http://schemas.microsoft.com/office/drawing/2014/main" id="{4C322459-BC36-4B8E-CFAE-B94820CAD34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62" name="Picture 61">
                <a:extLst>
                  <a:ext uri="{FF2B5EF4-FFF2-40B4-BE49-F238E27FC236}">
                    <a16:creationId xmlns:a16="http://schemas.microsoft.com/office/drawing/2014/main" id="{9ED8ECBA-C3F7-5048-0976-D24D5956382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3" name="TextBox 62">
                <a:extLst>
                  <a:ext uri="{FF2B5EF4-FFF2-40B4-BE49-F238E27FC236}">
                    <a16:creationId xmlns:a16="http://schemas.microsoft.com/office/drawing/2014/main" id="{754B0BA7-750B-D607-DC5A-F4F85F52221F}"/>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48" name="Group 47">
              <a:extLst>
                <a:ext uri="{FF2B5EF4-FFF2-40B4-BE49-F238E27FC236}">
                  <a16:creationId xmlns:a16="http://schemas.microsoft.com/office/drawing/2014/main" id="{279BE43B-F235-6EAE-7BF8-457F5AEADC82}"/>
                </a:ext>
              </a:extLst>
            </p:cNvPr>
            <p:cNvGrpSpPr/>
            <p:nvPr userDrawn="1"/>
          </p:nvGrpSpPr>
          <p:grpSpPr>
            <a:xfrm>
              <a:off x="12429548" y="4543123"/>
              <a:ext cx="2735151" cy="2200108"/>
              <a:chOff x="9538241" y="5155416"/>
              <a:chExt cx="2735151" cy="2200108"/>
            </a:xfrm>
          </p:grpSpPr>
          <p:sp>
            <p:nvSpPr>
              <p:cNvPr id="49" name="Rectangle 48">
                <a:extLst>
                  <a:ext uri="{FF2B5EF4-FFF2-40B4-BE49-F238E27FC236}">
                    <a16:creationId xmlns:a16="http://schemas.microsoft.com/office/drawing/2014/main" id="{9BF2F786-4459-B79C-0B6C-AE60936F3550}"/>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0" name="TextBox 49">
                <a:extLst>
                  <a:ext uri="{FF2B5EF4-FFF2-40B4-BE49-F238E27FC236}">
                    <a16:creationId xmlns:a16="http://schemas.microsoft.com/office/drawing/2014/main" id="{6EE5E131-DBB4-125E-2F8F-2AA225201E4E}"/>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1" name="Graphic 50">
                <a:extLst>
                  <a:ext uri="{FF2B5EF4-FFF2-40B4-BE49-F238E27FC236}">
                    <a16:creationId xmlns:a16="http://schemas.microsoft.com/office/drawing/2014/main" id="{13C7612B-4333-2101-D385-32A0F0801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2" name="TextBox 51">
                <a:extLst>
                  <a:ext uri="{FF2B5EF4-FFF2-40B4-BE49-F238E27FC236}">
                    <a16:creationId xmlns:a16="http://schemas.microsoft.com/office/drawing/2014/main" id="{92246FC0-FE5E-C371-C5FE-0C06A53AB56F}"/>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3" name="TextBox 52">
                <a:extLst>
                  <a:ext uri="{FF2B5EF4-FFF2-40B4-BE49-F238E27FC236}">
                    <a16:creationId xmlns:a16="http://schemas.microsoft.com/office/drawing/2014/main" id="{7D86C7BB-19BF-2243-ABDF-E97B5A6A49D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4" name="TextBox 53">
                <a:extLst>
                  <a:ext uri="{FF2B5EF4-FFF2-40B4-BE49-F238E27FC236}">
                    <a16:creationId xmlns:a16="http://schemas.microsoft.com/office/drawing/2014/main" id="{A1904FFB-C739-0F90-C7F5-DA9DED094FAB}"/>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5" name="TextBox 54">
                <a:extLst>
                  <a:ext uri="{FF2B5EF4-FFF2-40B4-BE49-F238E27FC236}">
                    <a16:creationId xmlns:a16="http://schemas.microsoft.com/office/drawing/2014/main" id="{ACB1AC66-5C4B-469C-9B82-3DEC7748C8C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6" name="Straight Connector 55">
                <a:extLst>
                  <a:ext uri="{FF2B5EF4-FFF2-40B4-BE49-F238E27FC236}">
                    <a16:creationId xmlns:a16="http://schemas.microsoft.com/office/drawing/2014/main" id="{59F4B141-EF3E-3F29-C00E-0D1B85F79C61}"/>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FA8221B-19B5-DF1D-3769-8CEB0E2CD3AB}"/>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p>
            <a:r>
              <a:rPr lang="en-CA"/>
              <a:t>5G Broadcast Conference</a:t>
            </a:r>
          </a:p>
        </p:txBody>
      </p:sp>
      <p:sp>
        <p:nvSpPr>
          <p:cNvPr id="9" name="Picture Placeholder 2">
            <a:extLst>
              <a:ext uri="{FF2B5EF4-FFF2-40B4-BE49-F238E27FC236}">
                <a16:creationId xmlns:a16="http://schemas.microsoft.com/office/drawing/2014/main" id="{549703AA-9655-8130-40CE-159745CE956D}"/>
              </a:ext>
            </a:extLst>
          </p:cNvPr>
          <p:cNvSpPr>
            <a:spLocks noGrp="1" noChangeAspect="1"/>
          </p:cNvSpPr>
          <p:nvPr>
            <p:ph type="pic" sz="quarter" idx="33" hasCustomPrompt="1"/>
          </p:nvPr>
        </p:nvSpPr>
        <p:spPr>
          <a:xfrm>
            <a:off x="6240018" y="1601038"/>
            <a:ext cx="835024" cy="835024"/>
          </a:xfrm>
        </p:spPr>
        <p:txBody>
          <a:bodyPr lIns="144000"/>
          <a:lstStyle>
            <a:lvl1pPr marL="0" indent="0">
              <a:buNone/>
              <a:defRPr sz="1400"/>
            </a:lvl1pPr>
          </a:lstStyle>
          <a:p>
            <a:r>
              <a:rPr lang="en-US"/>
              <a:t>Icon</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2489200"/>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Tree>
    <p:extLst>
      <p:ext uri="{BB962C8B-B14F-4D97-AF65-F5344CB8AC3E}">
        <p14:creationId xmlns:p14="http://schemas.microsoft.com/office/powerpoint/2010/main" val="301305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hree Column_Blac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hree column layout</a:t>
            </a:r>
            <a:br>
              <a:rPr lang="en-US"/>
            </a:br>
            <a:r>
              <a:rPr lang="en-US"/>
              <a:t>Title 2 lines maximum</a:t>
            </a:r>
            <a:endParaRPr lang="en-CA"/>
          </a:p>
        </p:txBody>
      </p:sp>
      <p:sp>
        <p:nvSpPr>
          <p:cNvPr id="6" name="Picture Placeholder 2">
            <a:extLst>
              <a:ext uri="{FF2B5EF4-FFF2-40B4-BE49-F238E27FC236}">
                <a16:creationId xmlns:a16="http://schemas.microsoft.com/office/drawing/2014/main" id="{029115E3-9D47-7E7E-69DC-D8DCC36D5A95}"/>
              </a:ext>
            </a:extLst>
          </p:cNvPr>
          <p:cNvSpPr>
            <a:spLocks noGrp="1" noChangeAspect="1"/>
          </p:cNvSpPr>
          <p:nvPr>
            <p:ph type="pic" sz="quarter" idx="29" hasCustomPrompt="1"/>
          </p:nvPr>
        </p:nvSpPr>
        <p:spPr>
          <a:xfrm>
            <a:off x="531811" y="1601038"/>
            <a:ext cx="835024" cy="835024"/>
          </a:xfrm>
        </p:spPr>
        <p:txBody>
          <a:bodyPr lIns="144000"/>
          <a:lstStyle>
            <a:lvl1pPr marL="0" indent="0">
              <a:buNone/>
              <a:defRPr sz="1400"/>
            </a:lvl1pPr>
          </a:lstStyle>
          <a:p>
            <a:r>
              <a:rPr lang="en-US"/>
              <a:t>Icon</a:t>
            </a:r>
          </a:p>
        </p:txBody>
      </p:sp>
      <p:sp>
        <p:nvSpPr>
          <p:cNvPr id="23" name="TextBox 22">
            <a:extLst>
              <a:ext uri="{FF2B5EF4-FFF2-40B4-BE49-F238E27FC236}">
                <a16:creationId xmlns:a16="http://schemas.microsoft.com/office/drawing/2014/main" id="{EDE40922-B18A-2DF9-C121-EF497B173DA5}"/>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0" name="Group 39">
            <a:extLst>
              <a:ext uri="{FF2B5EF4-FFF2-40B4-BE49-F238E27FC236}">
                <a16:creationId xmlns:a16="http://schemas.microsoft.com/office/drawing/2014/main" id="{C3479EAD-810E-2127-DFE4-C119FFAAF25F}"/>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5BDB44CD-9F2B-F58C-094C-02B9892CF15A}"/>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FB15FE9D-716F-C274-7D27-8D223E8ABE60}"/>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8E80D713-C5E7-B361-2F72-50AD4046E3F8}"/>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B814A9-8A88-5DDE-79A3-1B2EF1A66658}"/>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D615C7A9-E29B-21F9-E2E8-C923E8968F3E}"/>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3EA8DC82-0D60-6232-3BC9-24A65D14C00F}"/>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8FB3888D-CF08-9A5E-6087-0A96D256136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6CBF6BC2-3BF4-D922-4257-F4687B34FC4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0A03FA61-0E9A-7595-F64E-CDB3BA8FA0F9}"/>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045C6CE7-1836-CD98-FD2E-3852CC4F95C4}"/>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A244D9D0-DA66-A41C-0A97-F246FC60386E}"/>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62" name="TextBox 61">
                <a:extLst>
                  <a:ext uri="{FF2B5EF4-FFF2-40B4-BE49-F238E27FC236}">
                    <a16:creationId xmlns:a16="http://schemas.microsoft.com/office/drawing/2014/main" id="{1A64F655-4301-1FB7-250E-9C1A8B5FCB4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26C4B24F-6463-127F-4A4C-E83AB1F243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49B54B08-0A6A-2E23-571B-DAF9DEE5871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29" name="Picture 128">
                <a:extLst>
                  <a:ext uri="{FF2B5EF4-FFF2-40B4-BE49-F238E27FC236}">
                    <a16:creationId xmlns:a16="http://schemas.microsoft.com/office/drawing/2014/main" id="{922454F9-38F9-E75F-229D-6791D73750B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1" name="TextBox 130">
                <a:extLst>
                  <a:ext uri="{FF2B5EF4-FFF2-40B4-BE49-F238E27FC236}">
                    <a16:creationId xmlns:a16="http://schemas.microsoft.com/office/drawing/2014/main" id="{89AD0476-0BA4-5FE8-0058-0D8FFD04C7C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1" name="Group 50">
              <a:extLst>
                <a:ext uri="{FF2B5EF4-FFF2-40B4-BE49-F238E27FC236}">
                  <a16:creationId xmlns:a16="http://schemas.microsoft.com/office/drawing/2014/main" id="{4BE1028D-B18D-B36F-60B3-4986BFEEF925}"/>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0A9ABB30-2A24-E0D2-55B0-A73CE39D109F}"/>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3" name="TextBox 52">
                <a:extLst>
                  <a:ext uri="{FF2B5EF4-FFF2-40B4-BE49-F238E27FC236}">
                    <a16:creationId xmlns:a16="http://schemas.microsoft.com/office/drawing/2014/main" id="{10A95012-A7F5-02FE-E678-BF6265893549}"/>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C7D43E17-4D5B-8DC8-6045-9AA3AA7D64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EAA03FF1-2DB4-2322-26D7-04553EC0EC12}"/>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D47EFAF2-523E-10C5-E026-1FF65E7FB2E5}"/>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3B24F0A0-8AA7-8379-5E4A-1A2A95667D7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01829B35-272F-4074-92CC-A156C1CDADDD}"/>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7939134C-69A1-0463-A252-1582C51C7954}"/>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829B6B-797B-FB9F-5F92-9FEF0A3BFBE3}"/>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139D0396-5251-18D3-6D1D-FB672FB44CDE}"/>
              </a:ext>
            </a:extLst>
          </p:cNvPr>
          <p:cNvSpPr>
            <a:spLocks noGrp="1" noChangeAspect="1"/>
          </p:cNvSpPr>
          <p:nvPr>
            <p:ph type="pic" sz="quarter" idx="45" hasCustomPrompt="1"/>
          </p:nvPr>
        </p:nvSpPr>
        <p:spPr>
          <a:xfrm>
            <a:off x="4340711"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9" name="Picture Placeholder 2">
            <a:extLst>
              <a:ext uri="{FF2B5EF4-FFF2-40B4-BE49-F238E27FC236}">
                <a16:creationId xmlns:a16="http://schemas.microsoft.com/office/drawing/2014/main" id="{EB49F5C6-BE22-7E23-F398-419AF46EA9C3}"/>
              </a:ext>
            </a:extLst>
          </p:cNvPr>
          <p:cNvSpPr>
            <a:spLocks noGrp="1" noChangeAspect="1"/>
          </p:cNvSpPr>
          <p:nvPr>
            <p:ph type="pic" sz="quarter" idx="48" hasCustomPrompt="1"/>
          </p:nvPr>
        </p:nvSpPr>
        <p:spPr>
          <a:xfrm>
            <a:off x="8149611" y="1601038"/>
            <a:ext cx="835024" cy="835024"/>
          </a:xfrm>
        </p:spPr>
        <p:txBody>
          <a:bodyPr lIns="144000"/>
          <a:lstStyle>
            <a:lvl1pPr marL="0" indent="0">
              <a:buNone/>
              <a:defRPr sz="1400"/>
            </a:lvl1pPr>
          </a:lstStyle>
          <a:p>
            <a:r>
              <a:rPr lang="en-US"/>
              <a:t>Icon</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2489200"/>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48812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2">
          <p15:clr>
            <a:srgbClr val="FBAE40"/>
          </p15:clr>
        </p15:guide>
      </p15:sldGuideLst>
    </p:ext>
  </p:extLs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Four Column_Blac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Four column layout</a:t>
            </a:r>
            <a:br>
              <a:rPr lang="en-US"/>
            </a:br>
            <a:r>
              <a:rPr lang="en-US"/>
              <a:t>Title 2 lines maximum</a:t>
            </a:r>
            <a:endParaRPr lang="en-CA"/>
          </a:p>
        </p:txBody>
      </p:sp>
      <p:sp>
        <p:nvSpPr>
          <p:cNvPr id="4" name="Picture Placeholder 2">
            <a:extLst>
              <a:ext uri="{FF2B5EF4-FFF2-40B4-BE49-F238E27FC236}">
                <a16:creationId xmlns:a16="http://schemas.microsoft.com/office/drawing/2014/main" id="{0AAFB50F-094B-2881-F919-B1EE84ACE5D7}"/>
              </a:ext>
            </a:extLst>
          </p:cNvPr>
          <p:cNvSpPr>
            <a:spLocks noGrp="1" noChangeAspect="1"/>
          </p:cNvSpPr>
          <p:nvPr>
            <p:ph type="pic" sz="quarter" idx="31" hasCustomPrompt="1"/>
          </p:nvPr>
        </p:nvSpPr>
        <p:spPr>
          <a:xfrm>
            <a:off x="531812" y="1601038"/>
            <a:ext cx="835024" cy="835024"/>
          </a:xfrm>
        </p:spPr>
        <p:txBody>
          <a:bodyPr lIns="144000"/>
          <a:lstStyle>
            <a:lvl1pPr marL="0" indent="0">
              <a:buNone/>
              <a:defRPr sz="1400"/>
            </a:lvl1pPr>
          </a:lstStyle>
          <a:p>
            <a:r>
              <a:rPr lang="en-US"/>
              <a:t>Icon</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3" name="Group 42">
            <a:extLst>
              <a:ext uri="{FF2B5EF4-FFF2-40B4-BE49-F238E27FC236}">
                <a16:creationId xmlns:a16="http://schemas.microsoft.com/office/drawing/2014/main" id="{717DDAE4-62DE-EEF2-E43F-005ACD006E14}"/>
              </a:ext>
            </a:extLst>
          </p:cNvPr>
          <p:cNvGrpSpPr/>
          <p:nvPr userDrawn="1"/>
        </p:nvGrpSpPr>
        <p:grpSpPr>
          <a:xfrm>
            <a:off x="12290489" y="-1"/>
            <a:ext cx="2910882" cy="6858001"/>
            <a:chOff x="12290489" y="-1"/>
            <a:chExt cx="2910882" cy="6858001"/>
          </a:xfrm>
        </p:grpSpPr>
        <p:sp>
          <p:nvSpPr>
            <p:cNvPr id="44" name="Rectangle 43">
              <a:extLst>
                <a:ext uri="{FF2B5EF4-FFF2-40B4-BE49-F238E27FC236}">
                  <a16:creationId xmlns:a16="http://schemas.microsoft.com/office/drawing/2014/main" id="{74829545-917D-5369-077E-2A4E82074C6F}"/>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91214599-3AC4-B786-02F0-AE556635205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6" name="Straight Connector 45">
              <a:extLst>
                <a:ext uri="{FF2B5EF4-FFF2-40B4-BE49-F238E27FC236}">
                  <a16:creationId xmlns:a16="http://schemas.microsoft.com/office/drawing/2014/main" id="{BCA5B2B5-C2E0-2592-2785-4F84ED886D75}"/>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22702B7-28A0-668C-65B6-669BFACDF46D}"/>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8" name="TextBox 47">
              <a:extLst>
                <a:ext uri="{FF2B5EF4-FFF2-40B4-BE49-F238E27FC236}">
                  <a16:creationId xmlns:a16="http://schemas.microsoft.com/office/drawing/2014/main" id="{8C58B4C5-C329-4790-4200-9150B0A43C33}"/>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9" name="TextBox 48">
              <a:extLst>
                <a:ext uri="{FF2B5EF4-FFF2-40B4-BE49-F238E27FC236}">
                  <a16:creationId xmlns:a16="http://schemas.microsoft.com/office/drawing/2014/main" id="{D5299741-2394-3A23-F67F-F322FE1C0CB8}"/>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50" name="TextBox 49">
              <a:extLst>
                <a:ext uri="{FF2B5EF4-FFF2-40B4-BE49-F238E27FC236}">
                  <a16:creationId xmlns:a16="http://schemas.microsoft.com/office/drawing/2014/main" id="{43A73320-4AE9-4630-370C-00C5ADECD4A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51" name="TextBox 50">
              <a:extLst>
                <a:ext uri="{FF2B5EF4-FFF2-40B4-BE49-F238E27FC236}">
                  <a16:creationId xmlns:a16="http://schemas.microsoft.com/office/drawing/2014/main" id="{36600997-0C5B-7E7E-13B9-8B1FBC40768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52" name="TextBox 51">
              <a:extLst>
                <a:ext uri="{FF2B5EF4-FFF2-40B4-BE49-F238E27FC236}">
                  <a16:creationId xmlns:a16="http://schemas.microsoft.com/office/drawing/2014/main" id="{222AF4B2-579A-DE69-535D-5A7232B8BF25}"/>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3" name="Group 52">
              <a:extLst>
                <a:ext uri="{FF2B5EF4-FFF2-40B4-BE49-F238E27FC236}">
                  <a16:creationId xmlns:a16="http://schemas.microsoft.com/office/drawing/2014/main" id="{D431143D-EA3F-BA31-FDD0-86758B90458F}"/>
                </a:ext>
              </a:extLst>
            </p:cNvPr>
            <p:cNvGrpSpPr/>
            <p:nvPr userDrawn="1"/>
          </p:nvGrpSpPr>
          <p:grpSpPr>
            <a:xfrm>
              <a:off x="12429548" y="3236396"/>
              <a:ext cx="2735151" cy="1280928"/>
              <a:chOff x="9286315" y="6976989"/>
              <a:chExt cx="2735151" cy="1280928"/>
            </a:xfrm>
          </p:grpSpPr>
          <p:sp>
            <p:nvSpPr>
              <p:cNvPr id="128" name="Rectangle 127">
                <a:extLst>
                  <a:ext uri="{FF2B5EF4-FFF2-40B4-BE49-F238E27FC236}">
                    <a16:creationId xmlns:a16="http://schemas.microsoft.com/office/drawing/2014/main" id="{992C18FF-FCA0-B6DC-4B5F-813875A58CAD}"/>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129" name="TextBox 128">
                <a:extLst>
                  <a:ext uri="{FF2B5EF4-FFF2-40B4-BE49-F238E27FC236}">
                    <a16:creationId xmlns:a16="http://schemas.microsoft.com/office/drawing/2014/main" id="{CC870698-701A-2242-78AE-B6CBE951C53A}"/>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131" name="Graphic 130">
                <a:extLst>
                  <a:ext uri="{FF2B5EF4-FFF2-40B4-BE49-F238E27FC236}">
                    <a16:creationId xmlns:a16="http://schemas.microsoft.com/office/drawing/2014/main" id="{27F479C9-EBF7-C89C-EBDD-699C93B929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A8B38676-38BD-C97A-3E60-811AD05F329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33" name="Picture 132">
                <a:extLst>
                  <a:ext uri="{FF2B5EF4-FFF2-40B4-BE49-F238E27FC236}">
                    <a16:creationId xmlns:a16="http://schemas.microsoft.com/office/drawing/2014/main" id="{52C3F74E-3500-E869-070E-EB7D7CFFDD4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4" name="TextBox 133">
                <a:extLst>
                  <a:ext uri="{FF2B5EF4-FFF2-40B4-BE49-F238E27FC236}">
                    <a16:creationId xmlns:a16="http://schemas.microsoft.com/office/drawing/2014/main" id="{FD2E6A13-5E3C-A37E-FF9D-6CC65A1A8599}"/>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4" name="Group 53">
              <a:extLst>
                <a:ext uri="{FF2B5EF4-FFF2-40B4-BE49-F238E27FC236}">
                  <a16:creationId xmlns:a16="http://schemas.microsoft.com/office/drawing/2014/main" id="{C17097D5-36D6-39B2-EA5B-55509107C41A}"/>
                </a:ext>
              </a:extLst>
            </p:cNvPr>
            <p:cNvGrpSpPr/>
            <p:nvPr userDrawn="1"/>
          </p:nvGrpSpPr>
          <p:grpSpPr>
            <a:xfrm>
              <a:off x="12429548" y="4543123"/>
              <a:ext cx="2735151" cy="2200108"/>
              <a:chOff x="9538241" y="5155416"/>
              <a:chExt cx="2735151" cy="2200108"/>
            </a:xfrm>
          </p:grpSpPr>
          <p:sp>
            <p:nvSpPr>
              <p:cNvPr id="55" name="Rectangle 54">
                <a:extLst>
                  <a:ext uri="{FF2B5EF4-FFF2-40B4-BE49-F238E27FC236}">
                    <a16:creationId xmlns:a16="http://schemas.microsoft.com/office/drawing/2014/main" id="{3834CD4C-1311-915F-D846-C8EF6D502AC7}"/>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6" name="TextBox 55">
                <a:extLst>
                  <a:ext uri="{FF2B5EF4-FFF2-40B4-BE49-F238E27FC236}">
                    <a16:creationId xmlns:a16="http://schemas.microsoft.com/office/drawing/2014/main" id="{26D4593E-4325-4054-E8E0-2C4565BC080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7" name="Graphic 56">
                <a:extLst>
                  <a:ext uri="{FF2B5EF4-FFF2-40B4-BE49-F238E27FC236}">
                    <a16:creationId xmlns:a16="http://schemas.microsoft.com/office/drawing/2014/main" id="{AB5C6E66-2D1C-CA85-B320-68D3759A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8" name="TextBox 57">
                <a:extLst>
                  <a:ext uri="{FF2B5EF4-FFF2-40B4-BE49-F238E27FC236}">
                    <a16:creationId xmlns:a16="http://schemas.microsoft.com/office/drawing/2014/main" id="{59524F0B-C3FC-E96B-9EF5-AD8583AA42AC}"/>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9" name="TextBox 58">
                <a:extLst>
                  <a:ext uri="{FF2B5EF4-FFF2-40B4-BE49-F238E27FC236}">
                    <a16:creationId xmlns:a16="http://schemas.microsoft.com/office/drawing/2014/main" id="{BE622394-901B-B821-BDE6-422E33014D2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60" name="TextBox 59">
                <a:extLst>
                  <a:ext uri="{FF2B5EF4-FFF2-40B4-BE49-F238E27FC236}">
                    <a16:creationId xmlns:a16="http://schemas.microsoft.com/office/drawing/2014/main" id="{7AD17B2F-A0CC-7E95-D315-F28D5BBC0E3A}"/>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61" name="TextBox 60">
                <a:extLst>
                  <a:ext uri="{FF2B5EF4-FFF2-40B4-BE49-F238E27FC236}">
                    <a16:creationId xmlns:a16="http://schemas.microsoft.com/office/drawing/2014/main" id="{D9245573-D378-F3B6-9D43-7A0AC9D3F67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62" name="Straight Connector 61">
                <a:extLst>
                  <a:ext uri="{FF2B5EF4-FFF2-40B4-BE49-F238E27FC236}">
                    <a16:creationId xmlns:a16="http://schemas.microsoft.com/office/drawing/2014/main" id="{DF948D1D-C3E1-EF3A-5CFF-FC5BD4F401D2}"/>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6D6806E-4824-9CA0-7A29-8C9379EA11A7}"/>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7" name="Picture Placeholder 2">
            <a:extLst>
              <a:ext uri="{FF2B5EF4-FFF2-40B4-BE49-F238E27FC236}">
                <a16:creationId xmlns:a16="http://schemas.microsoft.com/office/drawing/2014/main" id="{7742E333-DAE8-AADC-AB85-E09272B827B3}"/>
              </a:ext>
            </a:extLst>
          </p:cNvPr>
          <p:cNvSpPr>
            <a:spLocks noGrp="1" noChangeAspect="1"/>
          </p:cNvSpPr>
          <p:nvPr>
            <p:ph type="pic" sz="quarter" idx="50" hasCustomPrompt="1"/>
          </p:nvPr>
        </p:nvSpPr>
        <p:spPr>
          <a:xfrm>
            <a:off x="3380247" y="1601038"/>
            <a:ext cx="835024" cy="835024"/>
          </a:xfrm>
        </p:spPr>
        <p:txBody>
          <a:bodyPr lIns="144000"/>
          <a:lstStyle>
            <a:lvl1pPr marL="0" indent="0">
              <a:buNone/>
              <a:defRPr sz="1400"/>
            </a:lvl1pPr>
          </a:lstStyle>
          <a:p>
            <a:r>
              <a:rPr lang="en-US"/>
              <a:t>Icon</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3" name="Picture Placeholder 2">
            <a:extLst>
              <a:ext uri="{FF2B5EF4-FFF2-40B4-BE49-F238E27FC236}">
                <a16:creationId xmlns:a16="http://schemas.microsoft.com/office/drawing/2014/main" id="{49D03249-A3CA-5A91-C717-27E68D6F7831}"/>
              </a:ext>
            </a:extLst>
          </p:cNvPr>
          <p:cNvSpPr>
            <a:spLocks noGrp="1" noChangeAspect="1"/>
          </p:cNvSpPr>
          <p:nvPr>
            <p:ph type="pic" sz="quarter" idx="53" hasCustomPrompt="1"/>
          </p:nvPr>
        </p:nvSpPr>
        <p:spPr>
          <a:xfrm>
            <a:off x="6228682" y="1601038"/>
            <a:ext cx="835024" cy="835024"/>
          </a:xfrm>
        </p:spPr>
        <p:txBody>
          <a:bodyPr lIns="144000"/>
          <a:lstStyle>
            <a:lvl1pPr marL="0" indent="0">
              <a:buNone/>
              <a:defRPr sz="1400"/>
            </a:lvl1pPr>
          </a:lstStyle>
          <a:p>
            <a:r>
              <a:rPr lang="en-US"/>
              <a:t>Icon</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63A76360-B909-3A81-788A-127C2E0DCFCA}"/>
              </a:ext>
            </a:extLst>
          </p:cNvPr>
          <p:cNvSpPr>
            <a:spLocks noGrp="1" noChangeAspect="1"/>
          </p:cNvSpPr>
          <p:nvPr>
            <p:ph type="pic" sz="quarter" idx="56" hasCustomPrompt="1"/>
          </p:nvPr>
        </p:nvSpPr>
        <p:spPr>
          <a:xfrm>
            <a:off x="9077116"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2489200"/>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401523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95230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Two Column_Black (No Ic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wo column layout</a:t>
            </a:r>
            <a:br>
              <a:rPr lang="en-US"/>
            </a:br>
            <a:r>
              <a:rPr lang="en-US"/>
              <a:t>Title 2 lines maximum</a:t>
            </a:r>
            <a:endParaRPr lang="en-CA"/>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1706497"/>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37" name="Group 36">
            <a:extLst>
              <a:ext uri="{FF2B5EF4-FFF2-40B4-BE49-F238E27FC236}">
                <a16:creationId xmlns:a16="http://schemas.microsoft.com/office/drawing/2014/main" id="{10F49D17-1776-704C-F74F-C44449FC5E27}"/>
              </a:ext>
            </a:extLst>
          </p:cNvPr>
          <p:cNvGrpSpPr/>
          <p:nvPr userDrawn="1"/>
        </p:nvGrpSpPr>
        <p:grpSpPr>
          <a:xfrm>
            <a:off x="12290489" y="-1"/>
            <a:ext cx="2910882" cy="6858001"/>
            <a:chOff x="12290489" y="-1"/>
            <a:chExt cx="2910882" cy="6858001"/>
          </a:xfrm>
        </p:grpSpPr>
        <p:sp>
          <p:nvSpPr>
            <p:cNvPr id="38" name="Rectangle 37">
              <a:extLst>
                <a:ext uri="{FF2B5EF4-FFF2-40B4-BE49-F238E27FC236}">
                  <a16:creationId xmlns:a16="http://schemas.microsoft.com/office/drawing/2014/main" id="{EDF2EBFD-3940-9CE6-E2E4-A2DB14C55283}"/>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39" name="TextBox 38">
              <a:extLst>
                <a:ext uri="{FF2B5EF4-FFF2-40B4-BE49-F238E27FC236}">
                  <a16:creationId xmlns:a16="http://schemas.microsoft.com/office/drawing/2014/main" id="{4FA1526F-D10C-3137-C3EB-5ED0C5512632}"/>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0" name="Straight Connector 39">
              <a:extLst>
                <a:ext uri="{FF2B5EF4-FFF2-40B4-BE49-F238E27FC236}">
                  <a16:creationId xmlns:a16="http://schemas.microsoft.com/office/drawing/2014/main" id="{FDF68A1C-6DE8-56A7-465F-77F758319340}"/>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F427A8-EEBF-A0CE-7522-66C59E5C6DF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3D7672A3-A78B-1FD0-3F75-6020EC5B3B7F}"/>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3" name="TextBox 42">
              <a:extLst>
                <a:ext uri="{FF2B5EF4-FFF2-40B4-BE49-F238E27FC236}">
                  <a16:creationId xmlns:a16="http://schemas.microsoft.com/office/drawing/2014/main" id="{D220AF2A-18A4-D5E2-CC7A-337576F03CC7}"/>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4" name="TextBox 43">
              <a:extLst>
                <a:ext uri="{FF2B5EF4-FFF2-40B4-BE49-F238E27FC236}">
                  <a16:creationId xmlns:a16="http://schemas.microsoft.com/office/drawing/2014/main" id="{9345F942-0D58-8E65-B8C6-D2AA0093364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5" name="TextBox 44">
              <a:extLst>
                <a:ext uri="{FF2B5EF4-FFF2-40B4-BE49-F238E27FC236}">
                  <a16:creationId xmlns:a16="http://schemas.microsoft.com/office/drawing/2014/main" id="{7AD4600F-A71F-1EBC-44F0-2E985C054719}"/>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6" name="TextBox 45">
              <a:extLst>
                <a:ext uri="{FF2B5EF4-FFF2-40B4-BE49-F238E27FC236}">
                  <a16:creationId xmlns:a16="http://schemas.microsoft.com/office/drawing/2014/main" id="{4A580109-8D86-1BB1-008B-25C45ADD515F}"/>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47" name="Group 46">
              <a:extLst>
                <a:ext uri="{FF2B5EF4-FFF2-40B4-BE49-F238E27FC236}">
                  <a16:creationId xmlns:a16="http://schemas.microsoft.com/office/drawing/2014/main" id="{BD59EE4B-AD30-EDD9-596F-D986D6B32612}"/>
                </a:ext>
              </a:extLst>
            </p:cNvPr>
            <p:cNvGrpSpPr/>
            <p:nvPr userDrawn="1"/>
          </p:nvGrpSpPr>
          <p:grpSpPr>
            <a:xfrm>
              <a:off x="12429548" y="3236396"/>
              <a:ext cx="2735151" cy="1280928"/>
              <a:chOff x="9286315" y="6976989"/>
              <a:chExt cx="2735151" cy="1280928"/>
            </a:xfrm>
          </p:grpSpPr>
          <p:sp>
            <p:nvSpPr>
              <p:cNvPr id="58" name="Rectangle 57">
                <a:extLst>
                  <a:ext uri="{FF2B5EF4-FFF2-40B4-BE49-F238E27FC236}">
                    <a16:creationId xmlns:a16="http://schemas.microsoft.com/office/drawing/2014/main" id="{49D5E409-C37A-B0A2-33BB-0359BF510F25}"/>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9" name="TextBox 58">
                <a:extLst>
                  <a:ext uri="{FF2B5EF4-FFF2-40B4-BE49-F238E27FC236}">
                    <a16:creationId xmlns:a16="http://schemas.microsoft.com/office/drawing/2014/main" id="{EDB34C46-268C-7C96-AE28-BFE240E2A471}"/>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0" name="Graphic 59">
                <a:extLst>
                  <a:ext uri="{FF2B5EF4-FFF2-40B4-BE49-F238E27FC236}">
                    <a16:creationId xmlns:a16="http://schemas.microsoft.com/office/drawing/2014/main" id="{6875A335-18CC-8BF6-B5D9-843B33D62F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1" name="TextBox 60">
                <a:extLst>
                  <a:ext uri="{FF2B5EF4-FFF2-40B4-BE49-F238E27FC236}">
                    <a16:creationId xmlns:a16="http://schemas.microsoft.com/office/drawing/2014/main" id="{4C322459-BC36-4B8E-CFAE-B94820CAD34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62" name="Picture 61">
                <a:extLst>
                  <a:ext uri="{FF2B5EF4-FFF2-40B4-BE49-F238E27FC236}">
                    <a16:creationId xmlns:a16="http://schemas.microsoft.com/office/drawing/2014/main" id="{9ED8ECBA-C3F7-5048-0976-D24D5956382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3" name="TextBox 62">
                <a:extLst>
                  <a:ext uri="{FF2B5EF4-FFF2-40B4-BE49-F238E27FC236}">
                    <a16:creationId xmlns:a16="http://schemas.microsoft.com/office/drawing/2014/main" id="{754B0BA7-750B-D607-DC5A-F4F85F52221F}"/>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48" name="Group 47">
              <a:extLst>
                <a:ext uri="{FF2B5EF4-FFF2-40B4-BE49-F238E27FC236}">
                  <a16:creationId xmlns:a16="http://schemas.microsoft.com/office/drawing/2014/main" id="{279BE43B-F235-6EAE-7BF8-457F5AEADC82}"/>
                </a:ext>
              </a:extLst>
            </p:cNvPr>
            <p:cNvGrpSpPr/>
            <p:nvPr userDrawn="1"/>
          </p:nvGrpSpPr>
          <p:grpSpPr>
            <a:xfrm>
              <a:off x="12429548" y="4543123"/>
              <a:ext cx="2735151" cy="2200108"/>
              <a:chOff x="9538241" y="5155416"/>
              <a:chExt cx="2735151" cy="2200108"/>
            </a:xfrm>
          </p:grpSpPr>
          <p:sp>
            <p:nvSpPr>
              <p:cNvPr id="49" name="Rectangle 48">
                <a:extLst>
                  <a:ext uri="{FF2B5EF4-FFF2-40B4-BE49-F238E27FC236}">
                    <a16:creationId xmlns:a16="http://schemas.microsoft.com/office/drawing/2014/main" id="{9BF2F786-4459-B79C-0B6C-AE60936F3550}"/>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0" name="TextBox 49">
                <a:extLst>
                  <a:ext uri="{FF2B5EF4-FFF2-40B4-BE49-F238E27FC236}">
                    <a16:creationId xmlns:a16="http://schemas.microsoft.com/office/drawing/2014/main" id="{6EE5E131-DBB4-125E-2F8F-2AA225201E4E}"/>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1" name="Graphic 50">
                <a:extLst>
                  <a:ext uri="{FF2B5EF4-FFF2-40B4-BE49-F238E27FC236}">
                    <a16:creationId xmlns:a16="http://schemas.microsoft.com/office/drawing/2014/main" id="{13C7612B-4333-2101-D385-32A0F0801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2" name="TextBox 51">
                <a:extLst>
                  <a:ext uri="{FF2B5EF4-FFF2-40B4-BE49-F238E27FC236}">
                    <a16:creationId xmlns:a16="http://schemas.microsoft.com/office/drawing/2014/main" id="{92246FC0-FE5E-C371-C5FE-0C06A53AB56F}"/>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3" name="TextBox 52">
                <a:extLst>
                  <a:ext uri="{FF2B5EF4-FFF2-40B4-BE49-F238E27FC236}">
                    <a16:creationId xmlns:a16="http://schemas.microsoft.com/office/drawing/2014/main" id="{7D86C7BB-19BF-2243-ABDF-E97B5A6A49D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4" name="TextBox 53">
                <a:extLst>
                  <a:ext uri="{FF2B5EF4-FFF2-40B4-BE49-F238E27FC236}">
                    <a16:creationId xmlns:a16="http://schemas.microsoft.com/office/drawing/2014/main" id="{A1904FFB-C739-0F90-C7F5-DA9DED094FAB}"/>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5" name="TextBox 54">
                <a:extLst>
                  <a:ext uri="{FF2B5EF4-FFF2-40B4-BE49-F238E27FC236}">
                    <a16:creationId xmlns:a16="http://schemas.microsoft.com/office/drawing/2014/main" id="{ACB1AC66-5C4B-469C-9B82-3DEC7748C8C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6" name="Straight Connector 55">
                <a:extLst>
                  <a:ext uri="{FF2B5EF4-FFF2-40B4-BE49-F238E27FC236}">
                    <a16:creationId xmlns:a16="http://schemas.microsoft.com/office/drawing/2014/main" id="{59F4B141-EF3E-3F29-C00E-0D1B85F79C61}"/>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FA8221B-19B5-DF1D-3769-8CEB0E2CD3AB}"/>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p>
            <a:r>
              <a:rPr lang="en-CA"/>
              <a:t>5G Broadcast Conference</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1706497"/>
            <a:ext cx="5419727" cy="905188"/>
          </a:xfrm>
          <a:prstGeom prst="callout1">
            <a:avLst>
              <a:gd name="adj1" fmla="val 93708"/>
              <a:gd name="adj2" fmla="val -69"/>
              <a:gd name="adj3" fmla="val 93686"/>
              <a:gd name="adj4" fmla="val 11746"/>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Tree>
    <p:extLst>
      <p:ext uri="{BB962C8B-B14F-4D97-AF65-F5344CB8AC3E}">
        <p14:creationId xmlns:p14="http://schemas.microsoft.com/office/powerpoint/2010/main" val="96375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Three Column_Black (No Ic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Three column layout</a:t>
            </a:r>
            <a:br>
              <a:rPr lang="en-US"/>
            </a:br>
            <a:r>
              <a:rPr lang="en-US"/>
              <a:t>Title 2 lines maximum</a:t>
            </a:r>
            <a:endParaRPr lang="en-CA"/>
          </a:p>
        </p:txBody>
      </p:sp>
      <p:sp>
        <p:nvSpPr>
          <p:cNvPr id="23" name="TextBox 22">
            <a:extLst>
              <a:ext uri="{FF2B5EF4-FFF2-40B4-BE49-F238E27FC236}">
                <a16:creationId xmlns:a16="http://schemas.microsoft.com/office/drawing/2014/main" id="{EDE40922-B18A-2DF9-C121-EF497B173DA5}"/>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0" name="Group 39">
            <a:extLst>
              <a:ext uri="{FF2B5EF4-FFF2-40B4-BE49-F238E27FC236}">
                <a16:creationId xmlns:a16="http://schemas.microsoft.com/office/drawing/2014/main" id="{C3479EAD-810E-2127-DFE4-C119FFAAF25F}"/>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5BDB44CD-9F2B-F58C-094C-02B9892CF15A}"/>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2" name="TextBox 41">
              <a:extLst>
                <a:ext uri="{FF2B5EF4-FFF2-40B4-BE49-F238E27FC236}">
                  <a16:creationId xmlns:a16="http://schemas.microsoft.com/office/drawing/2014/main" id="{FB15FE9D-716F-C274-7D27-8D223E8ABE60}"/>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8E80D713-C5E7-B361-2F72-50AD4046E3F8}"/>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B814A9-8A88-5DDE-79A3-1B2EF1A66658}"/>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D615C7A9-E29B-21F9-E2E8-C923E8968F3E}"/>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3EA8DC82-0D60-6232-3BC9-24A65D14C00F}"/>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8FB3888D-CF08-9A5E-6087-0A96D2561366}"/>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6CBF6BC2-3BF4-D922-4257-F4687B34FC4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0A03FA61-0E9A-7595-F64E-CDB3BA8FA0F9}"/>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045C6CE7-1836-CD98-FD2E-3852CC4F95C4}"/>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A244D9D0-DA66-A41C-0A97-F246FC60386E}"/>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62" name="TextBox 61">
                <a:extLst>
                  <a:ext uri="{FF2B5EF4-FFF2-40B4-BE49-F238E27FC236}">
                    <a16:creationId xmlns:a16="http://schemas.microsoft.com/office/drawing/2014/main" id="{1A64F655-4301-1FB7-250E-9C1A8B5FCB4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26C4B24F-6463-127F-4A4C-E83AB1F243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49B54B08-0A6A-2E23-571B-DAF9DEE5871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29" name="Picture 128">
                <a:extLst>
                  <a:ext uri="{FF2B5EF4-FFF2-40B4-BE49-F238E27FC236}">
                    <a16:creationId xmlns:a16="http://schemas.microsoft.com/office/drawing/2014/main" id="{922454F9-38F9-E75F-229D-6791D73750B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1" name="TextBox 130">
                <a:extLst>
                  <a:ext uri="{FF2B5EF4-FFF2-40B4-BE49-F238E27FC236}">
                    <a16:creationId xmlns:a16="http://schemas.microsoft.com/office/drawing/2014/main" id="{89AD0476-0BA4-5FE8-0058-0D8FFD04C7C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1" name="Group 50">
              <a:extLst>
                <a:ext uri="{FF2B5EF4-FFF2-40B4-BE49-F238E27FC236}">
                  <a16:creationId xmlns:a16="http://schemas.microsoft.com/office/drawing/2014/main" id="{4BE1028D-B18D-B36F-60B3-4986BFEEF925}"/>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0A9ABB30-2A24-E0D2-55B0-A73CE39D109F}"/>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3" name="TextBox 52">
                <a:extLst>
                  <a:ext uri="{FF2B5EF4-FFF2-40B4-BE49-F238E27FC236}">
                    <a16:creationId xmlns:a16="http://schemas.microsoft.com/office/drawing/2014/main" id="{10A95012-A7F5-02FE-E678-BF6265893549}"/>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C7D43E17-4D5B-8DC8-6045-9AA3AA7D64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EAA03FF1-2DB4-2322-26D7-04553EC0EC12}"/>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D47EFAF2-523E-10C5-E026-1FF65E7FB2E5}"/>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3B24F0A0-8AA7-8379-5E4A-1A2A95667D7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01829B35-272F-4074-92CC-A156C1CDADDD}"/>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7939134C-69A1-0463-A252-1582C51C7954}"/>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829B6B-797B-FB9F-5F92-9FEF0A3BFBE3}"/>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1706497"/>
            <a:ext cx="3526452" cy="905188"/>
          </a:xfrm>
          <a:prstGeom prst="callout1">
            <a:avLst>
              <a:gd name="adj1" fmla="val 93708"/>
              <a:gd name="adj2" fmla="val -69"/>
              <a:gd name="adj3" fmla="val 93686"/>
              <a:gd name="adj4" fmla="val 18048"/>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79785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Four Column_Black (No Ic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tx2"/>
                </a:solidFill>
                <a:latin typeface="+mj-lt"/>
                <a:ea typeface="+mj-ea"/>
                <a:cs typeface="+mj-cs"/>
              </a:defRPr>
            </a:lvl1pPr>
          </a:lstStyle>
          <a:p>
            <a:r>
              <a:rPr lang="en-US"/>
              <a:t>Four column layout</a:t>
            </a:r>
            <a:br>
              <a:rPr lang="en-US"/>
            </a:br>
            <a:r>
              <a:rPr lang="en-US"/>
              <a:t>Title 2 lines maximum</a:t>
            </a:r>
            <a:endParaRPr lang="en-CA"/>
          </a:p>
        </p:txBody>
      </p:sp>
      <p:sp>
        <p:nvSpPr>
          <p:cNvPr id="6" name="TextBox 5">
            <a:extLst>
              <a:ext uri="{FF2B5EF4-FFF2-40B4-BE49-F238E27FC236}">
                <a16:creationId xmlns:a16="http://schemas.microsoft.com/office/drawing/2014/main" id="{CD417586-D17D-B05D-5384-E37636F2EE2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grpSp>
        <p:nvGrpSpPr>
          <p:cNvPr id="43" name="Group 42">
            <a:extLst>
              <a:ext uri="{FF2B5EF4-FFF2-40B4-BE49-F238E27FC236}">
                <a16:creationId xmlns:a16="http://schemas.microsoft.com/office/drawing/2014/main" id="{717DDAE4-62DE-EEF2-E43F-005ACD006E14}"/>
              </a:ext>
            </a:extLst>
          </p:cNvPr>
          <p:cNvGrpSpPr/>
          <p:nvPr userDrawn="1"/>
        </p:nvGrpSpPr>
        <p:grpSpPr>
          <a:xfrm>
            <a:off x="12290489" y="-1"/>
            <a:ext cx="2910882" cy="6858001"/>
            <a:chOff x="12290489" y="-1"/>
            <a:chExt cx="2910882" cy="6858001"/>
          </a:xfrm>
        </p:grpSpPr>
        <p:sp>
          <p:nvSpPr>
            <p:cNvPr id="44" name="Rectangle 43">
              <a:extLst>
                <a:ext uri="{FF2B5EF4-FFF2-40B4-BE49-F238E27FC236}">
                  <a16:creationId xmlns:a16="http://schemas.microsoft.com/office/drawing/2014/main" id="{74829545-917D-5369-077E-2A4E82074C6F}"/>
                </a:ext>
              </a:extLst>
            </p:cNvPr>
            <p:cNvSpPr/>
            <p:nvPr userDrawn="1"/>
          </p:nvSpPr>
          <p:spPr>
            <a:xfrm>
              <a:off x="12290489" y="-1"/>
              <a:ext cx="2735151"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91214599-3AC4-B786-02F0-AE556635205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b="1">
                  <a:solidFill>
                    <a:schemeClr val="bg1"/>
                  </a:solidFill>
                  <a:latin typeface="Aptos" panose="020B0004020202020204" pitchFamily="34" charset="0"/>
                  <a:cs typeface="Aparajita" panose="02020603050405020304" pitchFamily="18" charset="0"/>
                </a:rPr>
                <a:t>HOW TO ADD AN ICON</a:t>
              </a:r>
            </a:p>
          </p:txBody>
        </p:sp>
        <p:cxnSp>
          <p:nvCxnSpPr>
            <p:cNvPr id="46" name="Straight Connector 45">
              <a:extLst>
                <a:ext uri="{FF2B5EF4-FFF2-40B4-BE49-F238E27FC236}">
                  <a16:creationId xmlns:a16="http://schemas.microsoft.com/office/drawing/2014/main" id="{BCA5B2B5-C2E0-2592-2785-4F84ED886D75}"/>
                </a:ext>
              </a:extLst>
            </p:cNvPr>
            <p:cNvCxnSpPr>
              <a:cxnSpLocks/>
            </p:cNvCxnSpPr>
            <p:nvPr userDrawn="1"/>
          </p:nvCxnSpPr>
          <p:spPr>
            <a:xfrm>
              <a:off x="12449814" y="423012"/>
              <a:ext cx="27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22702B7-28A0-668C-65B6-669BFACDF46D}"/>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latin typeface="Aptos" panose="020B0004020202020204" pitchFamily="34" charset="0"/>
                  <a:cs typeface="Aparajita" panose="02020603050405020304" pitchFamily="18" charset="0"/>
                </a:rPr>
                <a:t>Method 1: </a:t>
              </a:r>
              <a:r>
                <a:rPr lang="en-US" sz="600" b="0">
                  <a:latin typeface="Aptos" panose="020B0004020202020204" pitchFamily="34" charset="0"/>
                  <a:cs typeface="Aparajita" panose="02020603050405020304" pitchFamily="18" charset="0"/>
                </a:rPr>
                <a:t>from file browser</a:t>
              </a:r>
            </a:p>
            <a:p>
              <a:pPr lvl="1">
                <a:buNone/>
              </a:pPr>
              <a:r>
                <a:rPr lang="en-US" sz="1050">
                  <a:latin typeface="Aptos" panose="020B0004020202020204" pitchFamily="34" charset="0"/>
                  <a:cs typeface="Aparajita" panose="02020603050405020304" pitchFamily="18" charset="0"/>
                </a:rPr>
                <a:t>Drag the icon onto the slide.</a:t>
              </a:r>
            </a:p>
            <a:p>
              <a:pPr marL="0" marR="0" lvl="1" indent="0" algn="l" defTabSz="914400" rtl="0" eaLnBrk="1" fontAlgn="auto" latinLnBrk="0" hangingPunct="1">
                <a:lnSpc>
                  <a:spcPct val="90000"/>
                </a:lnSpc>
                <a:spcBef>
                  <a:spcPts val="0"/>
                </a:spcBef>
                <a:spcAft>
                  <a:spcPts val="300"/>
                </a:spcAft>
                <a:buClrTx/>
                <a:buSzTx/>
                <a:buFontTx/>
                <a:buNone/>
                <a:tabLst/>
                <a:defRPr/>
              </a:pPr>
              <a:r>
                <a:rPr lang="en-US" sz="700">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lang="en-US" sz="1000">
                <a:latin typeface="Aptos" panose="020B0004020202020204" pitchFamily="34" charset="0"/>
                <a:cs typeface="Aparajita" panose="02020603050405020304" pitchFamily="18" charset="0"/>
              </a:endParaRPr>
            </a:p>
          </p:txBody>
        </p:sp>
        <p:sp>
          <p:nvSpPr>
            <p:cNvPr id="48" name="TextBox 47">
              <a:extLst>
                <a:ext uri="{FF2B5EF4-FFF2-40B4-BE49-F238E27FC236}">
                  <a16:creationId xmlns:a16="http://schemas.microsoft.com/office/drawing/2014/main" id="{8C58B4C5-C329-4790-4200-9150B0A43C33}"/>
                </a:ext>
              </a:extLst>
            </p:cNvPr>
            <p:cNvSpPr txBox="1">
              <a:spLocks noChangeAspect="1"/>
            </p:cNvSpPr>
            <p:nvPr/>
          </p:nvSpPr>
          <p:spPr>
            <a:xfrm>
              <a:off x="12449814" y="566082"/>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1</a:t>
              </a:r>
            </a:p>
          </p:txBody>
        </p:sp>
        <p:sp>
          <p:nvSpPr>
            <p:cNvPr id="49" name="TextBox 48">
              <a:extLst>
                <a:ext uri="{FF2B5EF4-FFF2-40B4-BE49-F238E27FC236}">
                  <a16:creationId xmlns:a16="http://schemas.microsoft.com/office/drawing/2014/main" id="{D5299741-2394-3A23-F67F-F322FE1C0CB8}"/>
                </a:ext>
              </a:extLst>
            </p:cNvPr>
            <p:cNvSpPr txBox="1">
              <a:spLocks noChangeAspect="1"/>
            </p:cNvSpPr>
            <p:nvPr/>
          </p:nvSpPr>
          <p:spPr>
            <a:xfrm>
              <a:off x="12449814" y="1018081"/>
              <a:ext cx="114706" cy="114706"/>
            </a:xfrm>
            <a:prstGeom prst="ellipse">
              <a:avLst/>
            </a:prstGeom>
            <a:solidFill>
              <a:schemeClr val="accent1"/>
            </a:solidFill>
          </p:spPr>
          <p:txBody>
            <a:bodyPr vert="horz" wrap="none" lIns="0" tIns="0" rIns="0" bIns="0" rtlCol="0" anchor="ctr">
              <a:noAutofit/>
            </a:bodyPr>
            <a:lstStyle/>
            <a:p>
              <a:pPr algn="ctr"/>
              <a:r>
                <a:rPr lang="en-US" sz="500">
                  <a:solidFill>
                    <a:schemeClr val="tx1"/>
                  </a:solidFill>
                  <a:latin typeface="Aptos" panose="020B0004020202020204" pitchFamily="34" charset="0"/>
                  <a:ea typeface="Arial" charset="0"/>
                  <a:cs typeface="Aparajita" panose="02020603050405020304" pitchFamily="18" charset="0"/>
                </a:rPr>
                <a:t>2</a:t>
              </a:r>
            </a:p>
          </p:txBody>
        </p:sp>
        <p:sp>
          <p:nvSpPr>
            <p:cNvPr id="50" name="TextBox 49">
              <a:extLst>
                <a:ext uri="{FF2B5EF4-FFF2-40B4-BE49-F238E27FC236}">
                  <a16:creationId xmlns:a16="http://schemas.microsoft.com/office/drawing/2014/main" id="{43A73320-4AE9-4630-370C-00C5ADECD4A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Bef>
                  <a:spcPts val="700"/>
                </a:spcBef>
              </a:pPr>
              <a:r>
                <a:rPr lang="en-US">
                  <a:latin typeface="Aptos" panose="020B0004020202020204" pitchFamily="34" charset="0"/>
                  <a:cs typeface="Aparajita" panose="02020603050405020304" pitchFamily="18" charset="0"/>
                </a:rPr>
                <a:t>Source icon from the </a:t>
              </a:r>
              <a:br>
                <a:rPr lang="en-US">
                  <a:latin typeface="Aptos" panose="020B0004020202020204" pitchFamily="34" charset="0"/>
                  <a:cs typeface="Aparajita" panose="02020603050405020304" pitchFamily="18" charset="0"/>
                </a:rPr>
              </a:br>
              <a:r>
                <a:rPr lang="en-US">
                  <a:solidFill>
                    <a:schemeClr val="accent1"/>
                  </a:solidFill>
                  <a:latin typeface="Aptos" panose="020B0004020202020204" pitchFamily="34" charset="0"/>
                  <a:cs typeface="Aparajita" panose="02020603050405020304" pitchFamily="18" charset="0"/>
                </a:rPr>
                <a:t>Qualcomm Icon Library</a:t>
              </a:r>
            </a:p>
            <a:p>
              <a:pPr lvl="0">
                <a:spcBef>
                  <a:spcPts val="700"/>
                </a:spcBef>
              </a:pPr>
              <a:r>
                <a:rPr lang="en-US">
                  <a:latin typeface="Aptos" panose="020B0004020202020204" pitchFamily="34" charset="0"/>
                  <a:cs typeface="Aparajita" panose="02020603050405020304" pitchFamily="18" charset="0"/>
                </a:rPr>
                <a:t>Add the icon to the placeholder.</a:t>
              </a:r>
            </a:p>
          </p:txBody>
        </p:sp>
        <p:sp>
          <p:nvSpPr>
            <p:cNvPr id="51" name="TextBox 50">
              <a:extLst>
                <a:ext uri="{FF2B5EF4-FFF2-40B4-BE49-F238E27FC236}">
                  <a16:creationId xmlns:a16="http://schemas.microsoft.com/office/drawing/2014/main" id="{36600997-0C5B-7E7E-13B9-8B1FBC407681}"/>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2: </a:t>
              </a:r>
              <a:r>
                <a:rPr lang="en-US" sz="600" b="0">
                  <a:latin typeface="Aptos" panose="020B0004020202020204" pitchFamily="34" charset="0"/>
                  <a:cs typeface="Aparajita" panose="02020603050405020304" pitchFamily="18" charset="0"/>
                </a:rPr>
                <a:t>Paste from clipboard</a:t>
              </a:r>
            </a:p>
            <a:p>
              <a:pPr lvl="1">
                <a:buNone/>
              </a:pPr>
              <a:r>
                <a:rPr lang="en-US" sz="1050">
                  <a:latin typeface="Aptos" panose="020B0004020202020204" pitchFamily="34" charset="0"/>
                  <a:cs typeface="Aparajita" panose="02020603050405020304" pitchFamily="18" charset="0"/>
                </a:rPr>
                <a:t>Select the icon placeholder.</a:t>
              </a:r>
            </a:p>
            <a:p>
              <a:pPr lvl="1">
                <a:buNone/>
              </a:pPr>
              <a:r>
                <a:rPr lang="en-US" sz="1050">
                  <a:latin typeface="Aptos" panose="020B0004020202020204" pitchFamily="34" charset="0"/>
                  <a:cs typeface="Aparajita" panose="02020603050405020304" pitchFamily="18" charset="0"/>
                </a:rPr>
                <a:t>Right-click or use keyboard shortcuts to paste the icon.</a:t>
              </a:r>
            </a:p>
          </p:txBody>
        </p:sp>
        <p:sp>
          <p:nvSpPr>
            <p:cNvPr id="52" name="TextBox 51">
              <a:extLst>
                <a:ext uri="{FF2B5EF4-FFF2-40B4-BE49-F238E27FC236}">
                  <a16:creationId xmlns:a16="http://schemas.microsoft.com/office/drawing/2014/main" id="{222AF4B2-579A-DE69-535D-5A7232B8BF25}"/>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latin typeface="Aptos" panose="020B0004020202020204" pitchFamily="34" charset="0"/>
                  <a:cs typeface="Aparajita" panose="02020603050405020304" pitchFamily="18" charset="0"/>
                </a:rPr>
                <a:t>Method 3: </a:t>
              </a:r>
              <a:r>
                <a:rPr lang="en-US" sz="600" b="0">
                  <a:latin typeface="Aptos" panose="020B0004020202020204" pitchFamily="34" charset="0"/>
                  <a:cs typeface="Aparajita" panose="02020603050405020304" pitchFamily="18" charset="0"/>
                </a:rPr>
                <a:t>Placeholder icon</a:t>
              </a:r>
            </a:p>
            <a:p>
              <a:pPr lvl="1">
                <a:buNone/>
              </a:pPr>
              <a:r>
                <a:rPr lang="en-US" sz="1050">
                  <a:latin typeface="Aptos" panose="020B0004020202020204" pitchFamily="34" charset="0"/>
                  <a:cs typeface="Aparajita" panose="02020603050405020304" pitchFamily="18" charset="0"/>
                </a:rPr>
                <a:t>Click the image icon inside the placeholder to browse for an icon.</a:t>
              </a:r>
            </a:p>
          </p:txBody>
        </p:sp>
        <p:grpSp>
          <p:nvGrpSpPr>
            <p:cNvPr id="53" name="Group 52">
              <a:extLst>
                <a:ext uri="{FF2B5EF4-FFF2-40B4-BE49-F238E27FC236}">
                  <a16:creationId xmlns:a16="http://schemas.microsoft.com/office/drawing/2014/main" id="{D431143D-EA3F-BA31-FDD0-86758B90458F}"/>
                </a:ext>
              </a:extLst>
            </p:cNvPr>
            <p:cNvGrpSpPr/>
            <p:nvPr userDrawn="1"/>
          </p:nvGrpSpPr>
          <p:grpSpPr>
            <a:xfrm>
              <a:off x="12429548" y="3236396"/>
              <a:ext cx="2735151" cy="1280928"/>
              <a:chOff x="9286315" y="6976989"/>
              <a:chExt cx="2735151" cy="1280928"/>
            </a:xfrm>
          </p:grpSpPr>
          <p:sp>
            <p:nvSpPr>
              <p:cNvPr id="128" name="Rectangle 127">
                <a:extLst>
                  <a:ext uri="{FF2B5EF4-FFF2-40B4-BE49-F238E27FC236}">
                    <a16:creationId xmlns:a16="http://schemas.microsoft.com/office/drawing/2014/main" id="{992C18FF-FCA0-B6DC-4B5F-813875A58CAD}"/>
                  </a:ext>
                </a:extLst>
              </p:cNvPr>
              <p:cNvSpPr/>
              <p:nvPr userDrawn="1"/>
            </p:nvSpPr>
            <p:spPr>
              <a:xfrm>
                <a:off x="9286315" y="6976989"/>
                <a:ext cx="2735151" cy="128092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129" name="TextBox 128">
                <a:extLst>
                  <a:ext uri="{FF2B5EF4-FFF2-40B4-BE49-F238E27FC236}">
                    <a16:creationId xmlns:a16="http://schemas.microsoft.com/office/drawing/2014/main" id="{CC870698-701A-2242-78AE-B6CBE951C53A}"/>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ropping Graphics</a:t>
                </a:r>
              </a:p>
            </p:txBody>
          </p:sp>
          <p:pic>
            <p:nvPicPr>
              <p:cNvPr id="131" name="Graphic 130">
                <a:extLst>
                  <a:ext uri="{FF2B5EF4-FFF2-40B4-BE49-F238E27FC236}">
                    <a16:creationId xmlns:a16="http://schemas.microsoft.com/office/drawing/2014/main" id="{27F479C9-EBF7-C89C-EBDD-699C93B929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A8B38676-38BD-C97A-3E60-811AD05F329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Right-click on the icon.</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Choose “Crop” from the menu. (           )</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Adjust the size and position of the image.</a:t>
                </a:r>
              </a:p>
              <a:p>
                <a:pPr lvl="1">
                  <a:defRPr/>
                </a:pPr>
                <a:r>
                  <a:rPr lang="en-US" sz="900" kern="1200">
                    <a:solidFill>
                      <a:schemeClr val="tx1">
                        <a:lumMod val="50000"/>
                        <a:lumOff val="50000"/>
                      </a:schemeClr>
                    </a:solidFill>
                    <a:latin typeface="Aptos" panose="020B0004020202020204" pitchFamily="34" charset="0"/>
                    <a:cs typeface="Aparajita" panose="02020603050405020304" pitchFamily="18" charset="0"/>
                  </a:rPr>
                  <a:t>Press Esc or click outside the image area to exit the cropping mode.</a:t>
                </a:r>
              </a:p>
            </p:txBody>
          </p:sp>
          <p:pic>
            <p:nvPicPr>
              <p:cNvPr id="133" name="Picture 132">
                <a:extLst>
                  <a:ext uri="{FF2B5EF4-FFF2-40B4-BE49-F238E27FC236}">
                    <a16:creationId xmlns:a16="http://schemas.microsoft.com/office/drawing/2014/main" id="{52C3F74E-3500-E869-070E-EB7D7CFFDD4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4" name="TextBox 133">
                <a:extLst>
                  <a:ext uri="{FF2B5EF4-FFF2-40B4-BE49-F238E27FC236}">
                    <a16:creationId xmlns:a16="http://schemas.microsoft.com/office/drawing/2014/main" id="{FD2E6A13-5E3C-A37E-FF9D-6CC65A1A8599}"/>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nvGrpSpPr>
            <p:cNvPr id="54" name="Group 53">
              <a:extLst>
                <a:ext uri="{FF2B5EF4-FFF2-40B4-BE49-F238E27FC236}">
                  <a16:creationId xmlns:a16="http://schemas.microsoft.com/office/drawing/2014/main" id="{C17097D5-36D6-39B2-EA5B-55509107C41A}"/>
                </a:ext>
              </a:extLst>
            </p:cNvPr>
            <p:cNvGrpSpPr/>
            <p:nvPr userDrawn="1"/>
          </p:nvGrpSpPr>
          <p:grpSpPr>
            <a:xfrm>
              <a:off x="12429548" y="4543123"/>
              <a:ext cx="2735151" cy="2200108"/>
              <a:chOff x="9538241" y="5155416"/>
              <a:chExt cx="2735151" cy="2200108"/>
            </a:xfrm>
          </p:grpSpPr>
          <p:sp>
            <p:nvSpPr>
              <p:cNvPr id="55" name="Rectangle 54">
                <a:extLst>
                  <a:ext uri="{FF2B5EF4-FFF2-40B4-BE49-F238E27FC236}">
                    <a16:creationId xmlns:a16="http://schemas.microsoft.com/office/drawing/2014/main" id="{3834CD4C-1311-915F-D846-C8EF6D502AC7}"/>
                  </a:ext>
                </a:extLst>
              </p:cNvPr>
              <p:cNvSpPr/>
              <p:nvPr userDrawn="1"/>
            </p:nvSpPr>
            <p:spPr>
              <a:xfrm>
                <a:off x="9538241" y="5155416"/>
                <a:ext cx="2735151" cy="2200108"/>
              </a:xfrm>
              <a:prstGeom prst="rect">
                <a:avLst/>
              </a:prstGeom>
              <a:solidFill>
                <a:schemeClr val="bg1"/>
              </a:solidFill>
              <a:ln w="254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cs typeface="Aparajita" panose="02020603050405020304" pitchFamily="18" charset="0"/>
                </a:endParaRPr>
              </a:p>
            </p:txBody>
          </p:sp>
          <p:sp>
            <p:nvSpPr>
              <p:cNvPr id="56" name="TextBox 55">
                <a:extLst>
                  <a:ext uri="{FF2B5EF4-FFF2-40B4-BE49-F238E27FC236}">
                    <a16:creationId xmlns:a16="http://schemas.microsoft.com/office/drawing/2014/main" id="{26D4593E-4325-4054-E8E0-2C4565BC080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algn="l"/>
                <a:r>
                  <a:rPr lang="en-US" sz="1100">
                    <a:solidFill>
                      <a:schemeClr val="tx1"/>
                    </a:solidFill>
                    <a:latin typeface="Aptos" panose="020B0004020202020204" pitchFamily="34" charset="0"/>
                    <a:ea typeface="Arial" charset="0"/>
                    <a:cs typeface="Aparajita" panose="02020603050405020304" pitchFamily="18" charset="0"/>
                  </a:rPr>
                  <a:t>Changing Icons</a:t>
                </a:r>
              </a:p>
            </p:txBody>
          </p:sp>
          <p:pic>
            <p:nvPicPr>
              <p:cNvPr id="57" name="Graphic 56">
                <a:extLst>
                  <a:ext uri="{FF2B5EF4-FFF2-40B4-BE49-F238E27FC236}">
                    <a16:creationId xmlns:a16="http://schemas.microsoft.com/office/drawing/2014/main" id="{AB5C6E66-2D1C-CA85-B320-68D3759A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8" name="TextBox 57">
                <a:extLst>
                  <a:ext uri="{FF2B5EF4-FFF2-40B4-BE49-F238E27FC236}">
                    <a16:creationId xmlns:a16="http://schemas.microsoft.com/office/drawing/2014/main" id="{59524F0B-C3FC-E96B-9EF5-AD8583AA42AC}"/>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cap="all" spc="20" baseline="0" noProof="0">
                    <a:solidFill>
                      <a:schemeClr val="tx1"/>
                    </a:solidFill>
                    <a:latin typeface="Aptos" panose="020B0004020202020204" pitchFamily="34" charset="0"/>
                    <a:ea typeface="+mn-ea"/>
                    <a:cs typeface="Aparajita" panose="02020603050405020304" pitchFamily="18" charset="0"/>
                  </a:rPr>
                  <a:t>Method 1: </a:t>
                </a:r>
                <a:r>
                  <a:rPr lang="en-US" sz="600" b="0" kern="1200" cap="all" spc="20" baseline="0" noProof="0">
                    <a:solidFill>
                      <a:schemeClr val="tx1"/>
                    </a:solidFill>
                    <a:latin typeface="Aptos" panose="020B0004020202020204" pitchFamily="34" charset="0"/>
                    <a:ea typeface="+mn-ea"/>
                    <a:cs typeface="Aparajita" panose="02020603050405020304" pitchFamily="18" charset="0"/>
                  </a:rPr>
                  <a:t>RIGHT CLICK</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Right-click on icon and select “Change Picture”</a:t>
                </a:r>
              </a:p>
            </p:txBody>
          </p:sp>
          <p:sp>
            <p:nvSpPr>
              <p:cNvPr id="59" name="TextBox 58">
                <a:extLst>
                  <a:ext uri="{FF2B5EF4-FFF2-40B4-BE49-F238E27FC236}">
                    <a16:creationId xmlns:a16="http://schemas.microsoft.com/office/drawing/2014/main" id="{BE622394-901B-B821-BDE6-422E33014D2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60" name="TextBox 59">
                <a:extLst>
                  <a:ext uri="{FF2B5EF4-FFF2-40B4-BE49-F238E27FC236}">
                    <a16:creationId xmlns:a16="http://schemas.microsoft.com/office/drawing/2014/main" id="{7AD17B2F-A0CC-7E95-D315-F28D5BBC0E3A}"/>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Method 2: </a:t>
                </a:r>
                <a:r>
                  <a:rPr kumimoji="0" lang="en-US" sz="600" b="0" i="0" u="none" strike="noStrike" kern="1200" cap="all" spc="20" normalizeH="0" baseline="0" noProof="0">
                    <a:ln>
                      <a:noFill/>
                    </a:ln>
                    <a:solidFill>
                      <a:schemeClr val="tx1"/>
                    </a:solidFill>
                    <a:effectLst/>
                    <a:uLnTx/>
                    <a:uFillTx/>
                    <a:latin typeface="Aptos" panose="020B0004020202020204" pitchFamily="34" charset="0"/>
                    <a:ea typeface="+mn-ea"/>
                    <a:cs typeface="Aparajita" panose="02020603050405020304" pitchFamily="18" charset="0"/>
                  </a:rPr>
                  <a:t>RESET PLACEHOLDER</a:t>
                </a:r>
              </a:p>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First, delete the existing image to reset the photo placeholder functionality.</a:t>
                </a:r>
              </a:p>
            </p:txBody>
          </p:sp>
          <p:sp>
            <p:nvSpPr>
              <p:cNvPr id="61" name="TextBox 60">
                <a:extLst>
                  <a:ext uri="{FF2B5EF4-FFF2-40B4-BE49-F238E27FC236}">
                    <a16:creationId xmlns:a16="http://schemas.microsoft.com/office/drawing/2014/main" id="{D9245573-D378-F3B6-9D43-7A0AC9D3F67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ptos" panose="020B0004020202020204" pitchFamily="34" charset="0"/>
                    <a:ea typeface="Arial" charset="0"/>
                    <a:cs typeface="Aparajita" panose="02020603050405020304" pitchFamily="18" charset="0"/>
                  </a:rPr>
                  <a:t>You can now add a new icon as normal.</a:t>
                </a:r>
              </a:p>
            </p:txBody>
          </p:sp>
          <p:cxnSp>
            <p:nvCxnSpPr>
              <p:cNvPr id="62" name="Straight Connector 61">
                <a:extLst>
                  <a:ext uri="{FF2B5EF4-FFF2-40B4-BE49-F238E27FC236}">
                    <a16:creationId xmlns:a16="http://schemas.microsoft.com/office/drawing/2014/main" id="{DF948D1D-C3E1-EF3A-5CFF-FC5BD4F401D2}"/>
                  </a:ext>
                </a:extLst>
              </p:cNvPr>
              <p:cNvCxnSpPr>
                <a:cxnSpLocks/>
              </p:cNvCxnSpPr>
              <p:nvPr userDrawn="1"/>
            </p:nvCxnSpPr>
            <p:spPr>
              <a:xfrm>
                <a:off x="9713479" y="5957047"/>
                <a:ext cx="27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6D6806E-4824-9CA0-7A29-8C9379EA11A7}"/>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algn="l"/>
                <a:r>
                  <a:rPr lang="en-US" sz="1000" kern="1200" cap="all" spc="150" baseline="0">
                    <a:solidFill>
                      <a:schemeClr val="tx1"/>
                    </a:solidFill>
                    <a:latin typeface="+mn-lt"/>
                    <a:ea typeface="+mn-ea"/>
                    <a:cs typeface="+mn-cs"/>
                  </a:rPr>
                  <a:t>TIP</a:t>
                </a:r>
              </a:p>
            </p:txBody>
          </p:sp>
        </p:grpSp>
      </p:gr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1706497"/>
            <a:ext cx="2595589" cy="905188"/>
          </a:xfrm>
          <a:prstGeom prst="callout1">
            <a:avLst>
              <a:gd name="adj1" fmla="val 93708"/>
              <a:gd name="adj2" fmla="val -69"/>
              <a:gd name="adj3" fmla="val 93686"/>
              <a:gd name="adj4" fmla="val 24531"/>
            </a:avLst>
          </a:prstGeom>
          <a:ln w="31750">
            <a:solidFill>
              <a:schemeClr val="accent5"/>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tx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10061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Quote_Black">
    <p:bg>
      <p:bgRef idx="1001">
        <a:schemeClr val="bg1"/>
      </p:bgRef>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B91DB79-E2AC-CE2B-5FAE-BEC630409992}"/>
              </a:ext>
            </a:extLst>
          </p:cNvPr>
          <p:cNvSpPr>
            <a:spLocks noGrp="1"/>
          </p:cNvSpPr>
          <p:nvPr>
            <p:ph type="title" hasCustomPrompt="1"/>
          </p:nvPr>
        </p:nvSpPr>
        <p:spPr>
          <a:xfrm>
            <a:off x="531812" y="1196975"/>
            <a:ext cx="11144251" cy="3616325"/>
          </a:xfrm>
        </p:spPr>
        <p:txBody>
          <a:bodyPr anchor="ctr"/>
          <a:lstStyle>
            <a:lvl1pPr marL="0" marR="0" indent="0" algn="ctr" defTabSz="914400" rtl="0" eaLnBrk="1" fontAlgn="auto" latinLnBrk="0" hangingPunct="1">
              <a:lnSpc>
                <a:spcPct val="84000"/>
              </a:lnSpc>
              <a:spcBef>
                <a:spcPct val="0"/>
              </a:spcBef>
              <a:spcAft>
                <a:spcPts val="0"/>
              </a:spcAft>
              <a:buClrTx/>
              <a:buSzTx/>
              <a:buFontTx/>
              <a:buNone/>
              <a:tabLst/>
              <a:defRPr sz="5500"/>
            </a:lvl1pPr>
          </a:lstStyle>
          <a:p>
            <a:r>
              <a:rPr lang="en-US"/>
              <a:t>Quote 4 lines maximum. </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laoreet</a:t>
            </a:r>
            <a:r>
              <a:rPr lang="en-US"/>
              <a:t> </a:t>
            </a:r>
            <a:r>
              <a:rPr lang="en-US" err="1"/>
              <a:t>venenatis</a:t>
            </a:r>
            <a:r>
              <a:rPr lang="en-US"/>
              <a:t> </a:t>
            </a:r>
            <a:r>
              <a:rPr lang="en-US" err="1"/>
              <a:t>urna</a:t>
            </a:r>
            <a:r>
              <a:rPr lang="en-US"/>
              <a:t>, in </a:t>
            </a:r>
            <a:r>
              <a:rPr lang="en-US" err="1"/>
              <a:t>vehicula</a:t>
            </a:r>
            <a:r>
              <a:rPr lang="en-US"/>
              <a:t> mi.</a:t>
            </a:r>
          </a:p>
        </p:txBody>
      </p:sp>
      <p:sp>
        <p:nvSpPr>
          <p:cNvPr id="13" name="Text Placeholder 22">
            <a:extLst>
              <a:ext uri="{FF2B5EF4-FFF2-40B4-BE49-F238E27FC236}">
                <a16:creationId xmlns:a16="http://schemas.microsoft.com/office/drawing/2014/main" id="{84EB628F-8E06-31E6-5105-B798681A887F}"/>
              </a:ext>
            </a:extLst>
          </p:cNvPr>
          <p:cNvSpPr>
            <a:spLocks noGrp="1"/>
          </p:cNvSpPr>
          <p:nvPr>
            <p:ph type="body" sz="quarter" idx="13" hasCustomPrompt="1"/>
          </p:nvPr>
        </p:nvSpPr>
        <p:spPr>
          <a:xfrm>
            <a:off x="531811" y="5053746"/>
            <a:ext cx="11144252" cy="1112104"/>
          </a:xfrm>
        </p:spPr>
        <p:txBody>
          <a:bodyPr wrap="square" anchor="b">
            <a:noAutofit/>
          </a:bodyPr>
          <a:lstStyle>
            <a:lvl1pPr marL="0" indent="0" algn="ctr">
              <a:buNone/>
              <a:defRPr lang="en-US" sz="2800" kern="1200" spc="-50" baseline="0">
                <a:solidFill>
                  <a:schemeClr val="tx2"/>
                </a:solidFill>
                <a:latin typeface="+mj-lt"/>
                <a:ea typeface="+mn-ea"/>
                <a:cs typeface="+mn-cs"/>
              </a:defRPr>
            </a:lvl1pPr>
          </a:lstStyle>
          <a:p>
            <a:pPr marL="0" lvl="0" indent="0" algn="ctr" defTabSz="914400" rtl="0" eaLnBrk="1" latinLnBrk="0" hangingPunct="1">
              <a:lnSpc>
                <a:spcPct val="95000"/>
              </a:lnSpc>
              <a:spcBef>
                <a:spcPts val="900"/>
              </a:spcBef>
              <a:spcAft>
                <a:spcPts val="300"/>
              </a:spcAft>
              <a:buClrTx/>
              <a:buFont typeface="Arial" panose="020B0604020202020204" pitchFamily="34" charset="0"/>
              <a:buNone/>
            </a:pPr>
            <a:r>
              <a:rPr lang="en-US"/>
              <a:t>Quote attribution</a:t>
            </a:r>
          </a:p>
        </p:txBody>
      </p:sp>
      <p:sp>
        <p:nvSpPr>
          <p:cNvPr id="6" name="TextBox 5">
            <a:extLst>
              <a:ext uri="{FF2B5EF4-FFF2-40B4-BE49-F238E27FC236}">
                <a16:creationId xmlns:a16="http://schemas.microsoft.com/office/drawing/2014/main" id="{84739A76-C8B6-CADD-ACBA-17389E4E17CB}"/>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
        <p:nvSpPr>
          <p:cNvPr id="2" name="Footer Placeholder 1">
            <a:extLst>
              <a:ext uri="{FF2B5EF4-FFF2-40B4-BE49-F238E27FC236}">
                <a16:creationId xmlns:a16="http://schemas.microsoft.com/office/drawing/2014/main" id="{5D806993-100D-D470-0D3C-99BE6D7559CA}"/>
              </a:ext>
            </a:extLst>
          </p:cNvPr>
          <p:cNvSpPr>
            <a:spLocks noGrp="1"/>
          </p:cNvSpPr>
          <p:nvPr>
            <p:ph type="ftr" sz="quarter" idx="14"/>
          </p:nvPr>
        </p:nvSpPr>
        <p:spPr/>
        <p:txBody>
          <a:bodyPr/>
          <a:lstStyle/>
          <a:p>
            <a:r>
              <a:rPr lang="en-CA"/>
              <a:t>5G Broadcast Conference</a:t>
            </a:r>
          </a:p>
        </p:txBody>
      </p:sp>
    </p:spTree>
    <p:extLst>
      <p:ext uri="{BB962C8B-B14F-4D97-AF65-F5344CB8AC3E}">
        <p14:creationId xmlns:p14="http://schemas.microsoft.com/office/powerpoint/2010/main" val="425681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Title+Content_Blac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F2A7B7-7C67-00A2-4D04-4DC5AFBFB433}"/>
              </a:ext>
            </a:extLst>
          </p:cNvPr>
          <p:cNvSpPr>
            <a:spLocks noGrp="1"/>
          </p:cNvSpPr>
          <p:nvPr>
            <p:ph type="title" hasCustomPrompt="1"/>
          </p:nvPr>
        </p:nvSpPr>
        <p:spPr/>
        <p:txBody>
          <a:bodyPr/>
          <a:lstStyle/>
          <a:p>
            <a:r>
              <a:rPr lang="en-US"/>
              <a:t>Title + Content layout</a:t>
            </a:r>
            <a:br>
              <a:rPr lang="en-US"/>
            </a:br>
            <a:r>
              <a:rPr lang="en-US"/>
              <a:t>Title 2 lines maximum</a:t>
            </a:r>
            <a:endParaRPr lang="en-CA"/>
          </a:p>
        </p:txBody>
      </p:sp>
      <p:sp>
        <p:nvSpPr>
          <p:cNvPr id="6" name="Text Placeholder 3">
            <a:extLst>
              <a:ext uri="{FF2B5EF4-FFF2-40B4-BE49-F238E27FC236}">
                <a16:creationId xmlns:a16="http://schemas.microsoft.com/office/drawing/2014/main" id="{48787576-727E-0D7E-9B9E-4C6C5BCD08C7}"/>
              </a:ext>
            </a:extLst>
          </p:cNvPr>
          <p:cNvSpPr>
            <a:spLocks noGrp="1"/>
          </p:cNvSpPr>
          <p:nvPr>
            <p:ph idx="1" hasCustomPrompt="1"/>
          </p:nvPr>
        </p:nvSpPr>
        <p:spPr>
          <a:xfrm>
            <a:off x="515938" y="1820860"/>
            <a:ext cx="11160126"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2" name="Footer Placeholder 1">
            <a:extLst>
              <a:ext uri="{FF2B5EF4-FFF2-40B4-BE49-F238E27FC236}">
                <a16:creationId xmlns:a16="http://schemas.microsoft.com/office/drawing/2014/main" id="{62FF81AE-215B-5FF1-AB1E-62DF1D393541}"/>
              </a:ext>
            </a:extLst>
          </p:cNvPr>
          <p:cNvSpPr>
            <a:spLocks noGrp="1"/>
          </p:cNvSpPr>
          <p:nvPr>
            <p:ph type="ftr" sz="quarter" idx="10"/>
          </p:nvPr>
        </p:nvSpPr>
        <p:spPr/>
        <p:txBody>
          <a:bodyPr/>
          <a:lstStyle>
            <a:lvl1pPr>
              <a:defRPr>
                <a:solidFill>
                  <a:schemeClr val="accent6">
                    <a:lumMod val="90000"/>
                  </a:schemeClr>
                </a:solidFill>
              </a:defRPr>
            </a:lvl1pPr>
          </a:lstStyle>
          <a:p>
            <a:r>
              <a:rPr lang="en-CA"/>
              <a:t>5G Broadcast Conference</a:t>
            </a:r>
          </a:p>
        </p:txBody>
      </p:sp>
      <p:sp>
        <p:nvSpPr>
          <p:cNvPr id="5" name="Text Placeholder 4">
            <a:extLst>
              <a:ext uri="{FF2B5EF4-FFF2-40B4-BE49-F238E27FC236}">
                <a16:creationId xmlns:a16="http://schemas.microsoft.com/office/drawing/2014/main" id="{658377F3-F33B-60A4-268C-1F7C81890196}"/>
              </a:ext>
            </a:extLst>
          </p:cNvPr>
          <p:cNvSpPr>
            <a:spLocks noGrp="1"/>
          </p:cNvSpPr>
          <p:nvPr>
            <p:ph type="body" sz="quarter" idx="11" hasCustomPrompt="1"/>
          </p:nvPr>
        </p:nvSpPr>
        <p:spPr>
          <a:xfrm>
            <a:off x="515938" y="1387475"/>
            <a:ext cx="11160125" cy="233910"/>
          </a:xfrm>
        </p:spPr>
        <p:txBody>
          <a:bodyPr>
            <a:spAutoFit/>
          </a:bodyPr>
          <a:lstStyle>
            <a:lvl1pPr marL="0" indent="0">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95000"/>
              </a:lnSpc>
              <a:spcBef>
                <a:spcPts val="900"/>
              </a:spcBef>
              <a:spcAft>
                <a:spcPts val="300"/>
              </a:spcAft>
              <a:buClrTx/>
              <a:buFont typeface="Arial" panose="020B0604020202020204" pitchFamily="34" charset="0"/>
              <a:buNone/>
            </a:pPr>
            <a:r>
              <a:rPr lang="en-US" err="1"/>
              <a:t>Subheader</a:t>
            </a:r>
            <a:endParaRPr lang="en-US"/>
          </a:p>
        </p:txBody>
      </p:sp>
    </p:spTree>
    <p:extLst>
      <p:ext uri="{BB962C8B-B14F-4D97-AF65-F5344CB8AC3E}">
        <p14:creationId xmlns:p14="http://schemas.microsoft.com/office/powerpoint/2010/main" val="386288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showMasterSp="0" preserve="1" userDrawn="1">
  <p:cSld name="50/50 Title+Content_Black">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5065712" cy="647700"/>
          </a:xfrm>
        </p:spPr>
        <p:txBody>
          <a:bodyPr/>
          <a:lstStyle>
            <a:lvl1pPr>
              <a:lnSpc>
                <a:spcPct val="85000"/>
              </a:lnSpc>
              <a:defRPr>
                <a:solidFill>
                  <a:schemeClr val="tx1"/>
                </a:solidFill>
              </a:defRPr>
            </a:lvl1pPr>
          </a:lstStyle>
          <a:p>
            <a:r>
              <a:rPr lang="en-US"/>
              <a:t>50/50 Title + Content</a:t>
            </a:r>
            <a:br>
              <a:rPr lang="en-US"/>
            </a:br>
            <a:r>
              <a:rPr lang="en-US"/>
              <a:t>Title 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5065711" cy="118174"/>
          </a:xfrm>
        </p:spPr>
        <p:txBody>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CA" sz="800" kern="1200" baseline="0" dirty="0" smtClean="0">
                <a:solidFill>
                  <a:schemeClr val="accent6">
                    <a:lumMod val="90000"/>
                  </a:schemeClr>
                </a:solidFill>
                <a:latin typeface="+mn-lt"/>
                <a:ea typeface="+mn-ea"/>
                <a:cs typeface="+mn-cs"/>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5065712"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5065712"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tx1"/>
                </a:solidFill>
                <a:latin typeface="+mn-lt"/>
                <a:ea typeface="+mn-ea"/>
                <a:cs typeface="+mn-cs"/>
              </a:rPr>
              <a:pPr marL="0" lvl="0" algn="l" defTabSz="914400" rtl="0" eaLnBrk="1" latinLnBrk="0" hangingPunct="1">
                <a:lnSpc>
                  <a:spcPct val="125000"/>
                </a:lnSpc>
              </a:pPr>
              <a:t>‹#›</a:t>
            </a:fld>
            <a:endParaRPr lang="en-US" sz="800" kern="1200">
              <a:solidFill>
                <a:schemeClr val="tx1"/>
              </a:solidFill>
              <a:latin typeface="+mn-lt"/>
              <a:ea typeface="+mn-ea"/>
              <a:cs typeface="+mn-cs"/>
            </a:endParaRP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solidFill>
                <a:schemeClr val="tx1"/>
              </a:solidFill>
            </a:endParaRPr>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solidFill>
                <a:schemeClr val="tx1"/>
              </a:solidFill>
            </a:endParaRPr>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6611936" y="628017"/>
            <a:ext cx="5065200"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pPr lvl="0"/>
            <a:r>
              <a:rPr lang="en-US"/>
              <a:t>50/50 Title + Content</a:t>
            </a:r>
            <a:br>
              <a:rPr lang="en-US"/>
            </a:br>
            <a:r>
              <a:rPr lang="en-US"/>
              <a:t>Title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6611937" y="1820860"/>
            <a:ext cx="5065200"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6611937" y="1387475"/>
            <a:ext cx="5065200"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31651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4165">
          <p15:clr>
            <a:srgbClr val="FBAE40"/>
          </p15:clr>
        </p15:guide>
        <p15:guide id="3" pos="3516">
          <p15:clr>
            <a:srgbClr val="FBAE40"/>
          </p15:clr>
        </p15:guide>
      </p15:sldGuideLst>
    </p:ext>
  </p:extLst>
</p:sldLayout>
</file>

<file path=ppt/slideLayouts/slideLayout826.xml><?xml version="1.0" encoding="utf-8"?>
<p:sldLayout xmlns:a="http://schemas.openxmlformats.org/drawingml/2006/main" xmlns:r="http://schemas.openxmlformats.org/officeDocument/2006/relationships" xmlns:p="http://schemas.openxmlformats.org/presentationml/2006/main" showMasterSp="0" preserve="1" userDrawn="1">
  <p:cSld name="2/1 Title+Content_Black">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8127602" y="0"/>
            <a:ext cx="40643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7097314" cy="647700"/>
          </a:xfrm>
        </p:spPr>
        <p:txBody>
          <a:bodyPr/>
          <a:lstStyle>
            <a:lvl1pPr>
              <a:lnSpc>
                <a:spcPct val="85000"/>
              </a:lnSpc>
              <a:defRPr>
                <a:solidFill>
                  <a:schemeClr val="tx1"/>
                </a:solidFill>
              </a:defRPr>
            </a:lvl1pPr>
          </a:lstStyle>
          <a:p>
            <a:r>
              <a:rPr lang="en-US"/>
              <a:t>2/1 Title + Content</a:t>
            </a:r>
            <a:br>
              <a:rPr lang="en-US"/>
            </a:br>
            <a:r>
              <a:rPr lang="en-US"/>
              <a:t>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7097313" cy="118174"/>
          </a:xfrm>
        </p:spPr>
        <p:txBody>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CA" sz="800" kern="1200" baseline="0" dirty="0" smtClean="0">
                <a:solidFill>
                  <a:schemeClr val="accent6">
                    <a:lumMod val="90000"/>
                  </a:schemeClr>
                </a:solidFill>
                <a:latin typeface="+mn-lt"/>
                <a:ea typeface="+mn-ea"/>
                <a:cs typeface="+mn-cs"/>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7097314"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7097314"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tx1"/>
                </a:solidFill>
                <a:latin typeface="+mn-lt"/>
                <a:ea typeface="+mn-ea"/>
                <a:cs typeface="+mn-cs"/>
              </a:rPr>
              <a:pPr marL="0" lvl="0" algn="l" defTabSz="914400" rtl="0" eaLnBrk="1" latinLnBrk="0" hangingPunct="1">
                <a:lnSpc>
                  <a:spcPct val="125000"/>
                </a:lnSpc>
              </a:pPr>
              <a:t>‹#›</a:t>
            </a:fld>
            <a:endParaRPr lang="en-US" sz="800" kern="1200">
              <a:solidFill>
                <a:schemeClr val="tx1"/>
              </a:solidFill>
              <a:latin typeface="+mn-lt"/>
              <a:ea typeface="+mn-ea"/>
              <a:cs typeface="+mn-cs"/>
            </a:endParaRPr>
          </a:p>
        </p:txBody>
      </p:sp>
      <p:sp>
        <p:nvSpPr>
          <p:cNvPr id="7" name="TextBox 6">
            <a:extLst>
              <a:ext uri="{FF2B5EF4-FFF2-40B4-BE49-F238E27FC236}">
                <a16:creationId xmlns:a16="http://schemas.microsoft.com/office/drawing/2014/main" id="{B8D9ACE2-2765-F3B0-D6F0-6EEB06E3BF04}"/>
              </a:ext>
            </a:extLst>
          </p:cNvPr>
          <p:cNvSpPr txBox="1"/>
          <p:nvPr userDrawn="1"/>
        </p:nvSpPr>
        <p:spPr>
          <a:xfrm>
            <a:off x="8640762" y="6279571"/>
            <a:ext cx="289786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tx1"/>
                </a:solidFill>
                <a:latin typeface="+mn-lt"/>
                <a:ea typeface="+mn-ea"/>
                <a:cs typeface="+mn-cs"/>
              </a:rPr>
              <a:t>Confidential – Qualcomm Technologies, Inc. and/or its affiliated companies – May Contain Trade Secrets</a:t>
            </a: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solidFill>
                <a:schemeClr val="tx1"/>
              </a:solidFill>
            </a:endParaRPr>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solidFill>
                <a:schemeClr val="tx1"/>
              </a:solidFill>
            </a:endParaRPr>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8640762" y="628017"/>
            <a:ext cx="3036373"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tx1"/>
                </a:solidFill>
                <a:latin typeface="+mj-lt"/>
                <a:ea typeface="+mj-ea"/>
                <a:cs typeface="+mj-cs"/>
              </a:defRPr>
            </a:lvl1pPr>
          </a:lstStyle>
          <a:p>
            <a:pPr lvl="0"/>
            <a:r>
              <a:rPr lang="en-US"/>
              <a:t>2/1 Title + Content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8640763" y="1820860"/>
            <a:ext cx="3036373" cy="4344989"/>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8640763" y="1387475"/>
            <a:ext cx="3036373" cy="233910"/>
          </a:xfrm>
        </p:spPr>
        <p:txBody>
          <a:bodyPr wrap="square">
            <a:spAutoFit/>
          </a:bodyPr>
          <a:lstStyle>
            <a:lvl1pPr marL="0" indent="0">
              <a:buNone/>
              <a:defRPr lang="en-US" sz="1600" kern="1200" dirty="0">
                <a:solidFill>
                  <a:schemeClr val="tx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3128995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00">
          <p15:clr>
            <a:srgbClr val="FBAE40"/>
          </p15:clr>
        </p15:guide>
        <p15:guide id="2" pos="5443">
          <p15:clr>
            <a:srgbClr val="FBAE40"/>
          </p15:clr>
        </p15:guide>
        <p15:guide id="3" pos="5122">
          <p15:clr>
            <a:srgbClr val="FBAE4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Blank_Blac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2FF81AE-215B-5FF1-AB1E-62DF1D393541}"/>
              </a:ext>
            </a:extLst>
          </p:cNvPr>
          <p:cNvSpPr>
            <a:spLocks noGrp="1"/>
          </p:cNvSpPr>
          <p:nvPr>
            <p:ph type="ftr" sz="quarter" idx="10"/>
          </p:nvPr>
        </p:nvSpPr>
        <p:spPr/>
        <p:txBody>
          <a:bodyPr/>
          <a:lstStyle>
            <a:lvl1pPr>
              <a:defRPr>
                <a:solidFill>
                  <a:schemeClr val="accent6">
                    <a:lumMod val="90000"/>
                  </a:schemeClr>
                </a:solidFill>
              </a:defRPr>
            </a:lvl1pPr>
          </a:lstStyle>
          <a:p>
            <a:r>
              <a:rPr lang="en-CA"/>
              <a:t>5G Broadcast Conference</a:t>
            </a:r>
          </a:p>
        </p:txBody>
      </p:sp>
    </p:spTree>
    <p:extLst>
      <p:ext uri="{BB962C8B-B14F-4D97-AF65-F5344CB8AC3E}">
        <p14:creationId xmlns:p14="http://schemas.microsoft.com/office/powerpoint/2010/main" val="226304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showMasterSp="0" preserve="1" userDrawn="1">
  <p:cSld name="Photo+Content_Grey">
    <p:bg>
      <p:bgPr>
        <a:solidFill>
          <a:srgbClr val="EFF1F5"/>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1EF4F402-80EC-EAD4-D6B0-92C2479FFEFA}"/>
              </a:ext>
            </a:extLst>
          </p:cNvPr>
          <p:cNvSpPr>
            <a:spLocks noGrp="1"/>
          </p:cNvSpPr>
          <p:nvPr>
            <p:ph type="body" sz="quarter" idx="14" hasCustomPrompt="1"/>
          </p:nvPr>
        </p:nvSpPr>
        <p:spPr>
          <a:xfrm>
            <a:off x="515937" y="1196975"/>
            <a:ext cx="5327651" cy="1198115"/>
          </a:xfrm>
        </p:spPr>
        <p:txBody>
          <a:bodyPr wrap="square" anchor="b">
            <a:noAutofit/>
          </a:bodyPr>
          <a:lstStyle>
            <a:lvl1pPr marL="0" indent="0">
              <a:buNone/>
              <a:defRPr sz="1300" cap="all" spc="150" baseline="0">
                <a:solidFill>
                  <a:schemeClr val="tx1"/>
                </a:solidFill>
              </a:defRPr>
            </a:lvl1pPr>
          </a:lstStyle>
          <a:p>
            <a:pPr lvl="0"/>
            <a:r>
              <a:rPr lang="en-US"/>
              <a:t>EYEBROW HEADER</a:t>
            </a:r>
          </a:p>
        </p:txBody>
      </p:sp>
      <p:sp>
        <p:nvSpPr>
          <p:cNvPr id="8" name="Title 13">
            <a:extLst>
              <a:ext uri="{FF2B5EF4-FFF2-40B4-BE49-F238E27FC236}">
                <a16:creationId xmlns:a16="http://schemas.microsoft.com/office/drawing/2014/main" id="{916C630D-BED9-DA86-9AE9-767BC6DB8DF6}"/>
              </a:ext>
            </a:extLst>
          </p:cNvPr>
          <p:cNvSpPr>
            <a:spLocks noGrp="1"/>
          </p:cNvSpPr>
          <p:nvPr>
            <p:ph type="title" hasCustomPrompt="1"/>
          </p:nvPr>
        </p:nvSpPr>
        <p:spPr>
          <a:xfrm>
            <a:off x="515937" y="2711631"/>
            <a:ext cx="5327651" cy="730069"/>
          </a:xfrm>
        </p:spPr>
        <p:txBody>
          <a:bodyPr anchor="t"/>
          <a:lstStyle>
            <a:lvl1pPr algn="l" defTabSz="914400" rtl="0" eaLnBrk="1" latinLnBrk="0" hangingPunct="1">
              <a:lnSpc>
                <a:spcPct val="85000"/>
              </a:lnSpc>
              <a:spcBef>
                <a:spcPct val="0"/>
              </a:spcBef>
              <a:buNone/>
              <a:defRPr lang="en-US" sz="2800" kern="2000" spc="-50" baseline="0" dirty="0">
                <a:solidFill>
                  <a:schemeClr val="accent1"/>
                </a:solidFill>
                <a:latin typeface="+mj-lt"/>
                <a:ea typeface="+mj-ea"/>
                <a:cs typeface="+mj-cs"/>
              </a:defRPr>
            </a:lvl1pPr>
          </a:lstStyle>
          <a:p>
            <a:r>
              <a:rPr lang="en-US"/>
              <a:t>2:1 Content &amp; Photo layout </a:t>
            </a:r>
            <a:br>
              <a:rPr lang="en-US"/>
            </a:br>
            <a:r>
              <a:rPr lang="en-US"/>
              <a:t>Title 2 lines maximum</a:t>
            </a:r>
          </a:p>
        </p:txBody>
      </p:sp>
      <p:sp>
        <p:nvSpPr>
          <p:cNvPr id="6" name="Picture Placeholder 5">
            <a:extLst>
              <a:ext uri="{FF2B5EF4-FFF2-40B4-BE49-F238E27FC236}">
                <a16:creationId xmlns:a16="http://schemas.microsoft.com/office/drawing/2014/main" id="{DA15A8F4-EB1B-C6FB-9726-07ED95F48A6D}"/>
              </a:ext>
            </a:extLst>
          </p:cNvPr>
          <p:cNvSpPr>
            <a:spLocks noGrp="1" noChangeAspect="1"/>
          </p:cNvSpPr>
          <p:nvPr>
            <p:ph type="pic" sz="quarter" idx="12" hasCustomPrompt="1"/>
          </p:nvPr>
        </p:nvSpPr>
        <p:spPr>
          <a:xfrm>
            <a:off x="7150937" y="0"/>
            <a:ext cx="5041063" cy="6858000"/>
          </a:xfrm>
          <a:custGeom>
            <a:avLst/>
            <a:gdLst>
              <a:gd name="connsiteX0" fmla="*/ 1341684 w 5041063"/>
              <a:gd name="connsiteY0" fmla="*/ 0 h 6858000"/>
              <a:gd name="connsiteX1" fmla="*/ 5041063 w 5041063"/>
              <a:gd name="connsiteY1" fmla="*/ 0 h 6858000"/>
              <a:gd name="connsiteX2" fmla="*/ 5041063 w 5041063"/>
              <a:gd name="connsiteY2" fmla="*/ 6858000 h 6858000"/>
              <a:gd name="connsiteX3" fmla="*/ 1681589 w 5041063"/>
              <a:gd name="connsiteY3" fmla="*/ 6858000 h 6858000"/>
              <a:gd name="connsiteX4" fmla="*/ 1527585 w 5041063"/>
              <a:gd name="connsiteY4" fmla="*/ 6724571 h 6858000"/>
              <a:gd name="connsiteX5" fmla="*/ 0 w 5041063"/>
              <a:gd name="connsiteY5" fmla="*/ 3272503 h 6858000"/>
              <a:gd name="connsiteX6" fmla="*/ 1211269 w 5041063"/>
              <a:gd name="connsiteY6" fmla="*/ 1368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1063" h="6858000">
                <a:moveTo>
                  <a:pt x="1341684" y="0"/>
                </a:moveTo>
                <a:lnTo>
                  <a:pt x="5041063" y="0"/>
                </a:lnTo>
                <a:lnTo>
                  <a:pt x="5041063" y="6858000"/>
                </a:lnTo>
                <a:lnTo>
                  <a:pt x="1681589" y="6858000"/>
                </a:lnTo>
                <a:lnTo>
                  <a:pt x="1527585" y="6724571"/>
                </a:lnTo>
                <a:cubicBezTo>
                  <a:pt x="589158" y="5871472"/>
                  <a:pt x="0" y="4640804"/>
                  <a:pt x="0" y="3272503"/>
                </a:cubicBezTo>
                <a:cubicBezTo>
                  <a:pt x="0" y="2065179"/>
                  <a:pt x="458687" y="965008"/>
                  <a:pt x="1211269" y="136816"/>
                </a:cubicBezTo>
                <a:close/>
              </a:path>
            </a:pathLst>
          </a:custGeom>
          <a:noFill/>
        </p:spPr>
        <p:txBody>
          <a:bodyPr wrap="square" lIns="540000" rIns="0" anchor="ctr">
            <a:noAutofit/>
          </a:bodyPr>
          <a:lstStyle>
            <a:lvl1pPr marL="0" indent="0">
              <a:buNone/>
              <a:defRPr sz="3000">
                <a:solidFill>
                  <a:schemeClr val="accent1"/>
                </a:solidFill>
              </a:defRPr>
            </a:lvl1pPr>
          </a:lstStyle>
          <a:p>
            <a:r>
              <a:rPr lang="en-US"/>
              <a:t>Click the icon to insert photo</a:t>
            </a:r>
          </a:p>
        </p:txBody>
      </p:sp>
      <p:grpSp>
        <p:nvGrpSpPr>
          <p:cNvPr id="61" name="Group 60">
            <a:extLst>
              <a:ext uri="{FF2B5EF4-FFF2-40B4-BE49-F238E27FC236}">
                <a16:creationId xmlns:a16="http://schemas.microsoft.com/office/drawing/2014/main" id="{A59941B7-9A25-7010-6F36-00C29BC4C7FB}"/>
              </a:ext>
            </a:extLst>
          </p:cNvPr>
          <p:cNvGrpSpPr/>
          <p:nvPr userDrawn="1"/>
        </p:nvGrpSpPr>
        <p:grpSpPr>
          <a:xfrm>
            <a:off x="12290489" y="-1"/>
            <a:ext cx="2910882" cy="6858001"/>
            <a:chOff x="12290489" y="-1"/>
            <a:chExt cx="2910882" cy="6858001"/>
          </a:xfrm>
        </p:grpSpPr>
        <p:sp>
          <p:nvSpPr>
            <p:cNvPr id="62" name="Rectangle 61">
              <a:extLst>
                <a:ext uri="{FF2B5EF4-FFF2-40B4-BE49-F238E27FC236}">
                  <a16:creationId xmlns:a16="http://schemas.microsoft.com/office/drawing/2014/main" id="{A6DF8A14-6328-8070-21E3-899DC89E1486}"/>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63" name="TextBox 62">
              <a:extLst>
                <a:ext uri="{FF2B5EF4-FFF2-40B4-BE49-F238E27FC236}">
                  <a16:creationId xmlns:a16="http://schemas.microsoft.com/office/drawing/2014/main" id="{8E7B8941-4100-72EE-4072-7ECAE54DE16B}"/>
                </a:ext>
              </a:extLst>
            </p:cNvPr>
            <p:cNvSpPr txBox="1"/>
            <p:nvPr userDrawn="1"/>
          </p:nvSpPr>
          <p:spPr>
            <a:xfrm>
              <a:off x="12449814" y="173148"/>
              <a:ext cx="153407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MAGE</a:t>
              </a:r>
            </a:p>
          </p:txBody>
        </p:sp>
        <p:cxnSp>
          <p:nvCxnSpPr>
            <p:cNvPr id="64" name="Straight Connector 63">
              <a:extLst>
                <a:ext uri="{FF2B5EF4-FFF2-40B4-BE49-F238E27FC236}">
                  <a16:creationId xmlns:a16="http://schemas.microsoft.com/office/drawing/2014/main" id="{14B5E4A1-C159-60E1-C73F-985F6C4B55D0}"/>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65" name="TextBox 64">
              <a:extLst>
                <a:ext uri="{FF2B5EF4-FFF2-40B4-BE49-F238E27FC236}">
                  <a16:creationId xmlns:a16="http://schemas.microsoft.com/office/drawing/2014/main" id="{A2A14F74-9426-084C-D598-93A32AA4A42E}"/>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mage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66" name="TextBox 65">
              <a:extLst>
                <a:ext uri="{FF2B5EF4-FFF2-40B4-BE49-F238E27FC236}">
                  <a16:creationId xmlns:a16="http://schemas.microsoft.com/office/drawing/2014/main" id="{7774B1FD-3A42-89B4-CE15-FEF60FD715E2}"/>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67" name="TextBox 66">
              <a:extLst>
                <a:ext uri="{FF2B5EF4-FFF2-40B4-BE49-F238E27FC236}">
                  <a16:creationId xmlns:a16="http://schemas.microsoft.com/office/drawing/2014/main" id="{66E06FEF-76B6-96BB-EFF3-5A58DB545384}"/>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68" name="TextBox 67">
              <a:extLst>
                <a:ext uri="{FF2B5EF4-FFF2-40B4-BE49-F238E27FC236}">
                  <a16:creationId xmlns:a16="http://schemas.microsoft.com/office/drawing/2014/main" id="{665E6D2D-A823-E8EA-76CE-20F2854A9DDE}"/>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mages from the </a:t>
              </a: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Brand Portal</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mage to the placeholder.</a:t>
              </a:r>
            </a:p>
          </p:txBody>
        </p:sp>
        <p:sp>
          <p:nvSpPr>
            <p:cNvPr id="69" name="TextBox 68">
              <a:extLst>
                <a:ext uri="{FF2B5EF4-FFF2-40B4-BE49-F238E27FC236}">
                  <a16:creationId xmlns:a16="http://schemas.microsoft.com/office/drawing/2014/main" id="{A7378AF1-B2C0-2306-0CDD-E3EFD845B69F}"/>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mage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mage.</a:t>
              </a:r>
            </a:p>
          </p:txBody>
        </p:sp>
        <p:sp>
          <p:nvSpPr>
            <p:cNvPr id="70" name="TextBox 69">
              <a:extLst>
                <a:ext uri="{FF2B5EF4-FFF2-40B4-BE49-F238E27FC236}">
                  <a16:creationId xmlns:a16="http://schemas.microsoft.com/office/drawing/2014/main" id="{18618AE4-6077-F70C-8FA8-828AC67E11D8}"/>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mage.</a:t>
              </a:r>
            </a:p>
          </p:txBody>
        </p:sp>
        <p:grpSp>
          <p:nvGrpSpPr>
            <p:cNvPr id="71" name="Group 70">
              <a:extLst>
                <a:ext uri="{FF2B5EF4-FFF2-40B4-BE49-F238E27FC236}">
                  <a16:creationId xmlns:a16="http://schemas.microsoft.com/office/drawing/2014/main" id="{4573C732-F749-0118-BF2C-4792F4D490B7}"/>
                </a:ext>
              </a:extLst>
            </p:cNvPr>
            <p:cNvGrpSpPr/>
            <p:nvPr userDrawn="1"/>
          </p:nvGrpSpPr>
          <p:grpSpPr>
            <a:xfrm>
              <a:off x="12429548" y="3236396"/>
              <a:ext cx="2735151" cy="1280928"/>
              <a:chOff x="9286315" y="6976989"/>
              <a:chExt cx="2735151" cy="1280928"/>
            </a:xfrm>
          </p:grpSpPr>
          <p:sp>
            <p:nvSpPr>
              <p:cNvPr id="82" name="Rectangle 81">
                <a:extLst>
                  <a:ext uri="{FF2B5EF4-FFF2-40B4-BE49-F238E27FC236}">
                    <a16:creationId xmlns:a16="http://schemas.microsoft.com/office/drawing/2014/main" id="{992F07AB-0591-D65B-CE2B-9211787E1E62}"/>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83" name="TextBox 82">
                <a:extLst>
                  <a:ext uri="{FF2B5EF4-FFF2-40B4-BE49-F238E27FC236}">
                    <a16:creationId xmlns:a16="http://schemas.microsoft.com/office/drawing/2014/main" id="{8055E4CF-B7B4-80D8-847D-6A509AC2D067}"/>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Images</a:t>
                </a:r>
              </a:p>
            </p:txBody>
          </p:sp>
          <p:pic>
            <p:nvPicPr>
              <p:cNvPr id="84" name="Graphic 83">
                <a:extLst>
                  <a:ext uri="{FF2B5EF4-FFF2-40B4-BE49-F238E27FC236}">
                    <a16:creationId xmlns:a16="http://schemas.microsoft.com/office/drawing/2014/main" id="{6427B8A4-CF3E-8BC4-A2A6-817F3CBE5E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85" name="TextBox 84">
                <a:extLst>
                  <a:ext uri="{FF2B5EF4-FFF2-40B4-BE49-F238E27FC236}">
                    <a16:creationId xmlns:a16="http://schemas.microsoft.com/office/drawing/2014/main" id="{CFEB389D-E9B3-E556-5B68-8B9D612F06F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86" name="Picture 85">
                <a:extLst>
                  <a:ext uri="{FF2B5EF4-FFF2-40B4-BE49-F238E27FC236}">
                    <a16:creationId xmlns:a16="http://schemas.microsoft.com/office/drawing/2014/main" id="{383931E4-AC30-2E7B-EE7B-CCE1ACE2C840}"/>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87" name="TextBox 86">
                <a:extLst>
                  <a:ext uri="{FF2B5EF4-FFF2-40B4-BE49-F238E27FC236}">
                    <a16:creationId xmlns:a16="http://schemas.microsoft.com/office/drawing/2014/main" id="{B60EE4F6-BFA1-F0E4-C8F9-7A11C0BFC778}"/>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72" name="Group 71">
              <a:extLst>
                <a:ext uri="{FF2B5EF4-FFF2-40B4-BE49-F238E27FC236}">
                  <a16:creationId xmlns:a16="http://schemas.microsoft.com/office/drawing/2014/main" id="{8973E7F2-096B-F584-0C2B-38E125F82AE0}"/>
                </a:ext>
              </a:extLst>
            </p:cNvPr>
            <p:cNvGrpSpPr/>
            <p:nvPr userDrawn="1"/>
          </p:nvGrpSpPr>
          <p:grpSpPr>
            <a:xfrm>
              <a:off x="12429548" y="4543123"/>
              <a:ext cx="2735151" cy="2200108"/>
              <a:chOff x="9538241" y="5155416"/>
              <a:chExt cx="2735151" cy="2200108"/>
            </a:xfrm>
          </p:grpSpPr>
          <p:sp>
            <p:nvSpPr>
              <p:cNvPr id="73" name="Rectangle 72">
                <a:extLst>
                  <a:ext uri="{FF2B5EF4-FFF2-40B4-BE49-F238E27FC236}">
                    <a16:creationId xmlns:a16="http://schemas.microsoft.com/office/drawing/2014/main" id="{483492A6-085B-D585-9B00-4A82F8A154A7}"/>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74" name="TextBox 73">
                <a:extLst>
                  <a:ext uri="{FF2B5EF4-FFF2-40B4-BE49-F238E27FC236}">
                    <a16:creationId xmlns:a16="http://schemas.microsoft.com/office/drawing/2014/main" id="{87EA4D68-04CD-A0BD-2A43-1BAC1699E386}"/>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mages</a:t>
                </a:r>
              </a:p>
            </p:txBody>
          </p:sp>
          <p:pic>
            <p:nvPicPr>
              <p:cNvPr id="75" name="Graphic 74">
                <a:extLst>
                  <a:ext uri="{FF2B5EF4-FFF2-40B4-BE49-F238E27FC236}">
                    <a16:creationId xmlns:a16="http://schemas.microsoft.com/office/drawing/2014/main" id="{3D97F3FA-9588-81CC-17B0-E238C6AE80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76" name="TextBox 75">
                <a:extLst>
                  <a:ext uri="{FF2B5EF4-FFF2-40B4-BE49-F238E27FC236}">
                    <a16:creationId xmlns:a16="http://schemas.microsoft.com/office/drawing/2014/main" id="{71DB119D-04B9-4B60-0E90-348E5F3256CB}"/>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mage and select “Change Picture”</a:t>
                </a:r>
              </a:p>
            </p:txBody>
          </p:sp>
          <p:sp>
            <p:nvSpPr>
              <p:cNvPr id="77" name="TextBox 76">
                <a:extLst>
                  <a:ext uri="{FF2B5EF4-FFF2-40B4-BE49-F238E27FC236}">
                    <a16:creationId xmlns:a16="http://schemas.microsoft.com/office/drawing/2014/main" id="{F049DA30-CE07-E88B-4902-ACEF95E70383}"/>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78" name="TextBox 77">
                <a:extLst>
                  <a:ext uri="{FF2B5EF4-FFF2-40B4-BE49-F238E27FC236}">
                    <a16:creationId xmlns:a16="http://schemas.microsoft.com/office/drawing/2014/main" id="{DA0460A0-BAD5-F300-9F6D-CFCD4FD946B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mage to reset the photo placeholder functionality.</a:t>
                </a:r>
              </a:p>
            </p:txBody>
          </p:sp>
          <p:sp>
            <p:nvSpPr>
              <p:cNvPr id="79" name="TextBox 78">
                <a:extLst>
                  <a:ext uri="{FF2B5EF4-FFF2-40B4-BE49-F238E27FC236}">
                    <a16:creationId xmlns:a16="http://schemas.microsoft.com/office/drawing/2014/main" id="{9A9650E1-F476-16DA-8544-3F473A4A4725}"/>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mage as normal.</a:t>
                </a:r>
              </a:p>
            </p:txBody>
          </p:sp>
          <p:cxnSp>
            <p:nvCxnSpPr>
              <p:cNvPr id="80" name="Straight Connector 79">
                <a:extLst>
                  <a:ext uri="{FF2B5EF4-FFF2-40B4-BE49-F238E27FC236}">
                    <a16:creationId xmlns:a16="http://schemas.microsoft.com/office/drawing/2014/main" id="{E7E5573C-C940-F0AF-C4F6-471BF0BE7D89}"/>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81" name="TextBox 80">
                <a:extLst>
                  <a:ext uri="{FF2B5EF4-FFF2-40B4-BE49-F238E27FC236}">
                    <a16:creationId xmlns:a16="http://schemas.microsoft.com/office/drawing/2014/main" id="{D6C36603-978F-A15B-2F24-ABFAAED7D7B6}"/>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3" name="Footer Placeholder 129">
            <a:extLst>
              <a:ext uri="{FF2B5EF4-FFF2-40B4-BE49-F238E27FC236}">
                <a16:creationId xmlns:a16="http://schemas.microsoft.com/office/drawing/2014/main" id="{32F39D03-559B-5939-909B-FF65EEA162BF}"/>
              </a:ext>
            </a:extLst>
          </p:cNvPr>
          <p:cNvSpPr>
            <a:spLocks noGrp="1"/>
          </p:cNvSpPr>
          <p:nvPr>
            <p:ph type="ftr" sz="quarter" idx="22"/>
          </p:nvPr>
        </p:nvSpPr>
        <p:spPr>
          <a:xfrm>
            <a:off x="515938" y="6173304"/>
            <a:ext cx="6480175" cy="118174"/>
          </a:xfrm>
        </p:spPr>
        <p:txBody>
          <a:bodyPr/>
          <a:lstStyle>
            <a:lvl1pPr>
              <a:defRPr>
                <a:solidFill>
                  <a:schemeClr val="accent6">
                    <a:lumMod val="50000"/>
                  </a:schemeClr>
                </a:solidFill>
              </a:defRPr>
            </a:lvl1pPr>
          </a:lstStyle>
          <a:p>
            <a:r>
              <a:rPr lang="en-CA"/>
              <a:t>5G Broadcast Conference</a:t>
            </a:r>
          </a:p>
        </p:txBody>
      </p:sp>
      <p:sp>
        <p:nvSpPr>
          <p:cNvPr id="10" name="Text Placeholder 16">
            <a:extLst>
              <a:ext uri="{FF2B5EF4-FFF2-40B4-BE49-F238E27FC236}">
                <a16:creationId xmlns:a16="http://schemas.microsoft.com/office/drawing/2014/main" id="{1ECC5A24-E1C0-4F84-B8A6-C64730DC9F39}"/>
              </a:ext>
            </a:extLst>
          </p:cNvPr>
          <p:cNvSpPr>
            <a:spLocks noGrp="1"/>
          </p:cNvSpPr>
          <p:nvPr>
            <p:ph type="body" sz="quarter" idx="15" hasCustomPrompt="1"/>
          </p:nvPr>
        </p:nvSpPr>
        <p:spPr>
          <a:xfrm>
            <a:off x="515938" y="3581401"/>
            <a:ext cx="5327650" cy="2435086"/>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3968653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19">
          <p15:clr>
            <a:srgbClr val="FBAE40"/>
          </p15:clr>
        </p15:guide>
        <p15:guide id="6" orient="horz" pos="1502">
          <p15:clr>
            <a:srgbClr val="FBAE40"/>
          </p15:clr>
        </p15:guide>
        <p15:guide id="7" orient="horz" pos="2432">
          <p15:clr>
            <a:srgbClr val="FBAE40"/>
          </p15:clr>
        </p15:guide>
        <p15:guide id="10" pos="3681">
          <p15:clr>
            <a:srgbClr val="FBAE40"/>
          </p15:clr>
        </p15:guide>
      </p15:sldGuideLst>
    </p:ext>
  </p:extLst>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preserve="1" userDrawn="1">
  <p:cSld name="Title+4Contents_Third Grey">
    <p:bg>
      <p:bgPr>
        <a:solidFill>
          <a:srgbClr val="EFF1F5"/>
        </a:solidFill>
        <a:effectLst/>
      </p:bgPr>
    </p:bg>
    <p:spTree>
      <p:nvGrpSpPr>
        <p:cNvPr id="1" name=""/>
        <p:cNvGrpSpPr/>
        <p:nvPr/>
      </p:nvGrpSpPr>
      <p:grpSpPr>
        <a:xfrm>
          <a:off x="0" y="0"/>
          <a:ext cx="0" cy="0"/>
          <a:chOff x="0" y="0"/>
          <a:chExt cx="0" cy="0"/>
        </a:xfrm>
      </p:grpSpPr>
      <p:sp>
        <p:nvSpPr>
          <p:cNvPr id="9" name="Title 120">
            <a:extLst>
              <a:ext uri="{FF2B5EF4-FFF2-40B4-BE49-F238E27FC236}">
                <a16:creationId xmlns:a16="http://schemas.microsoft.com/office/drawing/2014/main" id="{7A1F75E5-8E3D-DF45-926F-E6E5FD4D70FC}"/>
              </a:ext>
            </a:extLst>
          </p:cNvPr>
          <p:cNvSpPr>
            <a:spLocks noGrp="1"/>
          </p:cNvSpPr>
          <p:nvPr>
            <p:ph type="title" hasCustomPrompt="1"/>
          </p:nvPr>
        </p:nvSpPr>
        <p:spPr>
          <a:xfrm>
            <a:off x="515937" y="2795081"/>
            <a:ext cx="3556800" cy="1294408"/>
          </a:xfrm>
        </p:spPr>
        <p:txBody>
          <a:bodyPr anchor="ctr"/>
          <a:lstStyle>
            <a:lvl1pPr algn="l" defTabSz="914400" rtl="0" eaLnBrk="1" latinLnBrk="0" hangingPunct="1">
              <a:lnSpc>
                <a:spcPct val="85000"/>
              </a:lnSpc>
              <a:spcBef>
                <a:spcPct val="0"/>
              </a:spcBef>
              <a:buNone/>
              <a:defRPr lang="en-US" sz="2800" kern="2000" spc="-50" baseline="0" dirty="0">
                <a:solidFill>
                  <a:schemeClr val="accent1"/>
                </a:solidFill>
                <a:latin typeface="+mj-lt"/>
                <a:ea typeface="+mj-ea"/>
                <a:cs typeface="+mj-cs"/>
              </a:defRPr>
            </a:lvl1pPr>
          </a:lstStyle>
          <a:p>
            <a:r>
              <a:rPr lang="en-US"/>
              <a:t>Title+4 Contents layout </a:t>
            </a:r>
            <a:br>
              <a:rPr lang="en-US"/>
            </a:br>
            <a:r>
              <a:rPr lang="en-US"/>
              <a:t>Title up to </a:t>
            </a:r>
            <a:br>
              <a:rPr lang="en-US"/>
            </a:br>
            <a:r>
              <a:rPr lang="en-US"/>
              <a:t>3 lines maximum</a:t>
            </a:r>
          </a:p>
        </p:txBody>
      </p:sp>
      <p:sp>
        <p:nvSpPr>
          <p:cNvPr id="16" name="Picture Placeholder 2">
            <a:extLst>
              <a:ext uri="{FF2B5EF4-FFF2-40B4-BE49-F238E27FC236}">
                <a16:creationId xmlns:a16="http://schemas.microsoft.com/office/drawing/2014/main" id="{803614D6-B3A1-6731-7DA2-2F082C0110CD}"/>
              </a:ext>
            </a:extLst>
          </p:cNvPr>
          <p:cNvSpPr>
            <a:spLocks noGrp="1" noChangeAspect="1"/>
          </p:cNvSpPr>
          <p:nvPr>
            <p:ph type="pic" sz="quarter" idx="24" hasCustomPrompt="1"/>
          </p:nvPr>
        </p:nvSpPr>
        <p:spPr>
          <a:xfrm>
            <a:off x="4629921" y="677141"/>
            <a:ext cx="759113" cy="759113"/>
          </a:xfrm>
        </p:spPr>
        <p:txBody>
          <a:bodyPr lIns="144000"/>
          <a:lstStyle>
            <a:lvl1pPr marL="0" indent="0">
              <a:buNone/>
              <a:defRPr sz="1400"/>
            </a:lvl1pPr>
          </a:lstStyle>
          <a:p>
            <a:r>
              <a:rPr lang="en-US"/>
              <a:t>Icon</a:t>
            </a:r>
          </a:p>
        </p:txBody>
      </p:sp>
      <p:sp>
        <p:nvSpPr>
          <p:cNvPr id="122" name="Text Placeholder 22">
            <a:extLst>
              <a:ext uri="{FF2B5EF4-FFF2-40B4-BE49-F238E27FC236}">
                <a16:creationId xmlns:a16="http://schemas.microsoft.com/office/drawing/2014/main" id="{693B5A4C-7FB3-2918-A773-0EE6FED3D209}"/>
              </a:ext>
            </a:extLst>
          </p:cNvPr>
          <p:cNvSpPr>
            <a:spLocks noGrp="1"/>
          </p:cNvSpPr>
          <p:nvPr>
            <p:ph type="body" sz="quarter" idx="13" hasCustomPrompt="1"/>
          </p:nvPr>
        </p:nvSpPr>
        <p:spPr>
          <a:xfrm>
            <a:off x="5704822" y="699924"/>
            <a:ext cx="5360054" cy="263149"/>
          </a:xfrm>
        </p:spPr>
        <p:txBody>
          <a:bodyPr wrap="square" anchor="b">
            <a:noAutofit/>
          </a:bodyPr>
          <a:lstStyle>
            <a:lvl1pPr marL="0" indent="0">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5" name="Text Placeholder 16">
            <a:extLst>
              <a:ext uri="{FF2B5EF4-FFF2-40B4-BE49-F238E27FC236}">
                <a16:creationId xmlns:a16="http://schemas.microsoft.com/office/drawing/2014/main" id="{C38DCFD6-5A0E-E9F5-0958-4B8735F209AC}"/>
              </a:ext>
            </a:extLst>
          </p:cNvPr>
          <p:cNvSpPr>
            <a:spLocks noGrp="1"/>
          </p:cNvSpPr>
          <p:nvPr>
            <p:ph type="body" sz="quarter" idx="15" hasCustomPrompt="1"/>
          </p:nvPr>
        </p:nvSpPr>
        <p:spPr>
          <a:xfrm>
            <a:off x="5704821" y="101917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7" name="Picture Placeholder 2">
            <a:extLst>
              <a:ext uri="{FF2B5EF4-FFF2-40B4-BE49-F238E27FC236}">
                <a16:creationId xmlns:a16="http://schemas.microsoft.com/office/drawing/2014/main" id="{158234DD-C86A-C0A3-F309-C819BEF18C2A}"/>
              </a:ext>
            </a:extLst>
          </p:cNvPr>
          <p:cNvSpPr>
            <a:spLocks noGrp="1" noChangeAspect="1"/>
          </p:cNvSpPr>
          <p:nvPr>
            <p:ph type="pic" sz="quarter" idx="25" hasCustomPrompt="1"/>
          </p:nvPr>
        </p:nvSpPr>
        <p:spPr>
          <a:xfrm>
            <a:off x="4629921" y="2124716"/>
            <a:ext cx="759113" cy="759113"/>
          </a:xfrm>
        </p:spPr>
        <p:txBody>
          <a:bodyPr lIns="144000"/>
          <a:lstStyle>
            <a:lvl1pPr marL="0" indent="0">
              <a:buNone/>
              <a:defRPr sz="1400"/>
            </a:lvl1pPr>
          </a:lstStyle>
          <a:p>
            <a:r>
              <a:rPr lang="en-US"/>
              <a:t>Icon</a:t>
            </a:r>
          </a:p>
        </p:txBody>
      </p:sp>
      <p:sp>
        <p:nvSpPr>
          <p:cNvPr id="124" name="Text Placeholder 22">
            <a:extLst>
              <a:ext uri="{FF2B5EF4-FFF2-40B4-BE49-F238E27FC236}">
                <a16:creationId xmlns:a16="http://schemas.microsoft.com/office/drawing/2014/main" id="{A14F4D35-AD24-5E3E-8E8D-CD803A85CDBB}"/>
              </a:ext>
            </a:extLst>
          </p:cNvPr>
          <p:cNvSpPr>
            <a:spLocks noGrp="1"/>
          </p:cNvSpPr>
          <p:nvPr>
            <p:ph type="body" sz="quarter" idx="16" hasCustomPrompt="1"/>
          </p:nvPr>
        </p:nvSpPr>
        <p:spPr>
          <a:xfrm>
            <a:off x="5704822" y="2143614"/>
            <a:ext cx="5360054" cy="263149"/>
          </a:xfrm>
        </p:spPr>
        <p:txBody>
          <a:bodyPr wrap="square" anchor="b">
            <a:noAutofit/>
          </a:bodyPr>
          <a:lstStyle>
            <a:lvl1pPr marL="0" indent="0">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6" name="Text Placeholder 16">
            <a:extLst>
              <a:ext uri="{FF2B5EF4-FFF2-40B4-BE49-F238E27FC236}">
                <a16:creationId xmlns:a16="http://schemas.microsoft.com/office/drawing/2014/main" id="{752D1B24-3191-2FDC-5F67-93401195900D}"/>
              </a:ext>
            </a:extLst>
          </p:cNvPr>
          <p:cNvSpPr>
            <a:spLocks noGrp="1"/>
          </p:cNvSpPr>
          <p:nvPr>
            <p:ph type="body" sz="quarter" idx="17" hasCustomPrompt="1"/>
          </p:nvPr>
        </p:nvSpPr>
        <p:spPr>
          <a:xfrm>
            <a:off x="5704821" y="2462865"/>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8" name="Picture Placeholder 2">
            <a:extLst>
              <a:ext uri="{FF2B5EF4-FFF2-40B4-BE49-F238E27FC236}">
                <a16:creationId xmlns:a16="http://schemas.microsoft.com/office/drawing/2014/main" id="{F5047FAA-2D67-8C54-D972-5689E483F426}"/>
              </a:ext>
            </a:extLst>
          </p:cNvPr>
          <p:cNvSpPr>
            <a:spLocks noGrp="1" noChangeAspect="1"/>
          </p:cNvSpPr>
          <p:nvPr>
            <p:ph type="pic" sz="quarter" idx="26" hasCustomPrompt="1"/>
          </p:nvPr>
        </p:nvSpPr>
        <p:spPr>
          <a:xfrm>
            <a:off x="4629921" y="3572291"/>
            <a:ext cx="759113" cy="759113"/>
          </a:xfrm>
        </p:spPr>
        <p:txBody>
          <a:bodyPr lIns="144000"/>
          <a:lstStyle>
            <a:lvl1pPr marL="0" indent="0">
              <a:buNone/>
              <a:defRPr sz="1400"/>
            </a:lvl1pPr>
          </a:lstStyle>
          <a:p>
            <a:r>
              <a:rPr lang="en-US"/>
              <a:t>Icon</a:t>
            </a:r>
          </a:p>
        </p:txBody>
      </p:sp>
      <p:sp>
        <p:nvSpPr>
          <p:cNvPr id="126" name="Text Placeholder 22">
            <a:extLst>
              <a:ext uri="{FF2B5EF4-FFF2-40B4-BE49-F238E27FC236}">
                <a16:creationId xmlns:a16="http://schemas.microsoft.com/office/drawing/2014/main" id="{FCEBECB8-7041-9BA8-933B-3C0F5FF02831}"/>
              </a:ext>
            </a:extLst>
          </p:cNvPr>
          <p:cNvSpPr>
            <a:spLocks noGrp="1"/>
          </p:cNvSpPr>
          <p:nvPr>
            <p:ph type="body" sz="quarter" idx="18" hasCustomPrompt="1"/>
          </p:nvPr>
        </p:nvSpPr>
        <p:spPr>
          <a:xfrm>
            <a:off x="5704822" y="3587071"/>
            <a:ext cx="5360054" cy="263149"/>
          </a:xfrm>
        </p:spPr>
        <p:txBody>
          <a:bodyPr wrap="square" anchor="b">
            <a:noAutofit/>
          </a:bodyPr>
          <a:lstStyle>
            <a:lvl1pPr marL="0" indent="0">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7" name="Text Placeholder 16">
            <a:extLst>
              <a:ext uri="{FF2B5EF4-FFF2-40B4-BE49-F238E27FC236}">
                <a16:creationId xmlns:a16="http://schemas.microsoft.com/office/drawing/2014/main" id="{DBD55430-B9A6-6E76-5A88-93B8CBAFCF32}"/>
              </a:ext>
            </a:extLst>
          </p:cNvPr>
          <p:cNvSpPr>
            <a:spLocks noGrp="1"/>
          </p:cNvSpPr>
          <p:nvPr>
            <p:ph type="body" sz="quarter" idx="19" hasCustomPrompt="1"/>
          </p:nvPr>
        </p:nvSpPr>
        <p:spPr>
          <a:xfrm>
            <a:off x="5704821" y="3906322"/>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9" name="Picture Placeholder 2">
            <a:extLst>
              <a:ext uri="{FF2B5EF4-FFF2-40B4-BE49-F238E27FC236}">
                <a16:creationId xmlns:a16="http://schemas.microsoft.com/office/drawing/2014/main" id="{155B8295-23B1-4FAB-6989-040F56EEACDD}"/>
              </a:ext>
            </a:extLst>
          </p:cNvPr>
          <p:cNvSpPr>
            <a:spLocks noGrp="1" noChangeAspect="1"/>
          </p:cNvSpPr>
          <p:nvPr>
            <p:ph type="pic" sz="quarter" idx="27" hasCustomPrompt="1"/>
          </p:nvPr>
        </p:nvSpPr>
        <p:spPr>
          <a:xfrm>
            <a:off x="4629921" y="5019866"/>
            <a:ext cx="759113" cy="759113"/>
          </a:xfrm>
        </p:spPr>
        <p:txBody>
          <a:bodyPr lIns="144000"/>
          <a:lstStyle>
            <a:lvl1pPr marL="0" indent="0">
              <a:buNone/>
              <a:defRPr sz="1400"/>
            </a:lvl1pPr>
          </a:lstStyle>
          <a:p>
            <a:r>
              <a:rPr lang="en-US"/>
              <a:t>Icon</a:t>
            </a:r>
          </a:p>
        </p:txBody>
      </p:sp>
      <p:sp>
        <p:nvSpPr>
          <p:cNvPr id="128" name="Text Placeholder 22">
            <a:extLst>
              <a:ext uri="{FF2B5EF4-FFF2-40B4-BE49-F238E27FC236}">
                <a16:creationId xmlns:a16="http://schemas.microsoft.com/office/drawing/2014/main" id="{928EC958-013B-F8B1-324A-396A688B6278}"/>
              </a:ext>
            </a:extLst>
          </p:cNvPr>
          <p:cNvSpPr>
            <a:spLocks noGrp="1"/>
          </p:cNvSpPr>
          <p:nvPr>
            <p:ph type="body" sz="quarter" idx="20" hasCustomPrompt="1"/>
          </p:nvPr>
        </p:nvSpPr>
        <p:spPr>
          <a:xfrm>
            <a:off x="5704822" y="5021236"/>
            <a:ext cx="5360054" cy="263149"/>
          </a:xfrm>
        </p:spPr>
        <p:txBody>
          <a:bodyPr wrap="square" anchor="b">
            <a:noAutofit/>
          </a:bodyPr>
          <a:lstStyle>
            <a:lvl1pPr marL="0" indent="0">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p>
        </p:txBody>
      </p:sp>
      <p:sp>
        <p:nvSpPr>
          <p:cNvPr id="8" name="Text Placeholder 16">
            <a:extLst>
              <a:ext uri="{FF2B5EF4-FFF2-40B4-BE49-F238E27FC236}">
                <a16:creationId xmlns:a16="http://schemas.microsoft.com/office/drawing/2014/main" id="{A305BFC7-1DCB-DA0D-B9D5-073230BAC218}"/>
              </a:ext>
            </a:extLst>
          </p:cNvPr>
          <p:cNvSpPr>
            <a:spLocks noGrp="1"/>
          </p:cNvSpPr>
          <p:nvPr>
            <p:ph type="body" sz="quarter" idx="21" hasCustomPrompt="1"/>
          </p:nvPr>
        </p:nvSpPr>
        <p:spPr>
          <a:xfrm>
            <a:off x="5704821" y="5340487"/>
            <a:ext cx="5360055" cy="600164"/>
          </a:xfrm>
        </p:spPr>
        <p:txBody>
          <a:bodyPr wrap="square">
            <a:noAutofit/>
          </a:bodyPr>
          <a:lstStyle>
            <a:lvl1pPr marL="0" indent="0">
              <a:lnSpc>
                <a:spcPct val="100000"/>
              </a:lnSpc>
              <a:spcBef>
                <a:spcPts val="0"/>
              </a:spcBef>
              <a:buNone/>
              <a:defRPr sz="12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5" name="TextBox 14">
            <a:extLst>
              <a:ext uri="{FF2B5EF4-FFF2-40B4-BE49-F238E27FC236}">
                <a16:creationId xmlns:a16="http://schemas.microsoft.com/office/drawing/2014/main" id="{DA40CD1A-60BD-05D8-7970-B07C826C1D80}"/>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grpSp>
        <p:nvGrpSpPr>
          <p:cNvPr id="40" name="Group 39">
            <a:extLst>
              <a:ext uri="{FF2B5EF4-FFF2-40B4-BE49-F238E27FC236}">
                <a16:creationId xmlns:a16="http://schemas.microsoft.com/office/drawing/2014/main" id="{3DE87ABF-25CF-8431-62CF-3FFD80738F9B}"/>
              </a:ext>
            </a:extLst>
          </p:cNvPr>
          <p:cNvGrpSpPr/>
          <p:nvPr userDrawn="1"/>
        </p:nvGrpSpPr>
        <p:grpSpPr>
          <a:xfrm>
            <a:off x="12290489" y="-1"/>
            <a:ext cx="2910882" cy="6858001"/>
            <a:chOff x="12290489" y="-1"/>
            <a:chExt cx="2910882" cy="6858001"/>
          </a:xfrm>
        </p:grpSpPr>
        <p:sp>
          <p:nvSpPr>
            <p:cNvPr id="41" name="Rectangle 40">
              <a:extLst>
                <a:ext uri="{FF2B5EF4-FFF2-40B4-BE49-F238E27FC236}">
                  <a16:creationId xmlns:a16="http://schemas.microsoft.com/office/drawing/2014/main" id="{6D2679DD-C2E3-4902-3325-4B47DFAAF085}"/>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42" name="TextBox 41">
              <a:extLst>
                <a:ext uri="{FF2B5EF4-FFF2-40B4-BE49-F238E27FC236}">
                  <a16:creationId xmlns:a16="http://schemas.microsoft.com/office/drawing/2014/main" id="{F36F0F7A-971F-2372-FAA5-B802FC235920}"/>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43" name="Straight Connector 42">
              <a:extLst>
                <a:ext uri="{FF2B5EF4-FFF2-40B4-BE49-F238E27FC236}">
                  <a16:creationId xmlns:a16="http://schemas.microsoft.com/office/drawing/2014/main" id="{6B46E843-5A05-34E4-E5DB-E1342EB82EB3}"/>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44" name="TextBox 43">
              <a:extLst>
                <a:ext uri="{FF2B5EF4-FFF2-40B4-BE49-F238E27FC236}">
                  <a16:creationId xmlns:a16="http://schemas.microsoft.com/office/drawing/2014/main" id="{3945920A-9738-E290-8B7A-82079F6DCE71}"/>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45" name="TextBox 44">
              <a:extLst>
                <a:ext uri="{FF2B5EF4-FFF2-40B4-BE49-F238E27FC236}">
                  <a16:creationId xmlns:a16="http://schemas.microsoft.com/office/drawing/2014/main" id="{DC2F4233-2F00-409D-78D8-295A21F3D6E5}"/>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46" name="TextBox 45">
              <a:extLst>
                <a:ext uri="{FF2B5EF4-FFF2-40B4-BE49-F238E27FC236}">
                  <a16:creationId xmlns:a16="http://schemas.microsoft.com/office/drawing/2014/main" id="{14D91F72-F9E2-CBF4-A93F-84553C1D0F34}"/>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47" name="TextBox 46">
              <a:extLst>
                <a:ext uri="{FF2B5EF4-FFF2-40B4-BE49-F238E27FC236}">
                  <a16:creationId xmlns:a16="http://schemas.microsoft.com/office/drawing/2014/main" id="{C659C999-5D52-B5F6-4D40-F6352267822F}"/>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48" name="TextBox 47">
              <a:extLst>
                <a:ext uri="{FF2B5EF4-FFF2-40B4-BE49-F238E27FC236}">
                  <a16:creationId xmlns:a16="http://schemas.microsoft.com/office/drawing/2014/main" id="{B3A82870-1DAE-4B2C-E64F-98E28687F22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49" name="TextBox 48">
              <a:extLst>
                <a:ext uri="{FF2B5EF4-FFF2-40B4-BE49-F238E27FC236}">
                  <a16:creationId xmlns:a16="http://schemas.microsoft.com/office/drawing/2014/main" id="{F364D98D-C602-1607-7BDC-166242F34C21}"/>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50" name="Group 49">
              <a:extLst>
                <a:ext uri="{FF2B5EF4-FFF2-40B4-BE49-F238E27FC236}">
                  <a16:creationId xmlns:a16="http://schemas.microsoft.com/office/drawing/2014/main" id="{D7F72C51-C576-6C65-A902-5856DA80F937}"/>
                </a:ext>
              </a:extLst>
            </p:cNvPr>
            <p:cNvGrpSpPr/>
            <p:nvPr userDrawn="1"/>
          </p:nvGrpSpPr>
          <p:grpSpPr>
            <a:xfrm>
              <a:off x="12429548" y="3236396"/>
              <a:ext cx="2735151" cy="1280928"/>
              <a:chOff x="9286315" y="6976989"/>
              <a:chExt cx="2735151" cy="1280928"/>
            </a:xfrm>
          </p:grpSpPr>
          <p:sp>
            <p:nvSpPr>
              <p:cNvPr id="61" name="Rectangle 60">
                <a:extLst>
                  <a:ext uri="{FF2B5EF4-FFF2-40B4-BE49-F238E27FC236}">
                    <a16:creationId xmlns:a16="http://schemas.microsoft.com/office/drawing/2014/main" id="{61E56FEF-DBB6-7894-ACC0-CB6658CB12BB}"/>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62" name="TextBox 61">
                <a:extLst>
                  <a:ext uri="{FF2B5EF4-FFF2-40B4-BE49-F238E27FC236}">
                    <a16:creationId xmlns:a16="http://schemas.microsoft.com/office/drawing/2014/main" id="{38DCE2FA-DCB4-E58F-F5A9-424EE64D7FCD}"/>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63" name="Graphic 62">
                <a:extLst>
                  <a:ext uri="{FF2B5EF4-FFF2-40B4-BE49-F238E27FC236}">
                    <a16:creationId xmlns:a16="http://schemas.microsoft.com/office/drawing/2014/main" id="{DB290D33-CE6C-0057-E0D7-FB551ECBA9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4" name="TextBox 63">
                <a:extLst>
                  <a:ext uri="{FF2B5EF4-FFF2-40B4-BE49-F238E27FC236}">
                    <a16:creationId xmlns:a16="http://schemas.microsoft.com/office/drawing/2014/main" id="{D59EAFAF-83E5-63D0-F9F3-E1AA8945068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65" name="Picture 64">
                <a:extLst>
                  <a:ext uri="{FF2B5EF4-FFF2-40B4-BE49-F238E27FC236}">
                    <a16:creationId xmlns:a16="http://schemas.microsoft.com/office/drawing/2014/main" id="{B37ACE1F-225F-2DD2-F040-BD75337547FB}"/>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6" name="TextBox 65">
                <a:extLst>
                  <a:ext uri="{FF2B5EF4-FFF2-40B4-BE49-F238E27FC236}">
                    <a16:creationId xmlns:a16="http://schemas.microsoft.com/office/drawing/2014/main" id="{E5C938B5-65D9-F34A-1EAC-85A88105AC40}"/>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51" name="Group 50">
              <a:extLst>
                <a:ext uri="{FF2B5EF4-FFF2-40B4-BE49-F238E27FC236}">
                  <a16:creationId xmlns:a16="http://schemas.microsoft.com/office/drawing/2014/main" id="{7AE06101-B043-1556-A91B-932DD9FAB5A3}"/>
                </a:ext>
              </a:extLst>
            </p:cNvPr>
            <p:cNvGrpSpPr/>
            <p:nvPr userDrawn="1"/>
          </p:nvGrpSpPr>
          <p:grpSpPr>
            <a:xfrm>
              <a:off x="12429548" y="4543123"/>
              <a:ext cx="2735151" cy="2200108"/>
              <a:chOff x="9538241" y="5155416"/>
              <a:chExt cx="2735151" cy="2200108"/>
            </a:xfrm>
          </p:grpSpPr>
          <p:sp>
            <p:nvSpPr>
              <p:cNvPr id="52" name="Rectangle 51">
                <a:extLst>
                  <a:ext uri="{FF2B5EF4-FFF2-40B4-BE49-F238E27FC236}">
                    <a16:creationId xmlns:a16="http://schemas.microsoft.com/office/drawing/2014/main" id="{94EF8454-9F8C-3428-B289-5265B770D4D6}"/>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53" name="TextBox 52">
                <a:extLst>
                  <a:ext uri="{FF2B5EF4-FFF2-40B4-BE49-F238E27FC236}">
                    <a16:creationId xmlns:a16="http://schemas.microsoft.com/office/drawing/2014/main" id="{D2D732FA-5812-3627-41F5-13EC7BE238A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54" name="Graphic 53">
                <a:extLst>
                  <a:ext uri="{FF2B5EF4-FFF2-40B4-BE49-F238E27FC236}">
                    <a16:creationId xmlns:a16="http://schemas.microsoft.com/office/drawing/2014/main" id="{C48FD4DE-82F7-241F-D7E4-DA147EC73D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5" name="TextBox 54">
                <a:extLst>
                  <a:ext uri="{FF2B5EF4-FFF2-40B4-BE49-F238E27FC236}">
                    <a16:creationId xmlns:a16="http://schemas.microsoft.com/office/drawing/2014/main" id="{493C554B-F2AE-D182-0BD9-5202CCFD883C}"/>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56" name="TextBox 55">
                <a:extLst>
                  <a:ext uri="{FF2B5EF4-FFF2-40B4-BE49-F238E27FC236}">
                    <a16:creationId xmlns:a16="http://schemas.microsoft.com/office/drawing/2014/main" id="{4FB370AD-8DC4-4D79-00B8-8F1C501EA957}"/>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57" name="TextBox 56">
                <a:extLst>
                  <a:ext uri="{FF2B5EF4-FFF2-40B4-BE49-F238E27FC236}">
                    <a16:creationId xmlns:a16="http://schemas.microsoft.com/office/drawing/2014/main" id="{627DAD30-D990-7235-92F0-AE0B7B3A9719}"/>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58" name="TextBox 57">
                <a:extLst>
                  <a:ext uri="{FF2B5EF4-FFF2-40B4-BE49-F238E27FC236}">
                    <a16:creationId xmlns:a16="http://schemas.microsoft.com/office/drawing/2014/main" id="{D5454D59-F452-70F9-9FDB-29E108C417A4}"/>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59" name="Straight Connector 58">
                <a:extLst>
                  <a:ext uri="{FF2B5EF4-FFF2-40B4-BE49-F238E27FC236}">
                    <a16:creationId xmlns:a16="http://schemas.microsoft.com/office/drawing/2014/main" id="{89D4B714-1611-59E8-1759-044BCAC63592}"/>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60" name="TextBox 59">
                <a:extLst>
                  <a:ext uri="{FF2B5EF4-FFF2-40B4-BE49-F238E27FC236}">
                    <a16:creationId xmlns:a16="http://schemas.microsoft.com/office/drawing/2014/main" id="{B50850A9-4ADE-3CB9-AE35-370AB547571D}"/>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4" name="Footer Placeholder 3">
            <a:extLst>
              <a:ext uri="{FF2B5EF4-FFF2-40B4-BE49-F238E27FC236}">
                <a16:creationId xmlns:a16="http://schemas.microsoft.com/office/drawing/2014/main" id="{0C61BEB9-0856-A8B3-E6F6-CC8CF273C00B}"/>
              </a:ext>
            </a:extLst>
          </p:cNvPr>
          <p:cNvSpPr>
            <a:spLocks noGrp="1"/>
          </p:cNvSpPr>
          <p:nvPr>
            <p:ph type="ftr" sz="quarter" idx="28"/>
          </p:nvPr>
        </p:nvSpPr>
        <p:spPr/>
        <p:txBody>
          <a:bodyPr/>
          <a:lstStyle>
            <a:lvl1pPr>
              <a:defRPr>
                <a:solidFill>
                  <a:schemeClr val="accent6">
                    <a:lumMod val="50000"/>
                  </a:schemeClr>
                </a:solidFill>
              </a:defRPr>
            </a:lvl1pPr>
          </a:lstStyle>
          <a:p>
            <a:r>
              <a:rPr lang="en-CA"/>
              <a:t>5G Broadcast Conference</a:t>
            </a:r>
          </a:p>
        </p:txBody>
      </p:sp>
    </p:spTree>
    <p:extLst>
      <p:ext uri="{BB962C8B-B14F-4D97-AF65-F5344CB8AC3E}">
        <p14:creationId xmlns:p14="http://schemas.microsoft.com/office/powerpoint/2010/main" val="1772279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320">
          <p15:clr>
            <a:srgbClr val="FBAE40"/>
          </p15:clr>
        </p15:guide>
        <p15:guide id="15" pos="209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116785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showMasterSp="0" preserve="1" userDrawn="1">
  <p:cSld name="Two Column_Light 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Two column layout</a:t>
            </a:r>
            <a:br>
              <a:rPr lang="en-US"/>
            </a:br>
            <a:r>
              <a:rPr lang="en-US"/>
              <a:t>Title 2 lines maximum</a:t>
            </a:r>
            <a:endParaRPr lang="en-CA"/>
          </a:p>
        </p:txBody>
      </p:sp>
      <p:sp>
        <p:nvSpPr>
          <p:cNvPr id="8" name="Picture Placeholder 2">
            <a:extLst>
              <a:ext uri="{FF2B5EF4-FFF2-40B4-BE49-F238E27FC236}">
                <a16:creationId xmlns:a16="http://schemas.microsoft.com/office/drawing/2014/main" id="{BDA827D7-28EB-4441-6CCA-2B0C03B56D27}"/>
              </a:ext>
            </a:extLst>
          </p:cNvPr>
          <p:cNvSpPr>
            <a:spLocks noGrp="1" noChangeAspect="1"/>
          </p:cNvSpPr>
          <p:nvPr>
            <p:ph type="pic" sz="quarter" idx="25" hasCustomPrompt="1"/>
          </p:nvPr>
        </p:nvSpPr>
        <p:spPr>
          <a:xfrm>
            <a:off x="531812" y="1601038"/>
            <a:ext cx="835024" cy="835024"/>
          </a:xfrm>
        </p:spPr>
        <p:txBody>
          <a:bodyPr lIns="144000"/>
          <a:lstStyle>
            <a:lvl1pPr marL="0" indent="0">
              <a:buNone/>
              <a:defRPr sz="1400"/>
            </a:lvl1pPr>
          </a:lstStyle>
          <a:p>
            <a:r>
              <a:rPr lang="en-US"/>
              <a:t>Icon</a:t>
            </a:r>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2489200"/>
            <a:ext cx="5419727" cy="905188"/>
          </a:xfrm>
          <a:prstGeom prst="callout1">
            <a:avLst>
              <a:gd name="adj1" fmla="val 93708"/>
              <a:gd name="adj2" fmla="val -69"/>
              <a:gd name="adj3" fmla="val 93686"/>
              <a:gd name="adj4" fmla="val 11746"/>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lvl1pPr>
              <a:defRPr>
                <a:solidFill>
                  <a:schemeClr val="accent6">
                    <a:lumMod val="50000"/>
                  </a:schemeClr>
                </a:solidFill>
              </a:defRPr>
            </a:lvl1pPr>
          </a:lstStyle>
          <a:p>
            <a:r>
              <a:rPr lang="en-CA"/>
              <a:t>5G Broadcast Conference</a:t>
            </a:r>
          </a:p>
        </p:txBody>
      </p:sp>
      <p:sp>
        <p:nvSpPr>
          <p:cNvPr id="9" name="Picture Placeholder 2">
            <a:extLst>
              <a:ext uri="{FF2B5EF4-FFF2-40B4-BE49-F238E27FC236}">
                <a16:creationId xmlns:a16="http://schemas.microsoft.com/office/drawing/2014/main" id="{549703AA-9655-8130-40CE-159745CE956D}"/>
              </a:ext>
            </a:extLst>
          </p:cNvPr>
          <p:cNvSpPr>
            <a:spLocks noGrp="1" noChangeAspect="1"/>
          </p:cNvSpPr>
          <p:nvPr>
            <p:ph type="pic" sz="quarter" idx="33" hasCustomPrompt="1"/>
          </p:nvPr>
        </p:nvSpPr>
        <p:spPr>
          <a:xfrm>
            <a:off x="6240018" y="1601038"/>
            <a:ext cx="835024" cy="835024"/>
          </a:xfrm>
        </p:spPr>
        <p:txBody>
          <a:bodyPr lIns="144000"/>
          <a:lstStyle>
            <a:lvl1pPr marL="0" indent="0">
              <a:buNone/>
              <a:defRPr sz="1400"/>
            </a:lvl1pPr>
          </a:lstStyle>
          <a:p>
            <a:r>
              <a:rPr lang="en-US"/>
              <a:t>Icon</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2489200"/>
            <a:ext cx="5419727" cy="905188"/>
          </a:xfrm>
          <a:prstGeom prst="callout1">
            <a:avLst>
              <a:gd name="adj1" fmla="val 93708"/>
              <a:gd name="adj2" fmla="val -69"/>
              <a:gd name="adj3" fmla="val 93686"/>
              <a:gd name="adj4" fmla="val 11746"/>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3651121"/>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grpSp>
        <p:nvGrpSpPr>
          <p:cNvPr id="4" name="Group 3">
            <a:extLst>
              <a:ext uri="{FF2B5EF4-FFF2-40B4-BE49-F238E27FC236}">
                <a16:creationId xmlns:a16="http://schemas.microsoft.com/office/drawing/2014/main" id="{E73B40A2-055E-A2B0-BFF2-3F99C06D5A4B}"/>
              </a:ext>
            </a:extLst>
          </p:cNvPr>
          <p:cNvGrpSpPr/>
          <p:nvPr userDrawn="1"/>
        </p:nvGrpSpPr>
        <p:grpSpPr>
          <a:xfrm>
            <a:off x="12290489" y="-1"/>
            <a:ext cx="2910882" cy="6858001"/>
            <a:chOff x="12290489" y="-1"/>
            <a:chExt cx="2910882" cy="6858001"/>
          </a:xfrm>
        </p:grpSpPr>
        <p:sp>
          <p:nvSpPr>
            <p:cNvPr id="5" name="Rectangle 4">
              <a:extLst>
                <a:ext uri="{FF2B5EF4-FFF2-40B4-BE49-F238E27FC236}">
                  <a16:creationId xmlns:a16="http://schemas.microsoft.com/office/drawing/2014/main" id="{EDEE752C-E1A4-F697-78F4-D3A984FA9AFE}"/>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13" name="TextBox 12">
              <a:extLst>
                <a:ext uri="{FF2B5EF4-FFF2-40B4-BE49-F238E27FC236}">
                  <a16:creationId xmlns:a16="http://schemas.microsoft.com/office/drawing/2014/main" id="{D6F854B4-791D-298D-82F6-F1E540D94D4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14" name="Straight Connector 13">
              <a:extLst>
                <a:ext uri="{FF2B5EF4-FFF2-40B4-BE49-F238E27FC236}">
                  <a16:creationId xmlns:a16="http://schemas.microsoft.com/office/drawing/2014/main" id="{267F22F2-E4EE-CEDC-B460-36FA6E7CD5C5}"/>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5" name="TextBox 14">
              <a:extLst>
                <a:ext uri="{FF2B5EF4-FFF2-40B4-BE49-F238E27FC236}">
                  <a16:creationId xmlns:a16="http://schemas.microsoft.com/office/drawing/2014/main" id="{85789A14-1EA0-EF0D-54AF-B13D8339D387}"/>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6" name="TextBox 15">
              <a:extLst>
                <a:ext uri="{FF2B5EF4-FFF2-40B4-BE49-F238E27FC236}">
                  <a16:creationId xmlns:a16="http://schemas.microsoft.com/office/drawing/2014/main" id="{755E332A-EF30-A112-697B-F58A11E2ACD9}"/>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7" name="TextBox 16">
              <a:extLst>
                <a:ext uri="{FF2B5EF4-FFF2-40B4-BE49-F238E27FC236}">
                  <a16:creationId xmlns:a16="http://schemas.microsoft.com/office/drawing/2014/main" id="{06428AB7-9A66-D178-754C-96C736142CCB}"/>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8" name="TextBox 17">
              <a:extLst>
                <a:ext uri="{FF2B5EF4-FFF2-40B4-BE49-F238E27FC236}">
                  <a16:creationId xmlns:a16="http://schemas.microsoft.com/office/drawing/2014/main" id="{50B98DCC-649C-7F0A-8855-3B2ABC32E6D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9" name="TextBox 18">
              <a:extLst>
                <a:ext uri="{FF2B5EF4-FFF2-40B4-BE49-F238E27FC236}">
                  <a16:creationId xmlns:a16="http://schemas.microsoft.com/office/drawing/2014/main" id="{6DE41E0E-8A18-AA10-9731-51FAC49D5895}"/>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20" name="TextBox 19">
              <a:extLst>
                <a:ext uri="{FF2B5EF4-FFF2-40B4-BE49-F238E27FC236}">
                  <a16:creationId xmlns:a16="http://schemas.microsoft.com/office/drawing/2014/main" id="{CF48917A-AD97-415A-90D7-5893029BFEED}"/>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21" name="Group 20">
              <a:extLst>
                <a:ext uri="{FF2B5EF4-FFF2-40B4-BE49-F238E27FC236}">
                  <a16:creationId xmlns:a16="http://schemas.microsoft.com/office/drawing/2014/main" id="{484A08CC-B4A7-E637-B3B8-9C7BEC8972CF}"/>
                </a:ext>
              </a:extLst>
            </p:cNvPr>
            <p:cNvGrpSpPr/>
            <p:nvPr userDrawn="1"/>
          </p:nvGrpSpPr>
          <p:grpSpPr>
            <a:xfrm>
              <a:off x="12429548" y="3236396"/>
              <a:ext cx="2735151" cy="1280928"/>
              <a:chOff x="9286315" y="6976989"/>
              <a:chExt cx="2735151" cy="1280928"/>
            </a:xfrm>
          </p:grpSpPr>
          <p:sp>
            <p:nvSpPr>
              <p:cNvPr id="32" name="Rectangle 31">
                <a:extLst>
                  <a:ext uri="{FF2B5EF4-FFF2-40B4-BE49-F238E27FC236}">
                    <a16:creationId xmlns:a16="http://schemas.microsoft.com/office/drawing/2014/main" id="{28618616-B797-3EE5-4427-875C50F617CA}"/>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3" name="TextBox 32">
                <a:extLst>
                  <a:ext uri="{FF2B5EF4-FFF2-40B4-BE49-F238E27FC236}">
                    <a16:creationId xmlns:a16="http://schemas.microsoft.com/office/drawing/2014/main" id="{DD9DFDBF-EA94-773D-3E7F-123BBBCBEDC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34" name="Graphic 33">
                <a:extLst>
                  <a:ext uri="{FF2B5EF4-FFF2-40B4-BE49-F238E27FC236}">
                    <a16:creationId xmlns:a16="http://schemas.microsoft.com/office/drawing/2014/main" id="{A222012F-1DEC-198D-C75A-DF86517B51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5" name="TextBox 34">
                <a:extLst>
                  <a:ext uri="{FF2B5EF4-FFF2-40B4-BE49-F238E27FC236}">
                    <a16:creationId xmlns:a16="http://schemas.microsoft.com/office/drawing/2014/main" id="{2D4DDD9F-0948-892E-48F0-9F7CF685944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36" name="Picture 35">
                <a:extLst>
                  <a:ext uri="{FF2B5EF4-FFF2-40B4-BE49-F238E27FC236}">
                    <a16:creationId xmlns:a16="http://schemas.microsoft.com/office/drawing/2014/main" id="{575D8087-DA52-537B-654B-7335D1A8933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4" name="TextBox 63">
                <a:extLst>
                  <a:ext uri="{FF2B5EF4-FFF2-40B4-BE49-F238E27FC236}">
                    <a16:creationId xmlns:a16="http://schemas.microsoft.com/office/drawing/2014/main" id="{9A78683B-4C0B-8A46-28EE-2CCB4517F58A}"/>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22" name="Group 21">
              <a:extLst>
                <a:ext uri="{FF2B5EF4-FFF2-40B4-BE49-F238E27FC236}">
                  <a16:creationId xmlns:a16="http://schemas.microsoft.com/office/drawing/2014/main" id="{2B779AA1-E5B3-C52E-0804-1909427F8692}"/>
                </a:ext>
              </a:extLst>
            </p:cNvPr>
            <p:cNvGrpSpPr/>
            <p:nvPr userDrawn="1"/>
          </p:nvGrpSpPr>
          <p:grpSpPr>
            <a:xfrm>
              <a:off x="12429548" y="4543123"/>
              <a:ext cx="2735151" cy="2200108"/>
              <a:chOff x="9538241" y="5155416"/>
              <a:chExt cx="2735151" cy="2200108"/>
            </a:xfrm>
          </p:grpSpPr>
          <p:sp>
            <p:nvSpPr>
              <p:cNvPr id="23" name="Rectangle 22">
                <a:extLst>
                  <a:ext uri="{FF2B5EF4-FFF2-40B4-BE49-F238E27FC236}">
                    <a16:creationId xmlns:a16="http://schemas.microsoft.com/office/drawing/2014/main" id="{4715FDF0-F4E4-791F-2F02-4CB6CBC1FCBC}"/>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24" name="TextBox 23">
                <a:extLst>
                  <a:ext uri="{FF2B5EF4-FFF2-40B4-BE49-F238E27FC236}">
                    <a16:creationId xmlns:a16="http://schemas.microsoft.com/office/drawing/2014/main" id="{863BBF2E-92AD-D0EE-9CC1-8D77FA47323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25" name="Graphic 24">
                <a:extLst>
                  <a:ext uri="{FF2B5EF4-FFF2-40B4-BE49-F238E27FC236}">
                    <a16:creationId xmlns:a16="http://schemas.microsoft.com/office/drawing/2014/main" id="{B0A35D3F-F060-3B43-E155-E9A443DFE7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6" name="TextBox 25">
                <a:extLst>
                  <a:ext uri="{FF2B5EF4-FFF2-40B4-BE49-F238E27FC236}">
                    <a16:creationId xmlns:a16="http://schemas.microsoft.com/office/drawing/2014/main" id="{FB143D18-DF39-46C9-DAE4-64C09E6C5111}"/>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27" name="TextBox 26">
                <a:extLst>
                  <a:ext uri="{FF2B5EF4-FFF2-40B4-BE49-F238E27FC236}">
                    <a16:creationId xmlns:a16="http://schemas.microsoft.com/office/drawing/2014/main" id="{8A962D4B-B0AB-F956-4AD2-7A0D8109B74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8" name="TextBox 27">
                <a:extLst>
                  <a:ext uri="{FF2B5EF4-FFF2-40B4-BE49-F238E27FC236}">
                    <a16:creationId xmlns:a16="http://schemas.microsoft.com/office/drawing/2014/main" id="{5C7490AF-2195-0CB4-1238-0DF1D762981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29" name="TextBox 28">
                <a:extLst>
                  <a:ext uri="{FF2B5EF4-FFF2-40B4-BE49-F238E27FC236}">
                    <a16:creationId xmlns:a16="http://schemas.microsoft.com/office/drawing/2014/main" id="{6440AADE-636F-2B92-B641-FC0392D663FB}"/>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0" name="Straight Connector 29">
                <a:extLst>
                  <a:ext uri="{FF2B5EF4-FFF2-40B4-BE49-F238E27FC236}">
                    <a16:creationId xmlns:a16="http://schemas.microsoft.com/office/drawing/2014/main" id="{102D8CF1-F51D-5520-CD8F-C7DB754030EB}"/>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1" name="TextBox 30">
                <a:extLst>
                  <a:ext uri="{FF2B5EF4-FFF2-40B4-BE49-F238E27FC236}">
                    <a16:creationId xmlns:a16="http://schemas.microsoft.com/office/drawing/2014/main" id="{E22151D4-22CC-F8A9-A66E-6D43C913DBA4}"/>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38" name="TextBox 37">
            <a:extLst>
              <a:ext uri="{FF2B5EF4-FFF2-40B4-BE49-F238E27FC236}">
                <a16:creationId xmlns:a16="http://schemas.microsoft.com/office/drawing/2014/main" id="{F3258392-167B-4CF7-BE39-C4B01FB79396}"/>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1217408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1.xml><?xml version="1.0" encoding="utf-8"?>
<p:sldLayout xmlns:a="http://schemas.openxmlformats.org/drawingml/2006/main" xmlns:r="http://schemas.openxmlformats.org/officeDocument/2006/relationships" xmlns:p="http://schemas.openxmlformats.org/presentationml/2006/main" showMasterSp="0" preserve="1" userDrawn="1">
  <p:cSld name="Three Column_Light 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Three column layout</a:t>
            </a:r>
            <a:br>
              <a:rPr lang="en-US"/>
            </a:br>
            <a:r>
              <a:rPr lang="en-US"/>
              <a:t>Title 2 lines maximum</a:t>
            </a:r>
            <a:endParaRPr lang="en-CA"/>
          </a:p>
        </p:txBody>
      </p:sp>
      <p:sp>
        <p:nvSpPr>
          <p:cNvPr id="6" name="Picture Placeholder 2">
            <a:extLst>
              <a:ext uri="{FF2B5EF4-FFF2-40B4-BE49-F238E27FC236}">
                <a16:creationId xmlns:a16="http://schemas.microsoft.com/office/drawing/2014/main" id="{029115E3-9D47-7E7E-69DC-D8DCC36D5A95}"/>
              </a:ext>
            </a:extLst>
          </p:cNvPr>
          <p:cNvSpPr>
            <a:spLocks noGrp="1" noChangeAspect="1"/>
          </p:cNvSpPr>
          <p:nvPr>
            <p:ph type="pic" sz="quarter" idx="29" hasCustomPrompt="1"/>
          </p:nvPr>
        </p:nvSpPr>
        <p:spPr>
          <a:xfrm>
            <a:off x="531811" y="1601038"/>
            <a:ext cx="835024" cy="835024"/>
          </a:xfrm>
        </p:spPr>
        <p:txBody>
          <a:bodyPr lIns="144000"/>
          <a:lstStyle>
            <a:lvl1pPr marL="0" indent="0">
              <a:buNone/>
              <a:defRPr sz="1400"/>
            </a:lvl1pPr>
          </a:lstStyle>
          <a:p>
            <a:r>
              <a:rPr lang="en-US"/>
              <a:t>Icon</a:t>
            </a:r>
          </a:p>
        </p:txBody>
      </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lvl1pPr>
              <a:defRPr>
                <a:solidFill>
                  <a:schemeClr val="accent6">
                    <a:lumMod val="50000"/>
                  </a:schemeClr>
                </a:solidFill>
              </a:defRPr>
            </a:lvl1p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2489200"/>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139D0396-5251-18D3-6D1D-FB672FB44CDE}"/>
              </a:ext>
            </a:extLst>
          </p:cNvPr>
          <p:cNvSpPr>
            <a:spLocks noGrp="1" noChangeAspect="1"/>
          </p:cNvSpPr>
          <p:nvPr>
            <p:ph type="pic" sz="quarter" idx="45" hasCustomPrompt="1"/>
          </p:nvPr>
        </p:nvSpPr>
        <p:spPr>
          <a:xfrm>
            <a:off x="4340711"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2489200"/>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9" name="Picture Placeholder 2">
            <a:extLst>
              <a:ext uri="{FF2B5EF4-FFF2-40B4-BE49-F238E27FC236}">
                <a16:creationId xmlns:a16="http://schemas.microsoft.com/office/drawing/2014/main" id="{EB49F5C6-BE22-7E23-F398-419AF46EA9C3}"/>
              </a:ext>
            </a:extLst>
          </p:cNvPr>
          <p:cNvSpPr>
            <a:spLocks noGrp="1" noChangeAspect="1"/>
          </p:cNvSpPr>
          <p:nvPr>
            <p:ph type="pic" sz="quarter" idx="48" hasCustomPrompt="1"/>
          </p:nvPr>
        </p:nvSpPr>
        <p:spPr>
          <a:xfrm>
            <a:off x="8149611" y="1601038"/>
            <a:ext cx="835024" cy="835024"/>
          </a:xfrm>
        </p:spPr>
        <p:txBody>
          <a:bodyPr lIns="144000"/>
          <a:lstStyle>
            <a:lvl1pPr marL="0" indent="0">
              <a:buNone/>
              <a:defRPr sz="1400"/>
            </a:lvl1pPr>
          </a:lstStyle>
          <a:p>
            <a:r>
              <a:rPr lang="en-US"/>
              <a:t>Icon</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2489200"/>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3651121"/>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grpSp>
        <p:nvGrpSpPr>
          <p:cNvPr id="5" name="Group 4">
            <a:extLst>
              <a:ext uri="{FF2B5EF4-FFF2-40B4-BE49-F238E27FC236}">
                <a16:creationId xmlns:a16="http://schemas.microsoft.com/office/drawing/2014/main" id="{65B3743D-9C24-F821-BD8E-F0F93E26B9DD}"/>
              </a:ext>
            </a:extLst>
          </p:cNvPr>
          <p:cNvGrpSpPr/>
          <p:nvPr userDrawn="1"/>
        </p:nvGrpSpPr>
        <p:grpSpPr>
          <a:xfrm>
            <a:off x="12290489" y="-1"/>
            <a:ext cx="2910882" cy="6858001"/>
            <a:chOff x="12290489" y="-1"/>
            <a:chExt cx="2910882" cy="6858001"/>
          </a:xfrm>
        </p:grpSpPr>
        <p:sp>
          <p:nvSpPr>
            <p:cNvPr id="7" name="Rectangle 6">
              <a:extLst>
                <a:ext uri="{FF2B5EF4-FFF2-40B4-BE49-F238E27FC236}">
                  <a16:creationId xmlns:a16="http://schemas.microsoft.com/office/drawing/2014/main" id="{78ED221D-8725-5420-6ADD-1A518E5DD38D}"/>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8" name="TextBox 7">
              <a:extLst>
                <a:ext uri="{FF2B5EF4-FFF2-40B4-BE49-F238E27FC236}">
                  <a16:creationId xmlns:a16="http://schemas.microsoft.com/office/drawing/2014/main" id="{FB9B9525-CEDA-1294-597D-01D341E152DE}"/>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10" name="Straight Connector 9">
              <a:extLst>
                <a:ext uri="{FF2B5EF4-FFF2-40B4-BE49-F238E27FC236}">
                  <a16:creationId xmlns:a16="http://schemas.microsoft.com/office/drawing/2014/main" id="{43E5A438-D8C5-4E45-098A-BEB3ABB62F06}"/>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1" name="TextBox 10">
              <a:extLst>
                <a:ext uri="{FF2B5EF4-FFF2-40B4-BE49-F238E27FC236}">
                  <a16:creationId xmlns:a16="http://schemas.microsoft.com/office/drawing/2014/main" id="{C5EAF0A3-7CF3-7DF9-F0F4-3C56A2782829}"/>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2" name="TextBox 11">
              <a:extLst>
                <a:ext uri="{FF2B5EF4-FFF2-40B4-BE49-F238E27FC236}">
                  <a16:creationId xmlns:a16="http://schemas.microsoft.com/office/drawing/2014/main" id="{DE24736E-4729-087F-E4D8-819A51AED226}"/>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3" name="TextBox 12">
              <a:extLst>
                <a:ext uri="{FF2B5EF4-FFF2-40B4-BE49-F238E27FC236}">
                  <a16:creationId xmlns:a16="http://schemas.microsoft.com/office/drawing/2014/main" id="{A47CAA82-566E-2866-F0C2-66CE1136CA4B}"/>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4" name="TextBox 13">
              <a:extLst>
                <a:ext uri="{FF2B5EF4-FFF2-40B4-BE49-F238E27FC236}">
                  <a16:creationId xmlns:a16="http://schemas.microsoft.com/office/drawing/2014/main" id="{92AEA30F-71D3-9C46-6D87-AB0A6841E8A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5" name="TextBox 14">
              <a:extLst>
                <a:ext uri="{FF2B5EF4-FFF2-40B4-BE49-F238E27FC236}">
                  <a16:creationId xmlns:a16="http://schemas.microsoft.com/office/drawing/2014/main" id="{CB150EA6-46A5-FDAD-CEFA-9DDE9E8E996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16" name="TextBox 15">
              <a:extLst>
                <a:ext uri="{FF2B5EF4-FFF2-40B4-BE49-F238E27FC236}">
                  <a16:creationId xmlns:a16="http://schemas.microsoft.com/office/drawing/2014/main" id="{90F3F872-94D4-C722-309A-1D6691641FCB}"/>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17" name="Group 16">
              <a:extLst>
                <a:ext uri="{FF2B5EF4-FFF2-40B4-BE49-F238E27FC236}">
                  <a16:creationId xmlns:a16="http://schemas.microsoft.com/office/drawing/2014/main" id="{68957A1D-3164-7C9A-4797-EBE26C314C3B}"/>
                </a:ext>
              </a:extLst>
            </p:cNvPr>
            <p:cNvGrpSpPr/>
            <p:nvPr userDrawn="1"/>
          </p:nvGrpSpPr>
          <p:grpSpPr>
            <a:xfrm>
              <a:off x="12429548" y="3236396"/>
              <a:ext cx="2735151" cy="1280928"/>
              <a:chOff x="9286315" y="6976989"/>
              <a:chExt cx="2735151" cy="1280928"/>
            </a:xfrm>
          </p:grpSpPr>
          <p:sp>
            <p:nvSpPr>
              <p:cNvPr id="35" name="Rectangle 34">
                <a:extLst>
                  <a:ext uri="{FF2B5EF4-FFF2-40B4-BE49-F238E27FC236}">
                    <a16:creationId xmlns:a16="http://schemas.microsoft.com/office/drawing/2014/main" id="{749A0E7D-BB6C-DC53-5932-E92A9895F94E}"/>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6" name="TextBox 35">
                <a:extLst>
                  <a:ext uri="{FF2B5EF4-FFF2-40B4-BE49-F238E27FC236}">
                    <a16:creationId xmlns:a16="http://schemas.microsoft.com/office/drawing/2014/main" id="{C9EE17A2-D61C-7396-51E8-7875298A2FDD}"/>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37" name="Graphic 36">
                <a:extLst>
                  <a:ext uri="{FF2B5EF4-FFF2-40B4-BE49-F238E27FC236}">
                    <a16:creationId xmlns:a16="http://schemas.microsoft.com/office/drawing/2014/main" id="{CC29DA1D-5C20-3232-7CC7-6EE236625A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8" name="TextBox 37">
                <a:extLst>
                  <a:ext uri="{FF2B5EF4-FFF2-40B4-BE49-F238E27FC236}">
                    <a16:creationId xmlns:a16="http://schemas.microsoft.com/office/drawing/2014/main" id="{3EC6F884-A27E-5CD2-3BC6-0DC73A5EA1E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39" name="Picture 38">
                <a:extLst>
                  <a:ext uri="{FF2B5EF4-FFF2-40B4-BE49-F238E27FC236}">
                    <a16:creationId xmlns:a16="http://schemas.microsoft.com/office/drawing/2014/main" id="{31A8D6E6-823F-A29B-F2E8-EEED1B2573A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0" name="TextBox 129">
                <a:extLst>
                  <a:ext uri="{FF2B5EF4-FFF2-40B4-BE49-F238E27FC236}">
                    <a16:creationId xmlns:a16="http://schemas.microsoft.com/office/drawing/2014/main" id="{D1250832-1357-7685-30D5-6F422478202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18" name="Group 17">
              <a:extLst>
                <a:ext uri="{FF2B5EF4-FFF2-40B4-BE49-F238E27FC236}">
                  <a16:creationId xmlns:a16="http://schemas.microsoft.com/office/drawing/2014/main" id="{996BDF38-5D5A-7286-B3D1-D8BC245AB26E}"/>
                </a:ext>
              </a:extLst>
            </p:cNvPr>
            <p:cNvGrpSpPr/>
            <p:nvPr userDrawn="1"/>
          </p:nvGrpSpPr>
          <p:grpSpPr>
            <a:xfrm>
              <a:off x="12429548" y="4543123"/>
              <a:ext cx="2735151" cy="2200108"/>
              <a:chOff x="9538241" y="5155416"/>
              <a:chExt cx="2735151" cy="2200108"/>
            </a:xfrm>
          </p:grpSpPr>
          <p:sp>
            <p:nvSpPr>
              <p:cNvPr id="19" name="Rectangle 18">
                <a:extLst>
                  <a:ext uri="{FF2B5EF4-FFF2-40B4-BE49-F238E27FC236}">
                    <a16:creationId xmlns:a16="http://schemas.microsoft.com/office/drawing/2014/main" id="{52F890FD-3E71-1E19-8156-2B8E77BA5212}"/>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20" name="TextBox 19">
                <a:extLst>
                  <a:ext uri="{FF2B5EF4-FFF2-40B4-BE49-F238E27FC236}">
                    <a16:creationId xmlns:a16="http://schemas.microsoft.com/office/drawing/2014/main" id="{C7C11C8F-7495-936C-44F5-DD49D8356E8A}"/>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21" name="Graphic 20">
                <a:extLst>
                  <a:ext uri="{FF2B5EF4-FFF2-40B4-BE49-F238E27FC236}">
                    <a16:creationId xmlns:a16="http://schemas.microsoft.com/office/drawing/2014/main" id="{1DF552A5-0CEA-5C09-A872-E89B8542BD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2" name="TextBox 21">
                <a:extLst>
                  <a:ext uri="{FF2B5EF4-FFF2-40B4-BE49-F238E27FC236}">
                    <a16:creationId xmlns:a16="http://schemas.microsoft.com/office/drawing/2014/main" id="{FE5E19C4-D573-8B8F-CCD4-0E22D31EE626}"/>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24" name="TextBox 23">
                <a:extLst>
                  <a:ext uri="{FF2B5EF4-FFF2-40B4-BE49-F238E27FC236}">
                    <a16:creationId xmlns:a16="http://schemas.microsoft.com/office/drawing/2014/main" id="{74D58CE0-ED6F-40C6-B10A-55AD6C041AC3}"/>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5" name="TextBox 24">
                <a:extLst>
                  <a:ext uri="{FF2B5EF4-FFF2-40B4-BE49-F238E27FC236}">
                    <a16:creationId xmlns:a16="http://schemas.microsoft.com/office/drawing/2014/main" id="{4C402F46-AF91-7BB6-4204-80F290DEA47F}"/>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32" name="TextBox 31">
                <a:extLst>
                  <a:ext uri="{FF2B5EF4-FFF2-40B4-BE49-F238E27FC236}">
                    <a16:creationId xmlns:a16="http://schemas.microsoft.com/office/drawing/2014/main" id="{3149A399-5087-70A2-6BF5-52886790607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3" name="Straight Connector 32">
                <a:extLst>
                  <a:ext uri="{FF2B5EF4-FFF2-40B4-BE49-F238E27FC236}">
                    <a16:creationId xmlns:a16="http://schemas.microsoft.com/office/drawing/2014/main" id="{137B95FA-9D58-CE66-E3D8-EFB2EC558B8D}"/>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4" name="TextBox 33">
                <a:extLst>
                  <a:ext uri="{FF2B5EF4-FFF2-40B4-BE49-F238E27FC236}">
                    <a16:creationId xmlns:a16="http://schemas.microsoft.com/office/drawing/2014/main" id="{9FAEB621-C4CB-6879-AEA5-BE18B059BCD5}"/>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40" name="TextBox 39">
            <a:extLst>
              <a:ext uri="{FF2B5EF4-FFF2-40B4-BE49-F238E27FC236}">
                <a16:creationId xmlns:a16="http://schemas.microsoft.com/office/drawing/2014/main" id="{520969B7-224E-2F38-7C3E-D5755C48D09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3306767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2">
          <p15:clr>
            <a:srgbClr val="FBAE40"/>
          </p15:clr>
        </p15:guide>
      </p15:sldGuideLst>
    </p:ext>
  </p:extLst>
</p:sldLayout>
</file>

<file path=ppt/slideLayouts/slideLayout832.xml><?xml version="1.0" encoding="utf-8"?>
<p:sldLayout xmlns:a="http://schemas.openxmlformats.org/drawingml/2006/main" xmlns:r="http://schemas.openxmlformats.org/officeDocument/2006/relationships" xmlns:p="http://schemas.openxmlformats.org/presentationml/2006/main" showMasterSp="0" preserve="1" userDrawn="1">
  <p:cSld name="Four Column_Light 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Four column layout</a:t>
            </a:r>
            <a:br>
              <a:rPr lang="en-US"/>
            </a:br>
            <a:r>
              <a:rPr lang="en-US"/>
              <a:t>Title 2 lines maximum</a:t>
            </a:r>
            <a:endParaRPr lang="en-CA"/>
          </a:p>
        </p:txBody>
      </p:sp>
      <p:sp>
        <p:nvSpPr>
          <p:cNvPr id="4" name="Picture Placeholder 2">
            <a:extLst>
              <a:ext uri="{FF2B5EF4-FFF2-40B4-BE49-F238E27FC236}">
                <a16:creationId xmlns:a16="http://schemas.microsoft.com/office/drawing/2014/main" id="{0AAFB50F-094B-2881-F919-B1EE84ACE5D7}"/>
              </a:ext>
            </a:extLst>
          </p:cNvPr>
          <p:cNvSpPr>
            <a:spLocks noGrp="1" noChangeAspect="1"/>
          </p:cNvSpPr>
          <p:nvPr>
            <p:ph type="pic" sz="quarter" idx="31" hasCustomPrompt="1"/>
          </p:nvPr>
        </p:nvSpPr>
        <p:spPr>
          <a:xfrm>
            <a:off x="531812" y="1601038"/>
            <a:ext cx="835024" cy="835024"/>
          </a:xfrm>
        </p:spPr>
        <p:txBody>
          <a:bodyPr lIns="144000"/>
          <a:lstStyle>
            <a:lvl1pPr marL="0" indent="0">
              <a:buNone/>
              <a:defRPr sz="1400"/>
            </a:lvl1pPr>
          </a:lstStyle>
          <a:p>
            <a:r>
              <a:rPr lang="en-US"/>
              <a:t>Icon</a:t>
            </a:r>
          </a:p>
        </p:txBody>
      </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lvl1pPr>
              <a:defRPr>
                <a:solidFill>
                  <a:schemeClr val="accent6">
                    <a:lumMod val="50000"/>
                  </a:schemeClr>
                </a:solidFill>
              </a:defRPr>
            </a:lvl1p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2489200"/>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7" name="Picture Placeholder 2">
            <a:extLst>
              <a:ext uri="{FF2B5EF4-FFF2-40B4-BE49-F238E27FC236}">
                <a16:creationId xmlns:a16="http://schemas.microsoft.com/office/drawing/2014/main" id="{7742E333-DAE8-AADC-AB85-E09272B827B3}"/>
              </a:ext>
            </a:extLst>
          </p:cNvPr>
          <p:cNvSpPr>
            <a:spLocks noGrp="1" noChangeAspect="1"/>
          </p:cNvSpPr>
          <p:nvPr>
            <p:ph type="pic" sz="quarter" idx="50" hasCustomPrompt="1"/>
          </p:nvPr>
        </p:nvSpPr>
        <p:spPr>
          <a:xfrm>
            <a:off x="3380247" y="1601038"/>
            <a:ext cx="835024" cy="835024"/>
          </a:xfrm>
        </p:spPr>
        <p:txBody>
          <a:bodyPr lIns="144000"/>
          <a:lstStyle>
            <a:lvl1pPr marL="0" indent="0">
              <a:buNone/>
              <a:defRPr sz="1400"/>
            </a:lvl1pPr>
          </a:lstStyle>
          <a:p>
            <a:r>
              <a:rPr lang="en-US"/>
              <a:t>Icon</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2489200"/>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3" name="Picture Placeholder 2">
            <a:extLst>
              <a:ext uri="{FF2B5EF4-FFF2-40B4-BE49-F238E27FC236}">
                <a16:creationId xmlns:a16="http://schemas.microsoft.com/office/drawing/2014/main" id="{49D03249-A3CA-5A91-C717-27E68D6F7831}"/>
              </a:ext>
            </a:extLst>
          </p:cNvPr>
          <p:cNvSpPr>
            <a:spLocks noGrp="1" noChangeAspect="1"/>
          </p:cNvSpPr>
          <p:nvPr>
            <p:ph type="pic" sz="quarter" idx="53" hasCustomPrompt="1"/>
          </p:nvPr>
        </p:nvSpPr>
        <p:spPr>
          <a:xfrm>
            <a:off x="6228682" y="1601038"/>
            <a:ext cx="835024" cy="835024"/>
          </a:xfrm>
        </p:spPr>
        <p:txBody>
          <a:bodyPr lIns="144000"/>
          <a:lstStyle>
            <a:lvl1pPr marL="0" indent="0">
              <a:buNone/>
              <a:defRPr sz="1400"/>
            </a:lvl1pPr>
          </a:lstStyle>
          <a:p>
            <a:r>
              <a:rPr lang="en-US"/>
              <a:t>Icon</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2489200"/>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6" name="Picture Placeholder 2">
            <a:extLst>
              <a:ext uri="{FF2B5EF4-FFF2-40B4-BE49-F238E27FC236}">
                <a16:creationId xmlns:a16="http://schemas.microsoft.com/office/drawing/2014/main" id="{63A76360-B909-3A81-788A-127C2E0DCFCA}"/>
              </a:ext>
            </a:extLst>
          </p:cNvPr>
          <p:cNvSpPr>
            <a:spLocks noGrp="1" noChangeAspect="1"/>
          </p:cNvSpPr>
          <p:nvPr>
            <p:ph type="pic" sz="quarter" idx="56" hasCustomPrompt="1"/>
          </p:nvPr>
        </p:nvSpPr>
        <p:spPr>
          <a:xfrm>
            <a:off x="9077116" y="1601038"/>
            <a:ext cx="835024" cy="835024"/>
          </a:xfrm>
        </p:spPr>
        <p:txBody>
          <a:bodyPr lIns="144000"/>
          <a:lstStyle>
            <a:lvl1pPr marL="0" indent="0">
              <a:buNone/>
              <a:defRPr sz="1400"/>
            </a:lvl1pPr>
          </a:lstStyle>
          <a:p>
            <a:r>
              <a:rPr lang="en-US"/>
              <a:t>Icon</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2489200"/>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3651121"/>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grpSp>
        <p:nvGrpSpPr>
          <p:cNvPr id="5" name="Group 4">
            <a:extLst>
              <a:ext uri="{FF2B5EF4-FFF2-40B4-BE49-F238E27FC236}">
                <a16:creationId xmlns:a16="http://schemas.microsoft.com/office/drawing/2014/main" id="{96180A20-6F5E-927F-D8F6-A44BA15DE6A4}"/>
              </a:ext>
            </a:extLst>
          </p:cNvPr>
          <p:cNvGrpSpPr/>
          <p:nvPr userDrawn="1"/>
        </p:nvGrpSpPr>
        <p:grpSpPr>
          <a:xfrm>
            <a:off x="12290489" y="-1"/>
            <a:ext cx="2910882" cy="6858001"/>
            <a:chOff x="12290489" y="-1"/>
            <a:chExt cx="2910882" cy="6858001"/>
          </a:xfrm>
        </p:grpSpPr>
        <p:sp>
          <p:nvSpPr>
            <p:cNvPr id="7" name="Rectangle 6">
              <a:extLst>
                <a:ext uri="{FF2B5EF4-FFF2-40B4-BE49-F238E27FC236}">
                  <a16:creationId xmlns:a16="http://schemas.microsoft.com/office/drawing/2014/main" id="{BE12012F-EFF8-DEA3-A567-C8652882751D}"/>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8" name="TextBox 7">
              <a:extLst>
                <a:ext uri="{FF2B5EF4-FFF2-40B4-BE49-F238E27FC236}">
                  <a16:creationId xmlns:a16="http://schemas.microsoft.com/office/drawing/2014/main" id="{5667C743-9957-8ABA-735E-39F0DBF2E1EF}"/>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9" name="Straight Connector 8">
              <a:extLst>
                <a:ext uri="{FF2B5EF4-FFF2-40B4-BE49-F238E27FC236}">
                  <a16:creationId xmlns:a16="http://schemas.microsoft.com/office/drawing/2014/main" id="{A7970780-BCA8-0498-7CC6-650A37F797C0}"/>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0" name="TextBox 9">
              <a:extLst>
                <a:ext uri="{FF2B5EF4-FFF2-40B4-BE49-F238E27FC236}">
                  <a16:creationId xmlns:a16="http://schemas.microsoft.com/office/drawing/2014/main" id="{21ADBDA4-7D61-CF2E-6378-907CD43E358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1" name="TextBox 10">
              <a:extLst>
                <a:ext uri="{FF2B5EF4-FFF2-40B4-BE49-F238E27FC236}">
                  <a16:creationId xmlns:a16="http://schemas.microsoft.com/office/drawing/2014/main" id="{B5816EF0-93C7-2EE3-AFCC-C3DAB7DDA4AC}"/>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2" name="TextBox 11">
              <a:extLst>
                <a:ext uri="{FF2B5EF4-FFF2-40B4-BE49-F238E27FC236}">
                  <a16:creationId xmlns:a16="http://schemas.microsoft.com/office/drawing/2014/main" id="{AF949B1F-B12D-ABBE-06D2-4D6313886D9F}"/>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3" name="TextBox 12">
              <a:extLst>
                <a:ext uri="{FF2B5EF4-FFF2-40B4-BE49-F238E27FC236}">
                  <a16:creationId xmlns:a16="http://schemas.microsoft.com/office/drawing/2014/main" id="{BD87D508-6A96-42E0-EF1A-8F3D267AD189}"/>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4" name="TextBox 13">
              <a:extLst>
                <a:ext uri="{FF2B5EF4-FFF2-40B4-BE49-F238E27FC236}">
                  <a16:creationId xmlns:a16="http://schemas.microsoft.com/office/drawing/2014/main" id="{8E193CD7-02AA-87E4-83F0-9F2877F3847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20" name="TextBox 19">
              <a:extLst>
                <a:ext uri="{FF2B5EF4-FFF2-40B4-BE49-F238E27FC236}">
                  <a16:creationId xmlns:a16="http://schemas.microsoft.com/office/drawing/2014/main" id="{3C6906C6-174E-51C7-FBA8-97422549FE4C}"/>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21" name="Group 20">
              <a:extLst>
                <a:ext uri="{FF2B5EF4-FFF2-40B4-BE49-F238E27FC236}">
                  <a16:creationId xmlns:a16="http://schemas.microsoft.com/office/drawing/2014/main" id="{260CE4A8-0F0A-4C75-D776-4A1000990F4B}"/>
                </a:ext>
              </a:extLst>
            </p:cNvPr>
            <p:cNvGrpSpPr/>
            <p:nvPr userDrawn="1"/>
          </p:nvGrpSpPr>
          <p:grpSpPr>
            <a:xfrm>
              <a:off x="12429548" y="3236396"/>
              <a:ext cx="2735151" cy="1280928"/>
              <a:chOff x="9286315" y="6976989"/>
              <a:chExt cx="2735151" cy="1280928"/>
            </a:xfrm>
          </p:grpSpPr>
          <p:sp>
            <p:nvSpPr>
              <p:cNvPr id="38" name="Rectangle 37">
                <a:extLst>
                  <a:ext uri="{FF2B5EF4-FFF2-40B4-BE49-F238E27FC236}">
                    <a16:creationId xmlns:a16="http://schemas.microsoft.com/office/drawing/2014/main" id="{D6DF7B9B-9DDA-C33F-85FF-F83948A401AD}"/>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9" name="TextBox 38">
                <a:extLst>
                  <a:ext uri="{FF2B5EF4-FFF2-40B4-BE49-F238E27FC236}">
                    <a16:creationId xmlns:a16="http://schemas.microsoft.com/office/drawing/2014/main" id="{03EFCB32-9400-C460-757B-A7C79C8D2CDF}"/>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40" name="Graphic 39">
                <a:extLst>
                  <a:ext uri="{FF2B5EF4-FFF2-40B4-BE49-F238E27FC236}">
                    <a16:creationId xmlns:a16="http://schemas.microsoft.com/office/drawing/2014/main" id="{DC83CEE5-722F-4A2A-E4F1-8655BE1B6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6DB9F243-EA42-F273-6F4F-9E735DD7F93F}"/>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42" name="Picture 41">
                <a:extLst>
                  <a:ext uri="{FF2B5EF4-FFF2-40B4-BE49-F238E27FC236}">
                    <a16:creationId xmlns:a16="http://schemas.microsoft.com/office/drawing/2014/main" id="{5566EBE2-6A2E-A56C-E7C4-30802C3B8D3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0" name="TextBox 129">
                <a:extLst>
                  <a:ext uri="{FF2B5EF4-FFF2-40B4-BE49-F238E27FC236}">
                    <a16:creationId xmlns:a16="http://schemas.microsoft.com/office/drawing/2014/main" id="{6D813C75-EA44-DCE1-5697-1962589C9115}"/>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22" name="Group 21">
              <a:extLst>
                <a:ext uri="{FF2B5EF4-FFF2-40B4-BE49-F238E27FC236}">
                  <a16:creationId xmlns:a16="http://schemas.microsoft.com/office/drawing/2014/main" id="{C42BCB3F-53CE-B020-DE2F-6E483C5F107D}"/>
                </a:ext>
              </a:extLst>
            </p:cNvPr>
            <p:cNvGrpSpPr/>
            <p:nvPr userDrawn="1"/>
          </p:nvGrpSpPr>
          <p:grpSpPr>
            <a:xfrm>
              <a:off x="12429548" y="4543123"/>
              <a:ext cx="2735151" cy="2200108"/>
              <a:chOff x="9538241" y="5155416"/>
              <a:chExt cx="2735151" cy="2200108"/>
            </a:xfrm>
          </p:grpSpPr>
          <p:sp>
            <p:nvSpPr>
              <p:cNvPr id="29" name="Rectangle 28">
                <a:extLst>
                  <a:ext uri="{FF2B5EF4-FFF2-40B4-BE49-F238E27FC236}">
                    <a16:creationId xmlns:a16="http://schemas.microsoft.com/office/drawing/2014/main" id="{EED95C38-FD16-63F7-F5F6-7DD1558030AD}"/>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0" name="TextBox 29">
                <a:extLst>
                  <a:ext uri="{FF2B5EF4-FFF2-40B4-BE49-F238E27FC236}">
                    <a16:creationId xmlns:a16="http://schemas.microsoft.com/office/drawing/2014/main" id="{CE8E9BD3-3F87-525E-9458-2359423BE61C}"/>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31" name="Graphic 30">
                <a:extLst>
                  <a:ext uri="{FF2B5EF4-FFF2-40B4-BE49-F238E27FC236}">
                    <a16:creationId xmlns:a16="http://schemas.microsoft.com/office/drawing/2014/main" id="{7521EABE-1DDA-C28D-74A2-855EA80B88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32" name="TextBox 31">
                <a:extLst>
                  <a:ext uri="{FF2B5EF4-FFF2-40B4-BE49-F238E27FC236}">
                    <a16:creationId xmlns:a16="http://schemas.microsoft.com/office/drawing/2014/main" id="{11BF9854-367B-CBBA-CD2B-6DBCFB3FEEE3}"/>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33" name="TextBox 32">
                <a:extLst>
                  <a:ext uri="{FF2B5EF4-FFF2-40B4-BE49-F238E27FC236}">
                    <a16:creationId xmlns:a16="http://schemas.microsoft.com/office/drawing/2014/main" id="{8D80CDF4-B59D-389D-AA20-6E9F5EF00C86}"/>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34" name="TextBox 33">
                <a:extLst>
                  <a:ext uri="{FF2B5EF4-FFF2-40B4-BE49-F238E27FC236}">
                    <a16:creationId xmlns:a16="http://schemas.microsoft.com/office/drawing/2014/main" id="{DD3B16CD-3463-3F49-0200-168C495AFAA2}"/>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35" name="TextBox 34">
                <a:extLst>
                  <a:ext uri="{FF2B5EF4-FFF2-40B4-BE49-F238E27FC236}">
                    <a16:creationId xmlns:a16="http://schemas.microsoft.com/office/drawing/2014/main" id="{792CD33D-4A40-3353-AEB5-343C73AA5C37}"/>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6" name="Straight Connector 35">
                <a:extLst>
                  <a:ext uri="{FF2B5EF4-FFF2-40B4-BE49-F238E27FC236}">
                    <a16:creationId xmlns:a16="http://schemas.microsoft.com/office/drawing/2014/main" id="{8D0CB376-99C4-94BA-CF39-CB6040DF6096}"/>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7" name="TextBox 36">
                <a:extLst>
                  <a:ext uri="{FF2B5EF4-FFF2-40B4-BE49-F238E27FC236}">
                    <a16:creationId xmlns:a16="http://schemas.microsoft.com/office/drawing/2014/main" id="{5C8BADC1-8AD4-A9C6-6992-8A3CBF399C7E}"/>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43" name="TextBox 42">
            <a:extLst>
              <a:ext uri="{FF2B5EF4-FFF2-40B4-BE49-F238E27FC236}">
                <a16:creationId xmlns:a16="http://schemas.microsoft.com/office/drawing/2014/main" id="{760DBA6B-DE9D-AE45-238E-FC9603DD6DEA}"/>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36325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3">
          <p15:clr>
            <a:srgbClr val="FBAE40"/>
          </p15:clr>
        </p15:guide>
      </p15:sldGuideLst>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showMasterSp="0" preserve="1" userDrawn="1">
  <p:cSld name="Two Column_Light Grey (No Icon)">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F7D16-FB5B-A236-3D0F-5BF142E7C0B8}"/>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Two column layout</a:t>
            </a:r>
            <a:br>
              <a:rPr lang="en-US"/>
            </a:br>
            <a:r>
              <a:rPr lang="en-US"/>
              <a:t>Title 2 lines maximum</a:t>
            </a:r>
            <a:endParaRPr lang="en-CA"/>
          </a:p>
        </p:txBody>
      </p:sp>
      <p:sp>
        <p:nvSpPr>
          <p:cNvPr id="11" name="Text Placeholder 22">
            <a:extLst>
              <a:ext uri="{FF2B5EF4-FFF2-40B4-BE49-F238E27FC236}">
                <a16:creationId xmlns:a16="http://schemas.microsoft.com/office/drawing/2014/main" id="{702446A2-99D5-4B8F-3663-6D6D7C0900E3}"/>
              </a:ext>
            </a:extLst>
          </p:cNvPr>
          <p:cNvSpPr>
            <a:spLocks noGrp="1"/>
          </p:cNvSpPr>
          <p:nvPr>
            <p:ph type="body" sz="quarter" idx="27" hasCustomPrompt="1"/>
          </p:nvPr>
        </p:nvSpPr>
        <p:spPr>
          <a:xfrm>
            <a:off x="531810" y="1706497"/>
            <a:ext cx="5419727" cy="905188"/>
          </a:xfrm>
          <a:prstGeom prst="callout1">
            <a:avLst>
              <a:gd name="adj1" fmla="val 93708"/>
              <a:gd name="adj2" fmla="val -69"/>
              <a:gd name="adj3" fmla="val 93686"/>
              <a:gd name="adj4" fmla="val 11746"/>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7" name="Text Placeholder 16">
            <a:extLst>
              <a:ext uri="{FF2B5EF4-FFF2-40B4-BE49-F238E27FC236}">
                <a16:creationId xmlns:a16="http://schemas.microsoft.com/office/drawing/2014/main" id="{3A1602AA-A8D3-DBB9-03DE-82B0711162CD}"/>
              </a:ext>
            </a:extLst>
          </p:cNvPr>
          <p:cNvSpPr>
            <a:spLocks noGrp="1"/>
          </p:cNvSpPr>
          <p:nvPr>
            <p:ph type="body" sz="quarter" idx="15" hasCustomPrompt="1"/>
          </p:nvPr>
        </p:nvSpPr>
        <p:spPr>
          <a:xfrm>
            <a:off x="531812"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sp>
        <p:nvSpPr>
          <p:cNvPr id="2" name="Footer Placeholder 1">
            <a:extLst>
              <a:ext uri="{FF2B5EF4-FFF2-40B4-BE49-F238E27FC236}">
                <a16:creationId xmlns:a16="http://schemas.microsoft.com/office/drawing/2014/main" id="{A85A980C-84E3-2D1C-3C83-37EF671921AD}"/>
              </a:ext>
            </a:extLst>
          </p:cNvPr>
          <p:cNvSpPr>
            <a:spLocks noGrp="1"/>
          </p:cNvSpPr>
          <p:nvPr>
            <p:ph type="ftr" sz="quarter" idx="32"/>
          </p:nvPr>
        </p:nvSpPr>
        <p:spPr/>
        <p:txBody>
          <a:bodyPr/>
          <a:lstStyle>
            <a:lvl1pPr>
              <a:defRPr>
                <a:solidFill>
                  <a:schemeClr val="accent6">
                    <a:lumMod val="50000"/>
                  </a:schemeClr>
                </a:solidFill>
              </a:defRPr>
            </a:lvl1pPr>
          </a:lstStyle>
          <a:p>
            <a:r>
              <a:rPr lang="en-CA"/>
              <a:t>5G Broadcast Conference</a:t>
            </a:r>
          </a:p>
        </p:txBody>
      </p:sp>
      <p:sp>
        <p:nvSpPr>
          <p:cNvPr id="10" name="Text Placeholder 22">
            <a:extLst>
              <a:ext uri="{FF2B5EF4-FFF2-40B4-BE49-F238E27FC236}">
                <a16:creationId xmlns:a16="http://schemas.microsoft.com/office/drawing/2014/main" id="{5DE8ED68-428F-47DF-6FEA-AE7FB9D8D15D}"/>
              </a:ext>
            </a:extLst>
          </p:cNvPr>
          <p:cNvSpPr>
            <a:spLocks noGrp="1"/>
          </p:cNvSpPr>
          <p:nvPr>
            <p:ph type="body" sz="quarter" idx="34" hasCustomPrompt="1"/>
          </p:nvPr>
        </p:nvSpPr>
        <p:spPr>
          <a:xfrm>
            <a:off x="6240018" y="1706497"/>
            <a:ext cx="5419727" cy="905188"/>
          </a:xfrm>
          <a:prstGeom prst="callout1">
            <a:avLst>
              <a:gd name="adj1" fmla="val 93708"/>
              <a:gd name="adj2" fmla="val -69"/>
              <a:gd name="adj3" fmla="val 93686"/>
              <a:gd name="adj4" fmla="val 11746"/>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2" name="Text Placeholder 16">
            <a:extLst>
              <a:ext uri="{FF2B5EF4-FFF2-40B4-BE49-F238E27FC236}">
                <a16:creationId xmlns:a16="http://schemas.microsoft.com/office/drawing/2014/main" id="{324B9E31-F60C-0248-1D39-D3565D40F967}"/>
              </a:ext>
            </a:extLst>
          </p:cNvPr>
          <p:cNvSpPr>
            <a:spLocks noGrp="1"/>
          </p:cNvSpPr>
          <p:nvPr>
            <p:ph type="body" sz="quarter" idx="35" hasCustomPrompt="1"/>
          </p:nvPr>
        </p:nvSpPr>
        <p:spPr>
          <a:xfrm>
            <a:off x="6240018" y="2868418"/>
            <a:ext cx="5429386" cy="2508379"/>
          </a:xfrm>
        </p:spPr>
        <p:txBody>
          <a:bodyPr wrap="square">
            <a:noAutofit/>
          </a:bodyPr>
          <a:lstStyle>
            <a:lvl1pPr marL="0" indent="0">
              <a:lnSpc>
                <a:spcPct val="100000"/>
              </a:lnSpc>
              <a:spcBef>
                <a:spcPts val="0"/>
              </a:spcBef>
              <a:spcAft>
                <a:spcPts val="400"/>
              </a:spcAft>
              <a:buNone/>
              <a:defRPr lang="en-US" sz="1600" kern="1200" baseline="0" dirty="0">
                <a:solidFill>
                  <a:schemeClr val="tx1"/>
                </a:solidFill>
                <a:latin typeface="+mn-lt"/>
                <a:ea typeface="+mn-ea"/>
                <a:cs typeface="+mn-cs"/>
              </a:defRPr>
            </a:lvl1pPr>
          </a:lstStyle>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endParaRPr lang="en-US"/>
          </a:p>
          <a:p>
            <a:pPr marL="0" lvl="0" indent="0" algn="l" defTabSz="914400" rtl="0" eaLnBrk="1" latinLnBrk="0" hangingPunct="1">
              <a:lnSpc>
                <a:spcPct val="100000"/>
              </a:lnSpc>
              <a:spcBef>
                <a:spcPts val="0"/>
              </a:spcBef>
              <a:spcAft>
                <a:spcPts val="400"/>
              </a:spcAft>
              <a:buClrTx/>
              <a:buFont typeface="Arial" panose="020B0604020202020204" pitchFamily="34" charset="0"/>
              <a:buNone/>
            </a:pP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a:t>
            </a:r>
            <a:r>
              <a:rPr lang="en-US" err="1"/>
              <a:t>egestas</a:t>
            </a:r>
            <a:r>
              <a:rPr lang="en-US"/>
              <a:t>. Proin pharetra </a:t>
            </a:r>
            <a:r>
              <a:rPr lang="en-US" err="1"/>
              <a:t>nonummy</a:t>
            </a:r>
            <a:r>
              <a:rPr lang="en-US"/>
              <a:t> </a:t>
            </a:r>
            <a:r>
              <a:rPr lang="en-US" err="1"/>
              <a:t>pede</a:t>
            </a:r>
            <a:r>
              <a:rPr lang="en-US"/>
              <a:t>. </a:t>
            </a:r>
            <a:r>
              <a:rPr lang="en-US" err="1"/>
              <a:t>Mauris</a:t>
            </a:r>
            <a:r>
              <a:rPr lang="en-US"/>
              <a:t> et </a:t>
            </a:r>
            <a:r>
              <a:rPr lang="en-US" err="1"/>
              <a:t>orci</a:t>
            </a:r>
            <a:r>
              <a:rPr lang="en-US"/>
              <a:t>.</a:t>
            </a:r>
          </a:p>
        </p:txBody>
      </p:sp>
      <p:grpSp>
        <p:nvGrpSpPr>
          <p:cNvPr id="4" name="Group 3">
            <a:extLst>
              <a:ext uri="{FF2B5EF4-FFF2-40B4-BE49-F238E27FC236}">
                <a16:creationId xmlns:a16="http://schemas.microsoft.com/office/drawing/2014/main" id="{E73B40A2-055E-A2B0-BFF2-3F99C06D5A4B}"/>
              </a:ext>
            </a:extLst>
          </p:cNvPr>
          <p:cNvGrpSpPr/>
          <p:nvPr userDrawn="1"/>
        </p:nvGrpSpPr>
        <p:grpSpPr>
          <a:xfrm>
            <a:off x="12290489" y="-1"/>
            <a:ext cx="2910882" cy="6858001"/>
            <a:chOff x="12290489" y="-1"/>
            <a:chExt cx="2910882" cy="6858001"/>
          </a:xfrm>
        </p:grpSpPr>
        <p:sp>
          <p:nvSpPr>
            <p:cNvPr id="5" name="Rectangle 4">
              <a:extLst>
                <a:ext uri="{FF2B5EF4-FFF2-40B4-BE49-F238E27FC236}">
                  <a16:creationId xmlns:a16="http://schemas.microsoft.com/office/drawing/2014/main" id="{EDEE752C-E1A4-F697-78F4-D3A984FA9AFE}"/>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13" name="TextBox 12">
              <a:extLst>
                <a:ext uri="{FF2B5EF4-FFF2-40B4-BE49-F238E27FC236}">
                  <a16:creationId xmlns:a16="http://schemas.microsoft.com/office/drawing/2014/main" id="{D6F854B4-791D-298D-82F6-F1E540D94D45}"/>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14" name="Straight Connector 13">
              <a:extLst>
                <a:ext uri="{FF2B5EF4-FFF2-40B4-BE49-F238E27FC236}">
                  <a16:creationId xmlns:a16="http://schemas.microsoft.com/office/drawing/2014/main" id="{267F22F2-E4EE-CEDC-B460-36FA6E7CD5C5}"/>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5" name="TextBox 14">
              <a:extLst>
                <a:ext uri="{FF2B5EF4-FFF2-40B4-BE49-F238E27FC236}">
                  <a16:creationId xmlns:a16="http://schemas.microsoft.com/office/drawing/2014/main" id="{85789A14-1EA0-EF0D-54AF-B13D8339D387}"/>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6" name="TextBox 15">
              <a:extLst>
                <a:ext uri="{FF2B5EF4-FFF2-40B4-BE49-F238E27FC236}">
                  <a16:creationId xmlns:a16="http://schemas.microsoft.com/office/drawing/2014/main" id="{755E332A-EF30-A112-697B-F58A11E2ACD9}"/>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7" name="TextBox 16">
              <a:extLst>
                <a:ext uri="{FF2B5EF4-FFF2-40B4-BE49-F238E27FC236}">
                  <a16:creationId xmlns:a16="http://schemas.microsoft.com/office/drawing/2014/main" id="{06428AB7-9A66-D178-754C-96C736142CCB}"/>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8" name="TextBox 17">
              <a:extLst>
                <a:ext uri="{FF2B5EF4-FFF2-40B4-BE49-F238E27FC236}">
                  <a16:creationId xmlns:a16="http://schemas.microsoft.com/office/drawing/2014/main" id="{50B98DCC-649C-7F0A-8855-3B2ABC32E6D5}"/>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9" name="TextBox 18">
              <a:extLst>
                <a:ext uri="{FF2B5EF4-FFF2-40B4-BE49-F238E27FC236}">
                  <a16:creationId xmlns:a16="http://schemas.microsoft.com/office/drawing/2014/main" id="{6DE41E0E-8A18-AA10-9731-51FAC49D5895}"/>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20" name="TextBox 19">
              <a:extLst>
                <a:ext uri="{FF2B5EF4-FFF2-40B4-BE49-F238E27FC236}">
                  <a16:creationId xmlns:a16="http://schemas.microsoft.com/office/drawing/2014/main" id="{CF48917A-AD97-415A-90D7-5893029BFEED}"/>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21" name="Group 20">
              <a:extLst>
                <a:ext uri="{FF2B5EF4-FFF2-40B4-BE49-F238E27FC236}">
                  <a16:creationId xmlns:a16="http://schemas.microsoft.com/office/drawing/2014/main" id="{484A08CC-B4A7-E637-B3B8-9C7BEC8972CF}"/>
                </a:ext>
              </a:extLst>
            </p:cNvPr>
            <p:cNvGrpSpPr/>
            <p:nvPr userDrawn="1"/>
          </p:nvGrpSpPr>
          <p:grpSpPr>
            <a:xfrm>
              <a:off x="12429548" y="3236396"/>
              <a:ext cx="2735151" cy="1280928"/>
              <a:chOff x="9286315" y="6976989"/>
              <a:chExt cx="2735151" cy="1280928"/>
            </a:xfrm>
          </p:grpSpPr>
          <p:sp>
            <p:nvSpPr>
              <p:cNvPr id="32" name="Rectangle 31">
                <a:extLst>
                  <a:ext uri="{FF2B5EF4-FFF2-40B4-BE49-F238E27FC236}">
                    <a16:creationId xmlns:a16="http://schemas.microsoft.com/office/drawing/2014/main" id="{28618616-B797-3EE5-4427-875C50F617CA}"/>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3" name="TextBox 32">
                <a:extLst>
                  <a:ext uri="{FF2B5EF4-FFF2-40B4-BE49-F238E27FC236}">
                    <a16:creationId xmlns:a16="http://schemas.microsoft.com/office/drawing/2014/main" id="{DD9DFDBF-EA94-773D-3E7F-123BBBCBEDC3}"/>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34" name="Graphic 33">
                <a:extLst>
                  <a:ext uri="{FF2B5EF4-FFF2-40B4-BE49-F238E27FC236}">
                    <a16:creationId xmlns:a16="http://schemas.microsoft.com/office/drawing/2014/main" id="{A222012F-1DEC-198D-C75A-DF86517B51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5" name="TextBox 34">
                <a:extLst>
                  <a:ext uri="{FF2B5EF4-FFF2-40B4-BE49-F238E27FC236}">
                    <a16:creationId xmlns:a16="http://schemas.microsoft.com/office/drawing/2014/main" id="{2D4DDD9F-0948-892E-48F0-9F7CF685944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36" name="Picture 35">
                <a:extLst>
                  <a:ext uri="{FF2B5EF4-FFF2-40B4-BE49-F238E27FC236}">
                    <a16:creationId xmlns:a16="http://schemas.microsoft.com/office/drawing/2014/main" id="{575D8087-DA52-537B-654B-7335D1A8933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64" name="TextBox 63">
                <a:extLst>
                  <a:ext uri="{FF2B5EF4-FFF2-40B4-BE49-F238E27FC236}">
                    <a16:creationId xmlns:a16="http://schemas.microsoft.com/office/drawing/2014/main" id="{9A78683B-4C0B-8A46-28EE-2CCB4517F58A}"/>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22" name="Group 21">
              <a:extLst>
                <a:ext uri="{FF2B5EF4-FFF2-40B4-BE49-F238E27FC236}">
                  <a16:creationId xmlns:a16="http://schemas.microsoft.com/office/drawing/2014/main" id="{2B779AA1-E5B3-C52E-0804-1909427F8692}"/>
                </a:ext>
              </a:extLst>
            </p:cNvPr>
            <p:cNvGrpSpPr/>
            <p:nvPr userDrawn="1"/>
          </p:nvGrpSpPr>
          <p:grpSpPr>
            <a:xfrm>
              <a:off x="12429548" y="4543123"/>
              <a:ext cx="2735151" cy="2200108"/>
              <a:chOff x="9538241" y="5155416"/>
              <a:chExt cx="2735151" cy="2200108"/>
            </a:xfrm>
          </p:grpSpPr>
          <p:sp>
            <p:nvSpPr>
              <p:cNvPr id="23" name="Rectangle 22">
                <a:extLst>
                  <a:ext uri="{FF2B5EF4-FFF2-40B4-BE49-F238E27FC236}">
                    <a16:creationId xmlns:a16="http://schemas.microsoft.com/office/drawing/2014/main" id="{4715FDF0-F4E4-791F-2F02-4CB6CBC1FCBC}"/>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24" name="TextBox 23">
                <a:extLst>
                  <a:ext uri="{FF2B5EF4-FFF2-40B4-BE49-F238E27FC236}">
                    <a16:creationId xmlns:a16="http://schemas.microsoft.com/office/drawing/2014/main" id="{863BBF2E-92AD-D0EE-9CC1-8D77FA473234}"/>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25" name="Graphic 24">
                <a:extLst>
                  <a:ext uri="{FF2B5EF4-FFF2-40B4-BE49-F238E27FC236}">
                    <a16:creationId xmlns:a16="http://schemas.microsoft.com/office/drawing/2014/main" id="{B0A35D3F-F060-3B43-E155-E9A443DFE7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6" name="TextBox 25">
                <a:extLst>
                  <a:ext uri="{FF2B5EF4-FFF2-40B4-BE49-F238E27FC236}">
                    <a16:creationId xmlns:a16="http://schemas.microsoft.com/office/drawing/2014/main" id="{FB143D18-DF39-46C9-DAE4-64C09E6C5111}"/>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27" name="TextBox 26">
                <a:extLst>
                  <a:ext uri="{FF2B5EF4-FFF2-40B4-BE49-F238E27FC236}">
                    <a16:creationId xmlns:a16="http://schemas.microsoft.com/office/drawing/2014/main" id="{8A962D4B-B0AB-F956-4AD2-7A0D8109B74B}"/>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8" name="TextBox 27">
                <a:extLst>
                  <a:ext uri="{FF2B5EF4-FFF2-40B4-BE49-F238E27FC236}">
                    <a16:creationId xmlns:a16="http://schemas.microsoft.com/office/drawing/2014/main" id="{5C7490AF-2195-0CB4-1238-0DF1D762981D}"/>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29" name="TextBox 28">
                <a:extLst>
                  <a:ext uri="{FF2B5EF4-FFF2-40B4-BE49-F238E27FC236}">
                    <a16:creationId xmlns:a16="http://schemas.microsoft.com/office/drawing/2014/main" id="{6440AADE-636F-2B92-B641-FC0392D663FB}"/>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0" name="Straight Connector 29">
                <a:extLst>
                  <a:ext uri="{FF2B5EF4-FFF2-40B4-BE49-F238E27FC236}">
                    <a16:creationId xmlns:a16="http://schemas.microsoft.com/office/drawing/2014/main" id="{102D8CF1-F51D-5520-CD8F-C7DB754030EB}"/>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1" name="TextBox 30">
                <a:extLst>
                  <a:ext uri="{FF2B5EF4-FFF2-40B4-BE49-F238E27FC236}">
                    <a16:creationId xmlns:a16="http://schemas.microsoft.com/office/drawing/2014/main" id="{E22151D4-22CC-F8A9-A66E-6D43C913DBA4}"/>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8" name="TextBox 7">
            <a:extLst>
              <a:ext uri="{FF2B5EF4-FFF2-40B4-BE49-F238E27FC236}">
                <a16:creationId xmlns:a16="http://schemas.microsoft.com/office/drawing/2014/main" id="{6C182914-E405-9E07-DF0D-8AEF3CD888E3}"/>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90056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showMasterSp="0" preserve="1" userDrawn="1">
  <p:cSld name="Three Column_Light Grey (No Icon)">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2588C0-C7B7-463F-660E-0A4A3FD24785}"/>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Three column layout</a:t>
            </a:r>
            <a:br>
              <a:rPr lang="en-US"/>
            </a:br>
            <a:r>
              <a:rPr lang="en-US"/>
              <a:t>Title 2 lines maximum</a:t>
            </a:r>
            <a:endParaRPr lang="en-CA"/>
          </a:p>
        </p:txBody>
      </p:sp>
      <p:sp>
        <p:nvSpPr>
          <p:cNvPr id="2" name="Footer Placeholder 1">
            <a:extLst>
              <a:ext uri="{FF2B5EF4-FFF2-40B4-BE49-F238E27FC236}">
                <a16:creationId xmlns:a16="http://schemas.microsoft.com/office/drawing/2014/main" id="{CFAF4676-0FE4-0EEA-B97D-EF0D71148385}"/>
              </a:ext>
            </a:extLst>
          </p:cNvPr>
          <p:cNvSpPr>
            <a:spLocks noGrp="1"/>
          </p:cNvSpPr>
          <p:nvPr>
            <p:ph type="ftr" sz="quarter" idx="38"/>
          </p:nvPr>
        </p:nvSpPr>
        <p:spPr/>
        <p:txBody>
          <a:bodyPr/>
          <a:lstStyle>
            <a:lvl1pPr>
              <a:defRPr>
                <a:solidFill>
                  <a:schemeClr val="accent6">
                    <a:lumMod val="50000"/>
                  </a:schemeClr>
                </a:solidFill>
              </a:defRPr>
            </a:lvl1pPr>
          </a:lstStyle>
          <a:p>
            <a:r>
              <a:rPr lang="en-CA"/>
              <a:t>5G Broadcast Conference</a:t>
            </a:r>
          </a:p>
        </p:txBody>
      </p:sp>
      <p:sp>
        <p:nvSpPr>
          <p:cNvPr id="4" name="Text Placeholder 22">
            <a:extLst>
              <a:ext uri="{FF2B5EF4-FFF2-40B4-BE49-F238E27FC236}">
                <a16:creationId xmlns:a16="http://schemas.microsoft.com/office/drawing/2014/main" id="{2FEE1995-5EE6-B782-1270-FC8C30634C1A}"/>
              </a:ext>
            </a:extLst>
          </p:cNvPr>
          <p:cNvSpPr>
            <a:spLocks noGrp="1"/>
          </p:cNvSpPr>
          <p:nvPr>
            <p:ph type="body" sz="quarter" idx="27" hasCustomPrompt="1"/>
          </p:nvPr>
        </p:nvSpPr>
        <p:spPr>
          <a:xfrm>
            <a:off x="531811" y="1706497"/>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9" name="Text Placeholder 16">
            <a:extLst>
              <a:ext uri="{FF2B5EF4-FFF2-40B4-BE49-F238E27FC236}">
                <a16:creationId xmlns:a16="http://schemas.microsoft.com/office/drawing/2014/main" id="{8BF3CDFB-3035-1906-627F-169A0AFF5852}"/>
              </a:ext>
            </a:extLst>
          </p:cNvPr>
          <p:cNvSpPr>
            <a:spLocks noGrp="1"/>
          </p:cNvSpPr>
          <p:nvPr>
            <p:ph type="body" sz="quarter" idx="15" hasCustomPrompt="1"/>
          </p:nvPr>
        </p:nvSpPr>
        <p:spPr>
          <a:xfrm>
            <a:off x="531810"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C049CEBE-00B0-C726-8F2E-0374ECA4E1F3}"/>
              </a:ext>
            </a:extLst>
          </p:cNvPr>
          <p:cNvSpPr>
            <a:spLocks noGrp="1"/>
          </p:cNvSpPr>
          <p:nvPr>
            <p:ph type="body" sz="quarter" idx="46" hasCustomPrompt="1"/>
          </p:nvPr>
        </p:nvSpPr>
        <p:spPr>
          <a:xfrm>
            <a:off x="4340711" y="1706497"/>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E84FC6FD-2A43-99CF-82C5-D98E826A76B7}"/>
              </a:ext>
            </a:extLst>
          </p:cNvPr>
          <p:cNvSpPr>
            <a:spLocks noGrp="1"/>
          </p:cNvSpPr>
          <p:nvPr>
            <p:ph type="body" sz="quarter" idx="47" hasCustomPrompt="1"/>
          </p:nvPr>
        </p:nvSpPr>
        <p:spPr>
          <a:xfrm>
            <a:off x="43407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30" name="Text Placeholder 22">
            <a:extLst>
              <a:ext uri="{FF2B5EF4-FFF2-40B4-BE49-F238E27FC236}">
                <a16:creationId xmlns:a16="http://schemas.microsoft.com/office/drawing/2014/main" id="{6EC19D9F-705A-74B6-9EBB-9D9565620413}"/>
              </a:ext>
            </a:extLst>
          </p:cNvPr>
          <p:cNvSpPr>
            <a:spLocks noGrp="1"/>
          </p:cNvSpPr>
          <p:nvPr>
            <p:ph type="body" sz="quarter" idx="49" hasCustomPrompt="1"/>
          </p:nvPr>
        </p:nvSpPr>
        <p:spPr>
          <a:xfrm>
            <a:off x="8149611" y="1706497"/>
            <a:ext cx="3526452" cy="905188"/>
          </a:xfrm>
          <a:prstGeom prst="callout1">
            <a:avLst>
              <a:gd name="adj1" fmla="val 93708"/>
              <a:gd name="adj2" fmla="val -69"/>
              <a:gd name="adj3" fmla="val 93686"/>
              <a:gd name="adj4" fmla="val 18048"/>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31" name="Text Placeholder 16">
            <a:extLst>
              <a:ext uri="{FF2B5EF4-FFF2-40B4-BE49-F238E27FC236}">
                <a16:creationId xmlns:a16="http://schemas.microsoft.com/office/drawing/2014/main" id="{AA3A1BDB-11C1-E45D-35EC-D8FEC9CEDC61}"/>
              </a:ext>
            </a:extLst>
          </p:cNvPr>
          <p:cNvSpPr>
            <a:spLocks noGrp="1"/>
          </p:cNvSpPr>
          <p:nvPr>
            <p:ph type="body" sz="quarter" idx="50" hasCustomPrompt="1"/>
          </p:nvPr>
        </p:nvSpPr>
        <p:spPr>
          <a:xfrm>
            <a:off x="8149611" y="2868418"/>
            <a:ext cx="3526452" cy="2508379"/>
          </a:xfrm>
        </p:spPr>
        <p:txBody>
          <a:bodyPr wrap="square" rIns="0">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grpSp>
        <p:nvGrpSpPr>
          <p:cNvPr id="5" name="Group 4">
            <a:extLst>
              <a:ext uri="{FF2B5EF4-FFF2-40B4-BE49-F238E27FC236}">
                <a16:creationId xmlns:a16="http://schemas.microsoft.com/office/drawing/2014/main" id="{65B3743D-9C24-F821-BD8E-F0F93E26B9DD}"/>
              </a:ext>
            </a:extLst>
          </p:cNvPr>
          <p:cNvGrpSpPr/>
          <p:nvPr userDrawn="1"/>
        </p:nvGrpSpPr>
        <p:grpSpPr>
          <a:xfrm>
            <a:off x="12290489" y="-1"/>
            <a:ext cx="2910882" cy="6858001"/>
            <a:chOff x="12290489" y="-1"/>
            <a:chExt cx="2910882" cy="6858001"/>
          </a:xfrm>
        </p:grpSpPr>
        <p:sp>
          <p:nvSpPr>
            <p:cNvPr id="7" name="Rectangle 6">
              <a:extLst>
                <a:ext uri="{FF2B5EF4-FFF2-40B4-BE49-F238E27FC236}">
                  <a16:creationId xmlns:a16="http://schemas.microsoft.com/office/drawing/2014/main" id="{78ED221D-8725-5420-6ADD-1A518E5DD38D}"/>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8" name="TextBox 7">
              <a:extLst>
                <a:ext uri="{FF2B5EF4-FFF2-40B4-BE49-F238E27FC236}">
                  <a16:creationId xmlns:a16="http://schemas.microsoft.com/office/drawing/2014/main" id="{FB9B9525-CEDA-1294-597D-01D341E152DE}"/>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10" name="Straight Connector 9">
              <a:extLst>
                <a:ext uri="{FF2B5EF4-FFF2-40B4-BE49-F238E27FC236}">
                  <a16:creationId xmlns:a16="http://schemas.microsoft.com/office/drawing/2014/main" id="{43E5A438-D8C5-4E45-098A-BEB3ABB62F06}"/>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1" name="TextBox 10">
              <a:extLst>
                <a:ext uri="{FF2B5EF4-FFF2-40B4-BE49-F238E27FC236}">
                  <a16:creationId xmlns:a16="http://schemas.microsoft.com/office/drawing/2014/main" id="{C5EAF0A3-7CF3-7DF9-F0F4-3C56A2782829}"/>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2" name="TextBox 11">
              <a:extLst>
                <a:ext uri="{FF2B5EF4-FFF2-40B4-BE49-F238E27FC236}">
                  <a16:creationId xmlns:a16="http://schemas.microsoft.com/office/drawing/2014/main" id="{DE24736E-4729-087F-E4D8-819A51AED226}"/>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3" name="TextBox 12">
              <a:extLst>
                <a:ext uri="{FF2B5EF4-FFF2-40B4-BE49-F238E27FC236}">
                  <a16:creationId xmlns:a16="http://schemas.microsoft.com/office/drawing/2014/main" id="{A47CAA82-566E-2866-F0C2-66CE1136CA4B}"/>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4" name="TextBox 13">
              <a:extLst>
                <a:ext uri="{FF2B5EF4-FFF2-40B4-BE49-F238E27FC236}">
                  <a16:creationId xmlns:a16="http://schemas.microsoft.com/office/drawing/2014/main" id="{92AEA30F-71D3-9C46-6D87-AB0A6841E8A7}"/>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5" name="TextBox 14">
              <a:extLst>
                <a:ext uri="{FF2B5EF4-FFF2-40B4-BE49-F238E27FC236}">
                  <a16:creationId xmlns:a16="http://schemas.microsoft.com/office/drawing/2014/main" id="{CB150EA6-46A5-FDAD-CEFA-9DDE9E8E996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16" name="TextBox 15">
              <a:extLst>
                <a:ext uri="{FF2B5EF4-FFF2-40B4-BE49-F238E27FC236}">
                  <a16:creationId xmlns:a16="http://schemas.microsoft.com/office/drawing/2014/main" id="{90F3F872-94D4-C722-309A-1D6691641FCB}"/>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17" name="Group 16">
              <a:extLst>
                <a:ext uri="{FF2B5EF4-FFF2-40B4-BE49-F238E27FC236}">
                  <a16:creationId xmlns:a16="http://schemas.microsoft.com/office/drawing/2014/main" id="{68957A1D-3164-7C9A-4797-EBE26C314C3B}"/>
                </a:ext>
              </a:extLst>
            </p:cNvPr>
            <p:cNvGrpSpPr/>
            <p:nvPr userDrawn="1"/>
          </p:nvGrpSpPr>
          <p:grpSpPr>
            <a:xfrm>
              <a:off x="12429548" y="3236396"/>
              <a:ext cx="2735151" cy="1280928"/>
              <a:chOff x="9286315" y="6976989"/>
              <a:chExt cx="2735151" cy="1280928"/>
            </a:xfrm>
          </p:grpSpPr>
          <p:sp>
            <p:nvSpPr>
              <p:cNvPr id="35" name="Rectangle 34">
                <a:extLst>
                  <a:ext uri="{FF2B5EF4-FFF2-40B4-BE49-F238E27FC236}">
                    <a16:creationId xmlns:a16="http://schemas.microsoft.com/office/drawing/2014/main" id="{749A0E7D-BB6C-DC53-5932-E92A9895F94E}"/>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6" name="TextBox 35">
                <a:extLst>
                  <a:ext uri="{FF2B5EF4-FFF2-40B4-BE49-F238E27FC236}">
                    <a16:creationId xmlns:a16="http://schemas.microsoft.com/office/drawing/2014/main" id="{C9EE17A2-D61C-7396-51E8-7875298A2FDD}"/>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37" name="Graphic 36">
                <a:extLst>
                  <a:ext uri="{FF2B5EF4-FFF2-40B4-BE49-F238E27FC236}">
                    <a16:creationId xmlns:a16="http://schemas.microsoft.com/office/drawing/2014/main" id="{CC29DA1D-5C20-3232-7CC7-6EE236625A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8" name="TextBox 37">
                <a:extLst>
                  <a:ext uri="{FF2B5EF4-FFF2-40B4-BE49-F238E27FC236}">
                    <a16:creationId xmlns:a16="http://schemas.microsoft.com/office/drawing/2014/main" id="{3EC6F884-A27E-5CD2-3BC6-0DC73A5EA1E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39" name="Picture 38">
                <a:extLst>
                  <a:ext uri="{FF2B5EF4-FFF2-40B4-BE49-F238E27FC236}">
                    <a16:creationId xmlns:a16="http://schemas.microsoft.com/office/drawing/2014/main" id="{31A8D6E6-823F-A29B-F2E8-EEED1B2573A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0" name="TextBox 129">
                <a:extLst>
                  <a:ext uri="{FF2B5EF4-FFF2-40B4-BE49-F238E27FC236}">
                    <a16:creationId xmlns:a16="http://schemas.microsoft.com/office/drawing/2014/main" id="{D1250832-1357-7685-30D5-6F422478202E}"/>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18" name="Group 17">
              <a:extLst>
                <a:ext uri="{FF2B5EF4-FFF2-40B4-BE49-F238E27FC236}">
                  <a16:creationId xmlns:a16="http://schemas.microsoft.com/office/drawing/2014/main" id="{996BDF38-5D5A-7286-B3D1-D8BC245AB26E}"/>
                </a:ext>
              </a:extLst>
            </p:cNvPr>
            <p:cNvGrpSpPr/>
            <p:nvPr userDrawn="1"/>
          </p:nvGrpSpPr>
          <p:grpSpPr>
            <a:xfrm>
              <a:off x="12429548" y="4543123"/>
              <a:ext cx="2735151" cy="2200108"/>
              <a:chOff x="9538241" y="5155416"/>
              <a:chExt cx="2735151" cy="2200108"/>
            </a:xfrm>
          </p:grpSpPr>
          <p:sp>
            <p:nvSpPr>
              <p:cNvPr id="19" name="Rectangle 18">
                <a:extLst>
                  <a:ext uri="{FF2B5EF4-FFF2-40B4-BE49-F238E27FC236}">
                    <a16:creationId xmlns:a16="http://schemas.microsoft.com/office/drawing/2014/main" id="{52F890FD-3E71-1E19-8156-2B8E77BA5212}"/>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20" name="TextBox 19">
                <a:extLst>
                  <a:ext uri="{FF2B5EF4-FFF2-40B4-BE49-F238E27FC236}">
                    <a16:creationId xmlns:a16="http://schemas.microsoft.com/office/drawing/2014/main" id="{C7C11C8F-7495-936C-44F5-DD49D8356E8A}"/>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21" name="Graphic 20">
                <a:extLst>
                  <a:ext uri="{FF2B5EF4-FFF2-40B4-BE49-F238E27FC236}">
                    <a16:creationId xmlns:a16="http://schemas.microsoft.com/office/drawing/2014/main" id="{1DF552A5-0CEA-5C09-A872-E89B8542BD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2" name="TextBox 21">
                <a:extLst>
                  <a:ext uri="{FF2B5EF4-FFF2-40B4-BE49-F238E27FC236}">
                    <a16:creationId xmlns:a16="http://schemas.microsoft.com/office/drawing/2014/main" id="{FE5E19C4-D573-8B8F-CCD4-0E22D31EE626}"/>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24" name="TextBox 23">
                <a:extLst>
                  <a:ext uri="{FF2B5EF4-FFF2-40B4-BE49-F238E27FC236}">
                    <a16:creationId xmlns:a16="http://schemas.microsoft.com/office/drawing/2014/main" id="{74D58CE0-ED6F-40C6-B10A-55AD6C041AC3}"/>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25" name="TextBox 24">
                <a:extLst>
                  <a:ext uri="{FF2B5EF4-FFF2-40B4-BE49-F238E27FC236}">
                    <a16:creationId xmlns:a16="http://schemas.microsoft.com/office/drawing/2014/main" id="{4C402F46-AF91-7BB6-4204-80F290DEA47F}"/>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32" name="TextBox 31">
                <a:extLst>
                  <a:ext uri="{FF2B5EF4-FFF2-40B4-BE49-F238E27FC236}">
                    <a16:creationId xmlns:a16="http://schemas.microsoft.com/office/drawing/2014/main" id="{3149A399-5087-70A2-6BF5-528867906072}"/>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3" name="Straight Connector 32">
                <a:extLst>
                  <a:ext uri="{FF2B5EF4-FFF2-40B4-BE49-F238E27FC236}">
                    <a16:creationId xmlns:a16="http://schemas.microsoft.com/office/drawing/2014/main" id="{137B95FA-9D58-CE66-E3D8-EFB2EC558B8D}"/>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4" name="TextBox 33">
                <a:extLst>
                  <a:ext uri="{FF2B5EF4-FFF2-40B4-BE49-F238E27FC236}">
                    <a16:creationId xmlns:a16="http://schemas.microsoft.com/office/drawing/2014/main" id="{9FAEB621-C4CB-6879-AEA5-BE18B059BCD5}"/>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6" name="TextBox 5">
            <a:extLst>
              <a:ext uri="{FF2B5EF4-FFF2-40B4-BE49-F238E27FC236}">
                <a16:creationId xmlns:a16="http://schemas.microsoft.com/office/drawing/2014/main" id="{EF017086-5CF7-0DE3-32C9-26242C84824D}"/>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1883348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preserve="1" userDrawn="1">
  <p:cSld name="Four Column_Light Grey (No Icon)">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8272A-C799-49AB-5578-B5089BEC1D22}"/>
              </a:ext>
            </a:extLst>
          </p:cNvPr>
          <p:cNvSpPr>
            <a:spLocks noGrp="1"/>
          </p:cNvSpPr>
          <p:nvPr>
            <p:ph type="title" hasCustomPrompt="1"/>
          </p:nvPr>
        </p:nvSpPr>
        <p:spPr>
          <a:xfrm>
            <a:off x="515938" y="628016"/>
            <a:ext cx="11160126" cy="647700"/>
          </a:xfrm>
        </p:spPr>
        <p:txBody>
          <a:bodyPr/>
          <a:lstStyle>
            <a:lvl1pPr algn="l" defTabSz="914400" rtl="0" eaLnBrk="1" latinLnBrk="0" hangingPunct="1">
              <a:lnSpc>
                <a:spcPct val="85000"/>
              </a:lnSpc>
              <a:spcBef>
                <a:spcPct val="0"/>
              </a:spcBef>
              <a:buNone/>
              <a:defRPr lang="en-CA" sz="2800" kern="2000" spc="-50" baseline="0" dirty="0">
                <a:solidFill>
                  <a:schemeClr val="accent1"/>
                </a:solidFill>
                <a:latin typeface="+mj-lt"/>
                <a:ea typeface="+mj-ea"/>
                <a:cs typeface="+mj-cs"/>
              </a:defRPr>
            </a:lvl1pPr>
          </a:lstStyle>
          <a:p>
            <a:r>
              <a:rPr lang="en-US"/>
              <a:t>Four column layout</a:t>
            </a:r>
            <a:br>
              <a:rPr lang="en-US"/>
            </a:br>
            <a:r>
              <a:rPr lang="en-US"/>
              <a:t>Title 2 lines maximum</a:t>
            </a:r>
            <a:endParaRPr lang="en-CA"/>
          </a:p>
        </p:txBody>
      </p:sp>
      <p:sp>
        <p:nvSpPr>
          <p:cNvPr id="2" name="Footer Placeholder 1">
            <a:extLst>
              <a:ext uri="{FF2B5EF4-FFF2-40B4-BE49-F238E27FC236}">
                <a16:creationId xmlns:a16="http://schemas.microsoft.com/office/drawing/2014/main" id="{355FFA2C-5431-4B39-1E12-AB136674DCB9}"/>
              </a:ext>
            </a:extLst>
          </p:cNvPr>
          <p:cNvSpPr>
            <a:spLocks noGrp="1"/>
          </p:cNvSpPr>
          <p:nvPr>
            <p:ph type="ftr" sz="quarter" idx="49"/>
          </p:nvPr>
        </p:nvSpPr>
        <p:spPr/>
        <p:txBody>
          <a:bodyPr/>
          <a:lstStyle>
            <a:lvl1pPr>
              <a:defRPr>
                <a:solidFill>
                  <a:schemeClr val="accent6">
                    <a:lumMod val="50000"/>
                  </a:schemeClr>
                </a:solidFill>
              </a:defRPr>
            </a:lvl1pPr>
          </a:lstStyle>
          <a:p>
            <a:r>
              <a:rPr lang="en-CA"/>
              <a:t>5G Broadcast Conference</a:t>
            </a:r>
          </a:p>
        </p:txBody>
      </p:sp>
      <p:sp>
        <p:nvSpPr>
          <p:cNvPr id="15" name="Text Placeholder 22">
            <a:extLst>
              <a:ext uri="{FF2B5EF4-FFF2-40B4-BE49-F238E27FC236}">
                <a16:creationId xmlns:a16="http://schemas.microsoft.com/office/drawing/2014/main" id="{AEE4CF8C-958F-1DA4-CCF7-D6B890C89A2E}"/>
              </a:ext>
            </a:extLst>
          </p:cNvPr>
          <p:cNvSpPr>
            <a:spLocks noGrp="1"/>
          </p:cNvSpPr>
          <p:nvPr>
            <p:ph type="body" sz="quarter" idx="27" hasCustomPrompt="1"/>
          </p:nvPr>
        </p:nvSpPr>
        <p:spPr>
          <a:xfrm>
            <a:off x="531811" y="1706497"/>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6" name="Text Placeholder 16">
            <a:extLst>
              <a:ext uri="{FF2B5EF4-FFF2-40B4-BE49-F238E27FC236}">
                <a16:creationId xmlns:a16="http://schemas.microsoft.com/office/drawing/2014/main" id="{C89C7762-ACFA-1003-9A99-7D48D68F547F}"/>
              </a:ext>
            </a:extLst>
          </p:cNvPr>
          <p:cNvSpPr>
            <a:spLocks noGrp="1"/>
          </p:cNvSpPr>
          <p:nvPr>
            <p:ph type="body" sz="quarter" idx="15" hasCustomPrompt="1"/>
          </p:nvPr>
        </p:nvSpPr>
        <p:spPr>
          <a:xfrm>
            <a:off x="53181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8" name="Text Placeholder 22">
            <a:extLst>
              <a:ext uri="{FF2B5EF4-FFF2-40B4-BE49-F238E27FC236}">
                <a16:creationId xmlns:a16="http://schemas.microsoft.com/office/drawing/2014/main" id="{DE030996-68A3-8AC0-F998-9C4EF4AE6C2B}"/>
              </a:ext>
            </a:extLst>
          </p:cNvPr>
          <p:cNvSpPr>
            <a:spLocks noGrp="1"/>
          </p:cNvSpPr>
          <p:nvPr>
            <p:ph type="body" sz="quarter" idx="51" hasCustomPrompt="1"/>
          </p:nvPr>
        </p:nvSpPr>
        <p:spPr>
          <a:xfrm>
            <a:off x="3380247" y="1706497"/>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19" name="Text Placeholder 16">
            <a:extLst>
              <a:ext uri="{FF2B5EF4-FFF2-40B4-BE49-F238E27FC236}">
                <a16:creationId xmlns:a16="http://schemas.microsoft.com/office/drawing/2014/main" id="{5C7E2214-9452-F487-B334-F6CDE12C5733}"/>
              </a:ext>
            </a:extLst>
          </p:cNvPr>
          <p:cNvSpPr>
            <a:spLocks noGrp="1"/>
          </p:cNvSpPr>
          <p:nvPr>
            <p:ph type="body" sz="quarter" idx="52" hasCustomPrompt="1"/>
          </p:nvPr>
        </p:nvSpPr>
        <p:spPr>
          <a:xfrm>
            <a:off x="3380247"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4" name="Text Placeholder 22">
            <a:extLst>
              <a:ext uri="{FF2B5EF4-FFF2-40B4-BE49-F238E27FC236}">
                <a16:creationId xmlns:a16="http://schemas.microsoft.com/office/drawing/2014/main" id="{31B9C0A0-95B0-2824-2407-CDDC04E197D9}"/>
              </a:ext>
            </a:extLst>
          </p:cNvPr>
          <p:cNvSpPr>
            <a:spLocks noGrp="1"/>
          </p:cNvSpPr>
          <p:nvPr>
            <p:ph type="body" sz="quarter" idx="54" hasCustomPrompt="1"/>
          </p:nvPr>
        </p:nvSpPr>
        <p:spPr>
          <a:xfrm>
            <a:off x="6228682" y="1706497"/>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5" name="Text Placeholder 16">
            <a:extLst>
              <a:ext uri="{FF2B5EF4-FFF2-40B4-BE49-F238E27FC236}">
                <a16:creationId xmlns:a16="http://schemas.microsoft.com/office/drawing/2014/main" id="{06A24B55-C38A-D8B1-E30C-791BAA94A209}"/>
              </a:ext>
            </a:extLst>
          </p:cNvPr>
          <p:cNvSpPr>
            <a:spLocks noGrp="1"/>
          </p:cNvSpPr>
          <p:nvPr>
            <p:ph type="body" sz="quarter" idx="55" hasCustomPrompt="1"/>
          </p:nvPr>
        </p:nvSpPr>
        <p:spPr>
          <a:xfrm>
            <a:off x="6228682"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7" name="Text Placeholder 22">
            <a:extLst>
              <a:ext uri="{FF2B5EF4-FFF2-40B4-BE49-F238E27FC236}">
                <a16:creationId xmlns:a16="http://schemas.microsoft.com/office/drawing/2014/main" id="{F9D38BEA-1CE5-A003-B905-BF200D6A8C57}"/>
              </a:ext>
            </a:extLst>
          </p:cNvPr>
          <p:cNvSpPr>
            <a:spLocks noGrp="1"/>
          </p:cNvSpPr>
          <p:nvPr>
            <p:ph type="body" sz="quarter" idx="57" hasCustomPrompt="1"/>
          </p:nvPr>
        </p:nvSpPr>
        <p:spPr>
          <a:xfrm>
            <a:off x="9077115" y="1706497"/>
            <a:ext cx="2595589" cy="905188"/>
          </a:xfrm>
          <a:prstGeom prst="callout1">
            <a:avLst>
              <a:gd name="adj1" fmla="val 93708"/>
              <a:gd name="adj2" fmla="val -69"/>
              <a:gd name="adj3" fmla="val 93686"/>
              <a:gd name="adj4" fmla="val 24531"/>
            </a:avLst>
          </a:prstGeom>
          <a:ln w="31750">
            <a:solidFill>
              <a:schemeClr val="accent1"/>
            </a:solidFill>
          </a:ln>
        </p:spPr>
        <p:txBody>
          <a:bodyPr wrap="square" bIns="180000" anchor="b">
            <a:noAutofit/>
          </a:bodyPr>
          <a:lstStyle>
            <a:lvl1pPr marL="0" indent="0">
              <a:lnSpc>
                <a:spcPct val="85000"/>
              </a:lnSpc>
              <a:spcBef>
                <a:spcPts val="0"/>
              </a:spcBef>
              <a:spcAft>
                <a:spcPts val="0"/>
              </a:spcAft>
              <a:buNone/>
              <a:defRPr lang="en-US" sz="2200" kern="1200" spc="-20" baseline="0" dirty="0">
                <a:solidFill>
                  <a:schemeClr val="accent1"/>
                </a:solidFill>
                <a:latin typeface="+mj-lt"/>
                <a:ea typeface="+mn-ea"/>
                <a:cs typeface="+mn-cs"/>
              </a:defRPr>
            </a:lvl1pPr>
          </a:lstStyle>
          <a:p>
            <a:pPr marL="0" lvl="0" indent="0" algn="l" defTabSz="914400" rtl="0" eaLnBrk="1" latinLnBrk="0" hangingPunct="1">
              <a:lnSpc>
                <a:spcPct val="85000"/>
              </a:lnSpc>
              <a:spcBef>
                <a:spcPts val="0"/>
              </a:spcBef>
              <a:spcAft>
                <a:spcPts val="0"/>
              </a:spcAft>
              <a:buClrTx/>
              <a:buFont typeface="Arial" panose="020B0604020202020204" pitchFamily="34" charset="0"/>
              <a:buNone/>
            </a:pPr>
            <a:r>
              <a:rPr lang="en-US"/>
              <a:t>Column header</a:t>
            </a:r>
            <a:br>
              <a:rPr lang="en-US"/>
            </a:br>
            <a:r>
              <a:rPr lang="en-US"/>
              <a:t>2 lines maximum</a:t>
            </a:r>
          </a:p>
        </p:txBody>
      </p:sp>
      <p:sp>
        <p:nvSpPr>
          <p:cNvPr id="28" name="Text Placeholder 16">
            <a:extLst>
              <a:ext uri="{FF2B5EF4-FFF2-40B4-BE49-F238E27FC236}">
                <a16:creationId xmlns:a16="http://schemas.microsoft.com/office/drawing/2014/main" id="{90607619-F41E-DC0E-B3A9-CD8AF2A58A9E}"/>
              </a:ext>
            </a:extLst>
          </p:cNvPr>
          <p:cNvSpPr>
            <a:spLocks noGrp="1"/>
          </p:cNvSpPr>
          <p:nvPr>
            <p:ph type="body" sz="quarter" idx="58" hasCustomPrompt="1"/>
          </p:nvPr>
        </p:nvSpPr>
        <p:spPr>
          <a:xfrm>
            <a:off x="9077116" y="2868418"/>
            <a:ext cx="2595589" cy="2514729"/>
          </a:xfrm>
        </p:spPr>
        <p:txBody>
          <a:bodyPr wrap="square">
            <a:noAutofit/>
          </a:bodyPr>
          <a:lstStyle>
            <a:lvl1pPr marL="0" indent="0">
              <a:lnSpc>
                <a:spcPct val="100000"/>
              </a:lnSpc>
              <a:spcBef>
                <a:spcPts val="0"/>
              </a:spcBef>
              <a:spcAft>
                <a:spcPts val="400"/>
              </a:spcAft>
              <a:buNone/>
              <a:defRPr sz="1600">
                <a:solidFill>
                  <a:schemeClr val="tx1"/>
                </a:solidFill>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grpSp>
        <p:nvGrpSpPr>
          <p:cNvPr id="5" name="Group 4">
            <a:extLst>
              <a:ext uri="{FF2B5EF4-FFF2-40B4-BE49-F238E27FC236}">
                <a16:creationId xmlns:a16="http://schemas.microsoft.com/office/drawing/2014/main" id="{96180A20-6F5E-927F-D8F6-A44BA15DE6A4}"/>
              </a:ext>
            </a:extLst>
          </p:cNvPr>
          <p:cNvGrpSpPr/>
          <p:nvPr userDrawn="1"/>
        </p:nvGrpSpPr>
        <p:grpSpPr>
          <a:xfrm>
            <a:off x="12290489" y="-1"/>
            <a:ext cx="2910882" cy="6858001"/>
            <a:chOff x="12290489" y="-1"/>
            <a:chExt cx="2910882" cy="6858001"/>
          </a:xfrm>
        </p:grpSpPr>
        <p:sp>
          <p:nvSpPr>
            <p:cNvPr id="7" name="Rectangle 6">
              <a:extLst>
                <a:ext uri="{FF2B5EF4-FFF2-40B4-BE49-F238E27FC236}">
                  <a16:creationId xmlns:a16="http://schemas.microsoft.com/office/drawing/2014/main" id="{BE12012F-EFF8-DEA3-A567-C8652882751D}"/>
                </a:ext>
              </a:extLst>
            </p:cNvPr>
            <p:cNvSpPr/>
            <p:nvPr userDrawn="1"/>
          </p:nvSpPr>
          <p:spPr>
            <a:xfrm>
              <a:off x="12290489" y="-1"/>
              <a:ext cx="2735151" cy="6858001"/>
            </a:xfrm>
            <a:prstGeom prst="rect">
              <a:avLst/>
            </a:prstGeom>
            <a:solidFill>
              <a:srgbClr val="EFF1F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8" name="TextBox 7">
              <a:extLst>
                <a:ext uri="{FF2B5EF4-FFF2-40B4-BE49-F238E27FC236}">
                  <a16:creationId xmlns:a16="http://schemas.microsoft.com/office/drawing/2014/main" id="{5667C743-9957-8ABA-735E-39F0DBF2E1EF}"/>
                </a:ext>
              </a:extLst>
            </p:cNvPr>
            <p:cNvSpPr txBox="1"/>
            <p:nvPr userDrawn="1"/>
          </p:nvSpPr>
          <p:spPr>
            <a:xfrm>
              <a:off x="12449814" y="173148"/>
              <a:ext cx="145552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HOW TO ADD AN ICON</a:t>
              </a:r>
            </a:p>
          </p:txBody>
        </p:sp>
        <p:cxnSp>
          <p:nvCxnSpPr>
            <p:cNvPr id="9" name="Straight Connector 8">
              <a:extLst>
                <a:ext uri="{FF2B5EF4-FFF2-40B4-BE49-F238E27FC236}">
                  <a16:creationId xmlns:a16="http://schemas.microsoft.com/office/drawing/2014/main" id="{A7970780-BCA8-0498-7CC6-650A37F797C0}"/>
                </a:ext>
              </a:extLst>
            </p:cNvPr>
            <p:cNvCxnSpPr>
              <a:cxnSpLocks/>
            </p:cNvCxnSpPr>
            <p:nvPr userDrawn="1"/>
          </p:nvCxnSpPr>
          <p:spPr>
            <a:xfrm>
              <a:off x="12449814" y="423012"/>
              <a:ext cx="270000" cy="0"/>
            </a:xfrm>
            <a:prstGeom prst="line">
              <a:avLst/>
            </a:prstGeom>
            <a:noFill/>
            <a:ln w="19050" cap="flat" cmpd="sng" algn="ctr">
              <a:solidFill>
                <a:srgbClr val="2A2AEA"/>
              </a:solidFill>
              <a:prstDash val="solid"/>
            </a:ln>
            <a:effectLst/>
          </p:spPr>
        </p:cxnSp>
        <p:sp>
          <p:nvSpPr>
            <p:cNvPr id="10" name="TextBox 9">
              <a:extLst>
                <a:ext uri="{FF2B5EF4-FFF2-40B4-BE49-F238E27FC236}">
                  <a16:creationId xmlns:a16="http://schemas.microsoft.com/office/drawing/2014/main" id="{21ADBDA4-7D61-CF2E-6378-907CD43E3584}"/>
                </a:ext>
              </a:extLst>
            </p:cNvPr>
            <p:cNvSpPr txBox="1"/>
            <p:nvPr userDrawn="1"/>
          </p:nvSpPr>
          <p:spPr>
            <a:xfrm>
              <a:off x="12614407" y="1281322"/>
              <a:ext cx="2297338" cy="606192"/>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1: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from file brows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Drag the icon onto the slide.</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7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Note: If there are multiple image placeholders on the slide, select the intended placeholder before dragging in the image to let PowerPoint know where you want it.</a:t>
              </a:r>
              <a:endParaRPr kumimoji="0" lang="en-US" sz="100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endParaRPr>
            </a:p>
          </p:txBody>
        </p:sp>
        <p:sp>
          <p:nvSpPr>
            <p:cNvPr id="11" name="TextBox 10">
              <a:extLst>
                <a:ext uri="{FF2B5EF4-FFF2-40B4-BE49-F238E27FC236}">
                  <a16:creationId xmlns:a16="http://schemas.microsoft.com/office/drawing/2014/main" id="{B5816EF0-93C7-2EE3-AFCC-C3DAB7DDA4AC}"/>
                </a:ext>
              </a:extLst>
            </p:cNvPr>
            <p:cNvSpPr txBox="1">
              <a:spLocks noChangeAspect="1"/>
            </p:cNvSpPr>
            <p:nvPr/>
          </p:nvSpPr>
          <p:spPr>
            <a:xfrm>
              <a:off x="12449814" y="566082"/>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1</a:t>
              </a:r>
            </a:p>
          </p:txBody>
        </p:sp>
        <p:sp>
          <p:nvSpPr>
            <p:cNvPr id="12" name="TextBox 11">
              <a:extLst>
                <a:ext uri="{FF2B5EF4-FFF2-40B4-BE49-F238E27FC236}">
                  <a16:creationId xmlns:a16="http://schemas.microsoft.com/office/drawing/2014/main" id="{AF949B1F-B12D-ABBE-06D2-4D6313886D9F}"/>
                </a:ext>
              </a:extLst>
            </p:cNvPr>
            <p:cNvSpPr txBox="1">
              <a:spLocks noChangeAspect="1"/>
            </p:cNvSpPr>
            <p:nvPr/>
          </p:nvSpPr>
          <p:spPr>
            <a:xfrm>
              <a:off x="12449814" y="1018081"/>
              <a:ext cx="114706" cy="114706"/>
            </a:xfrm>
            <a:prstGeom prst="ellipse">
              <a:avLst/>
            </a:prstGeom>
            <a:solidFill>
              <a:srgbClr val="2A2AEA"/>
            </a:solidFill>
          </p:spPr>
          <p:txBody>
            <a:bodyPr vert="horz"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ea typeface="Arial" charset="0"/>
                  <a:cs typeface="Aparajita" panose="02020603050405020304" pitchFamily="18" charset="0"/>
                </a:rPr>
                <a:t>2</a:t>
              </a:r>
            </a:p>
          </p:txBody>
        </p:sp>
        <p:sp>
          <p:nvSpPr>
            <p:cNvPr id="13" name="TextBox 12">
              <a:extLst>
                <a:ext uri="{FF2B5EF4-FFF2-40B4-BE49-F238E27FC236}">
                  <a16:creationId xmlns:a16="http://schemas.microsoft.com/office/drawing/2014/main" id="{BD87D508-6A96-42E0-EF1A-8F3D267AD189}"/>
                </a:ext>
              </a:extLst>
            </p:cNvPr>
            <p:cNvSpPr txBox="1"/>
            <p:nvPr userDrawn="1"/>
          </p:nvSpPr>
          <p:spPr>
            <a:xfrm>
              <a:off x="12614406" y="545515"/>
              <a:ext cx="2586965" cy="61298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ource icon from the </a:t>
              </a:r>
              <a:b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br>
              <a:r>
                <a:rPr kumimoji="0" lang="en-US" sz="1050" b="0" i="0" u="none" strike="noStrike" kern="0" cap="none" spc="0" normalizeH="0" baseline="0" noProof="0">
                  <a:ln>
                    <a:noFill/>
                  </a:ln>
                  <a:solidFill>
                    <a:srgbClr val="2A2AEA"/>
                  </a:solidFill>
                  <a:effectLst/>
                  <a:uLnTx/>
                  <a:uFillTx/>
                  <a:latin typeface="Aptos" panose="020B0004020202020204" pitchFamily="34" charset="0"/>
                  <a:cs typeface="Aparajita" panose="02020603050405020304" pitchFamily="18" charset="0"/>
                </a:rPr>
                <a:t>Qualcomm Icon Library</a:t>
              </a:r>
            </a:p>
            <a:p>
              <a:pPr marL="0" marR="0" lvl="0" indent="0" defTabSz="914400" eaLnBrk="1" fontAlgn="auto" latinLnBrk="0" hangingPunct="1">
                <a:lnSpc>
                  <a:spcPct val="100000"/>
                </a:lnSpc>
                <a:spcBef>
                  <a:spcPts val="70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Add the icon to the placeholder.</a:t>
              </a:r>
            </a:p>
          </p:txBody>
        </p:sp>
        <p:sp>
          <p:nvSpPr>
            <p:cNvPr id="14" name="TextBox 13">
              <a:extLst>
                <a:ext uri="{FF2B5EF4-FFF2-40B4-BE49-F238E27FC236}">
                  <a16:creationId xmlns:a16="http://schemas.microsoft.com/office/drawing/2014/main" id="{8E193CD7-02AA-87E4-83F0-9F2877F38473}"/>
                </a:ext>
              </a:extLst>
            </p:cNvPr>
            <p:cNvSpPr txBox="1"/>
            <p:nvPr userDrawn="1"/>
          </p:nvSpPr>
          <p:spPr>
            <a:xfrm>
              <a:off x="12614407" y="1990969"/>
              <a:ext cx="1981357"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2: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aste from clipboard</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Select the icon placeholder.</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Right-click or use keyboard shortcuts to paste the icon.</a:t>
              </a:r>
            </a:p>
          </p:txBody>
        </p:sp>
        <p:sp>
          <p:nvSpPr>
            <p:cNvPr id="20" name="TextBox 19">
              <a:extLst>
                <a:ext uri="{FF2B5EF4-FFF2-40B4-BE49-F238E27FC236}">
                  <a16:creationId xmlns:a16="http://schemas.microsoft.com/office/drawing/2014/main" id="{3C6906C6-174E-51C7-FBA8-97422549FE4C}"/>
                </a:ext>
              </a:extLst>
            </p:cNvPr>
            <p:cNvSpPr txBox="1"/>
            <p:nvPr userDrawn="1"/>
          </p:nvSpPr>
          <p:spPr>
            <a:xfrm>
              <a:off x="12614407" y="2699974"/>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defTabSz="914400" eaLnBrk="1" fontAlgn="auto" latinLnBrk="0" hangingPunct="1">
                <a:lnSpc>
                  <a:spcPct val="100000"/>
                </a:lnSpc>
                <a:spcBef>
                  <a:spcPts val="900"/>
                </a:spcBef>
                <a:spcAft>
                  <a:spcPts val="300"/>
                </a:spcAft>
                <a:buClrTx/>
                <a:buSzTx/>
                <a:buFont typeface="Arial" panose="020B0604020202020204" pitchFamily="34" charset="0"/>
                <a:buNone/>
                <a:tabLst/>
                <a:defRPr/>
              </a:pPr>
              <a:r>
                <a:rPr kumimoji="0" lang="en-US" sz="600" b="1"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Method 3: </a:t>
              </a:r>
              <a:r>
                <a:rPr kumimoji="0" lang="en-US" sz="600" b="0" i="0" u="none" strike="noStrike" kern="0" cap="all" spc="20" normalizeH="0" baseline="0" noProof="0">
                  <a:ln>
                    <a:noFill/>
                  </a:ln>
                  <a:solidFill>
                    <a:srgbClr val="000000"/>
                  </a:solidFill>
                  <a:effectLst/>
                  <a:uLnTx/>
                  <a:uFillTx/>
                  <a:latin typeface="Aptos" panose="020B0004020202020204" pitchFamily="34" charset="0"/>
                  <a:cs typeface="Aparajita" panose="02020603050405020304" pitchFamily="18" charset="0"/>
                </a:rPr>
                <a:t>Placeholder icon</a:t>
              </a:r>
            </a:p>
            <a:p>
              <a:pPr marL="0" marR="0" lvl="1" indent="0" defTabSz="914400" eaLnBrk="1" fontAlgn="auto" latinLnBrk="0" hangingPunct="1">
                <a:lnSpc>
                  <a:spcPct val="90000"/>
                </a:lnSpc>
                <a:spcBef>
                  <a:spcPts val="0"/>
                </a:spcBef>
                <a:spcAft>
                  <a:spcPts val="300"/>
                </a:spcAft>
                <a:buClrTx/>
                <a:buSzTx/>
                <a:buFontTx/>
                <a:buNone/>
                <a:tabLst/>
                <a:defRPr/>
              </a:pPr>
              <a:r>
                <a:rPr kumimoji="0" lang="en-US" sz="1050" b="0" i="0" u="none" strike="noStrike" kern="0" cap="none" spc="0" normalizeH="0" baseline="0" noProof="0">
                  <a:ln>
                    <a:noFill/>
                  </a:ln>
                  <a:solidFill>
                    <a:srgbClr val="000000"/>
                  </a:solidFill>
                  <a:effectLst/>
                  <a:uLnTx/>
                  <a:uFillTx/>
                  <a:latin typeface="Aptos" panose="020B0004020202020204" pitchFamily="34" charset="0"/>
                  <a:cs typeface="Aparajita" panose="02020603050405020304" pitchFamily="18" charset="0"/>
                </a:rPr>
                <a:t>Click the image icon inside the placeholder to browse for an icon.</a:t>
              </a:r>
            </a:p>
          </p:txBody>
        </p:sp>
        <p:grpSp>
          <p:nvGrpSpPr>
            <p:cNvPr id="21" name="Group 20">
              <a:extLst>
                <a:ext uri="{FF2B5EF4-FFF2-40B4-BE49-F238E27FC236}">
                  <a16:creationId xmlns:a16="http://schemas.microsoft.com/office/drawing/2014/main" id="{260CE4A8-0F0A-4C75-D776-4A1000990F4B}"/>
                </a:ext>
              </a:extLst>
            </p:cNvPr>
            <p:cNvGrpSpPr/>
            <p:nvPr userDrawn="1"/>
          </p:nvGrpSpPr>
          <p:grpSpPr>
            <a:xfrm>
              <a:off x="12429548" y="3236396"/>
              <a:ext cx="2735151" cy="1280928"/>
              <a:chOff x="9286315" y="6976989"/>
              <a:chExt cx="2735151" cy="1280928"/>
            </a:xfrm>
          </p:grpSpPr>
          <p:sp>
            <p:nvSpPr>
              <p:cNvPr id="38" name="Rectangle 37">
                <a:extLst>
                  <a:ext uri="{FF2B5EF4-FFF2-40B4-BE49-F238E27FC236}">
                    <a16:creationId xmlns:a16="http://schemas.microsoft.com/office/drawing/2014/main" id="{D6DF7B9B-9DDA-C33F-85FF-F83948A401AD}"/>
                  </a:ext>
                </a:extLst>
              </p:cNvPr>
              <p:cNvSpPr/>
              <p:nvPr userDrawn="1"/>
            </p:nvSpPr>
            <p:spPr>
              <a:xfrm>
                <a:off x="9286315" y="6976989"/>
                <a:ext cx="2735151" cy="128092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9" name="TextBox 38">
                <a:extLst>
                  <a:ext uri="{FF2B5EF4-FFF2-40B4-BE49-F238E27FC236}">
                    <a16:creationId xmlns:a16="http://schemas.microsoft.com/office/drawing/2014/main" id="{03EFCB32-9400-C460-757B-A7C79C8D2CDF}"/>
                  </a:ext>
                </a:extLst>
              </p:cNvPr>
              <p:cNvSpPr txBox="1"/>
              <p:nvPr userDrawn="1"/>
            </p:nvSpPr>
            <p:spPr>
              <a:xfrm>
                <a:off x="9970738" y="7105788"/>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ropping Graphics</a:t>
                </a:r>
              </a:p>
            </p:txBody>
          </p:sp>
          <p:pic>
            <p:nvPicPr>
              <p:cNvPr id="40" name="Graphic 39">
                <a:extLst>
                  <a:ext uri="{FF2B5EF4-FFF2-40B4-BE49-F238E27FC236}">
                    <a16:creationId xmlns:a16="http://schemas.microsoft.com/office/drawing/2014/main" id="{DC83CEE5-722F-4A2A-E4F1-8655BE1B6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6DB9F243-EA42-F273-6F4F-9E735DD7F93F}"/>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Right-click on the icon.</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Choose “Crop” from the menu. (           )</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Adjust the size and position of the image.</a:t>
                </a:r>
              </a:p>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latin typeface="Aptos" panose="020B0004020202020204" pitchFamily="34" charset="0"/>
                    <a:cs typeface="Aparajita" panose="02020603050405020304" pitchFamily="18" charset="0"/>
                  </a:rPr>
                  <a:t>Press Esc or click outside the image area to exit the cropping mode.</a:t>
                </a:r>
              </a:p>
            </p:txBody>
          </p:sp>
          <p:pic>
            <p:nvPicPr>
              <p:cNvPr id="42" name="Picture 41">
                <a:extLst>
                  <a:ext uri="{FF2B5EF4-FFF2-40B4-BE49-F238E27FC236}">
                    <a16:creationId xmlns:a16="http://schemas.microsoft.com/office/drawing/2014/main" id="{5566EBE2-6A2E-A56C-E7C4-30802C3B8D3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noFill/>
              </a:ln>
            </p:spPr>
          </p:pic>
          <p:sp>
            <p:nvSpPr>
              <p:cNvPr id="130" name="TextBox 129">
                <a:extLst>
                  <a:ext uri="{FF2B5EF4-FFF2-40B4-BE49-F238E27FC236}">
                    <a16:creationId xmlns:a16="http://schemas.microsoft.com/office/drawing/2014/main" id="{6D813C75-EA44-DCE1-5697-1962589C9115}"/>
                  </a:ext>
                </a:extLst>
              </p:cNvPr>
              <p:cNvSpPr txBox="1"/>
              <p:nvPr userDrawn="1"/>
            </p:nvSpPr>
            <p:spPr>
              <a:xfrm>
                <a:off x="9667287" y="7119168"/>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nvGrpSpPr>
            <p:cNvPr id="22" name="Group 21">
              <a:extLst>
                <a:ext uri="{FF2B5EF4-FFF2-40B4-BE49-F238E27FC236}">
                  <a16:creationId xmlns:a16="http://schemas.microsoft.com/office/drawing/2014/main" id="{C42BCB3F-53CE-B020-DE2F-6E483C5F107D}"/>
                </a:ext>
              </a:extLst>
            </p:cNvPr>
            <p:cNvGrpSpPr/>
            <p:nvPr userDrawn="1"/>
          </p:nvGrpSpPr>
          <p:grpSpPr>
            <a:xfrm>
              <a:off x="12429548" y="4543123"/>
              <a:ext cx="2735151" cy="2200108"/>
              <a:chOff x="9538241" y="5155416"/>
              <a:chExt cx="2735151" cy="2200108"/>
            </a:xfrm>
          </p:grpSpPr>
          <p:sp>
            <p:nvSpPr>
              <p:cNvPr id="29" name="Rectangle 28">
                <a:extLst>
                  <a:ext uri="{FF2B5EF4-FFF2-40B4-BE49-F238E27FC236}">
                    <a16:creationId xmlns:a16="http://schemas.microsoft.com/office/drawing/2014/main" id="{EED95C38-FD16-63F7-F5F6-7DD1558030AD}"/>
                  </a:ext>
                </a:extLst>
              </p:cNvPr>
              <p:cNvSpPr/>
              <p:nvPr userDrawn="1"/>
            </p:nvSpPr>
            <p:spPr>
              <a:xfrm>
                <a:off x="9538241" y="5155416"/>
                <a:ext cx="2735151" cy="2200108"/>
              </a:xfrm>
              <a:prstGeom prst="rect">
                <a:avLst/>
              </a:prstGeom>
              <a:solidFill>
                <a:srgbClr val="000000"/>
              </a:solidFill>
              <a:ln w="25400" cap="flat" cmpd="sng" algn="ctr">
                <a:solidFill>
                  <a:srgbClr val="EFF1F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parajita" panose="02020603050405020304" pitchFamily="18" charset="0"/>
                </a:endParaRPr>
              </a:p>
            </p:txBody>
          </p:sp>
          <p:sp>
            <p:nvSpPr>
              <p:cNvPr id="30" name="TextBox 29">
                <a:extLst>
                  <a:ext uri="{FF2B5EF4-FFF2-40B4-BE49-F238E27FC236}">
                    <a16:creationId xmlns:a16="http://schemas.microsoft.com/office/drawing/2014/main" id="{CE8E9BD3-3F87-525E-9458-2359423BE61C}"/>
                  </a:ext>
                </a:extLst>
              </p:cNvPr>
              <p:cNvSpPr txBox="1"/>
              <p:nvPr userDrawn="1"/>
            </p:nvSpPr>
            <p:spPr>
              <a:xfrm>
                <a:off x="10222664" y="5284216"/>
                <a:ext cx="1983958" cy="169277"/>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ea typeface="Arial" charset="0"/>
                    <a:cs typeface="Aparajita" panose="02020603050405020304" pitchFamily="18" charset="0"/>
                  </a:rPr>
                  <a:t>Changing Icons</a:t>
                </a:r>
              </a:p>
            </p:txBody>
          </p:sp>
          <p:pic>
            <p:nvPicPr>
              <p:cNvPr id="31" name="Graphic 30">
                <a:extLst>
                  <a:ext uri="{FF2B5EF4-FFF2-40B4-BE49-F238E27FC236}">
                    <a16:creationId xmlns:a16="http://schemas.microsoft.com/office/drawing/2014/main" id="{7521EABE-1DDA-C28D-74A2-855EA80B88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32" name="TextBox 31">
                <a:extLst>
                  <a:ext uri="{FF2B5EF4-FFF2-40B4-BE49-F238E27FC236}">
                    <a16:creationId xmlns:a16="http://schemas.microsoft.com/office/drawing/2014/main" id="{11BF9854-367B-CBBA-CD2B-6DBCFB3FEEE3}"/>
                  </a:ext>
                </a:extLst>
              </p:cNvPr>
              <p:cNvSpPr txBox="1"/>
              <p:nvPr userDrawn="1"/>
            </p:nvSpPr>
            <p:spPr>
              <a:xfrm>
                <a:off x="9713479" y="5605333"/>
                <a:ext cx="2481100" cy="2564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1: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IGHT CLICK</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Right-click on icon and select “Change Picture”</a:t>
                </a:r>
              </a:p>
            </p:txBody>
          </p:sp>
          <p:sp>
            <p:nvSpPr>
              <p:cNvPr id="33" name="TextBox 32">
                <a:extLst>
                  <a:ext uri="{FF2B5EF4-FFF2-40B4-BE49-F238E27FC236}">
                    <a16:creationId xmlns:a16="http://schemas.microsoft.com/office/drawing/2014/main" id="{8D80CDF4-B59D-389D-AA20-6E9F5EF00C86}"/>
                  </a:ext>
                </a:extLst>
              </p:cNvPr>
              <p:cNvSpPr txBox="1"/>
              <p:nvPr userDrawn="1"/>
            </p:nvSpPr>
            <p:spPr>
              <a:xfrm>
                <a:off x="9713479" y="6516011"/>
                <a:ext cx="2422981" cy="499367"/>
              </a:xfrm>
              <a:prstGeom prst="rect">
                <a:avLst/>
              </a:prstGeom>
            </p:spPr>
            <p:txBody>
              <a:bodyPr vert="horz" wrap="square" lIns="0" tIns="0" rIns="0" bIns="0" rtlCol="0" anchor="t">
                <a:spAutoFit/>
              </a:bodyPr>
              <a:lstStyle/>
              <a:p>
                <a:pPr marL="134938" marR="0" lvl="1" indent="-131763" defTabSz="914400" eaLnBrk="1" fontAlgn="auto" latinLnBrk="0" hangingPunct="1">
                  <a:lnSpc>
                    <a:spcPct val="90000"/>
                  </a:lnSpc>
                  <a:spcBef>
                    <a:spcPts val="0"/>
                  </a:spcBef>
                  <a:spcAft>
                    <a:spcPts val="300"/>
                  </a:spcAft>
                  <a:buClrTx/>
                  <a:buSzTx/>
                  <a:buFont typeface="Wingdings" pitchFamily="2" charset="2"/>
                  <a:buChar char="§"/>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Deleting the image may bring the image placeholder to the top layer, covering the photo caption textbox. Right-click on the placeholder and choose “Send to Back”.</a:t>
                </a:r>
              </a:p>
            </p:txBody>
          </p:sp>
          <p:sp>
            <p:nvSpPr>
              <p:cNvPr id="34" name="TextBox 33">
                <a:extLst>
                  <a:ext uri="{FF2B5EF4-FFF2-40B4-BE49-F238E27FC236}">
                    <a16:creationId xmlns:a16="http://schemas.microsoft.com/office/drawing/2014/main" id="{DD3B16CD-3463-3F49-0200-168C495AFAA2}"/>
                  </a:ext>
                </a:extLst>
              </p:cNvPr>
              <p:cNvSpPr txBox="1"/>
              <p:nvPr userDrawn="1"/>
            </p:nvSpPr>
            <p:spPr>
              <a:xfrm>
                <a:off x="9713479" y="6063079"/>
                <a:ext cx="2422981" cy="394980"/>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0" cap="all" spc="20" normalizeH="0" baseline="0" noProof="0">
                    <a:ln>
                      <a:noFill/>
                    </a:ln>
                    <a:solidFill>
                      <a:srgbClr val="FFFFFF"/>
                    </a:solidFill>
                    <a:effectLst/>
                    <a:uLnTx/>
                    <a:uFillTx/>
                    <a:cs typeface="Aparajita" panose="02020603050405020304" pitchFamily="18" charset="0"/>
                  </a:rPr>
                  <a:t>Method 2: </a:t>
                </a:r>
                <a:r>
                  <a:rPr kumimoji="0" lang="en-US" sz="600" b="0" i="0" u="none" strike="noStrike" kern="0" cap="all" spc="20" normalizeH="0" baseline="0" noProof="0">
                    <a:ln>
                      <a:noFill/>
                    </a:ln>
                    <a:solidFill>
                      <a:srgbClr val="FFFFFF"/>
                    </a:solidFill>
                    <a:effectLst/>
                    <a:uLnTx/>
                    <a:uFillTx/>
                    <a:cs typeface="Aparajita" panose="02020603050405020304" pitchFamily="18" charset="0"/>
                  </a:rPr>
                  <a:t>RESET PLACEHOLDER</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First, delete the existing icon to reset the photo placeholder functionality.</a:t>
                </a:r>
              </a:p>
            </p:txBody>
          </p:sp>
          <p:sp>
            <p:nvSpPr>
              <p:cNvPr id="35" name="TextBox 34">
                <a:extLst>
                  <a:ext uri="{FF2B5EF4-FFF2-40B4-BE49-F238E27FC236}">
                    <a16:creationId xmlns:a16="http://schemas.microsoft.com/office/drawing/2014/main" id="{792CD33D-4A40-3353-AEB5-343C73AA5C37}"/>
                  </a:ext>
                </a:extLst>
              </p:cNvPr>
              <p:cNvSpPr txBox="1"/>
              <p:nvPr userDrawn="1"/>
            </p:nvSpPr>
            <p:spPr>
              <a:xfrm>
                <a:off x="9713479" y="7056726"/>
                <a:ext cx="2422981" cy="13849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a:ln>
                      <a:noFill/>
                    </a:ln>
                    <a:solidFill>
                      <a:srgbClr val="FFFFFF">
                        <a:lumMod val="50000"/>
                        <a:lumOff val="50000"/>
                      </a:srgbClr>
                    </a:solidFill>
                    <a:effectLst/>
                    <a:uLnTx/>
                    <a:uFillTx/>
                    <a:ea typeface="Arial" charset="0"/>
                    <a:cs typeface="Aparajita" panose="02020603050405020304" pitchFamily="18" charset="0"/>
                  </a:rPr>
                  <a:t>You can now add a new icon as normal.</a:t>
                </a:r>
              </a:p>
            </p:txBody>
          </p:sp>
          <p:cxnSp>
            <p:nvCxnSpPr>
              <p:cNvPr id="36" name="Straight Connector 35">
                <a:extLst>
                  <a:ext uri="{FF2B5EF4-FFF2-40B4-BE49-F238E27FC236}">
                    <a16:creationId xmlns:a16="http://schemas.microsoft.com/office/drawing/2014/main" id="{8D0CB376-99C4-94BA-CF39-CB6040DF6096}"/>
                  </a:ext>
                </a:extLst>
              </p:cNvPr>
              <p:cNvCxnSpPr>
                <a:cxnSpLocks/>
              </p:cNvCxnSpPr>
              <p:nvPr userDrawn="1"/>
            </p:nvCxnSpPr>
            <p:spPr>
              <a:xfrm>
                <a:off x="9713479" y="5957047"/>
                <a:ext cx="270000" cy="0"/>
              </a:xfrm>
              <a:prstGeom prst="line">
                <a:avLst/>
              </a:prstGeom>
              <a:noFill/>
              <a:ln w="9525" cap="flat" cmpd="sng" algn="ctr">
                <a:solidFill>
                  <a:srgbClr val="833AFF"/>
                </a:solidFill>
                <a:prstDash val="solid"/>
              </a:ln>
              <a:effectLst/>
            </p:spPr>
          </p:cxnSp>
          <p:sp>
            <p:nvSpPr>
              <p:cNvPr id="37" name="TextBox 36">
                <a:extLst>
                  <a:ext uri="{FF2B5EF4-FFF2-40B4-BE49-F238E27FC236}">
                    <a16:creationId xmlns:a16="http://schemas.microsoft.com/office/drawing/2014/main" id="{5C8BADC1-8AD4-A9C6-6992-8A3CBF399C7E}"/>
                  </a:ext>
                </a:extLst>
              </p:cNvPr>
              <p:cNvSpPr txBox="1"/>
              <p:nvPr userDrawn="1"/>
            </p:nvSpPr>
            <p:spPr>
              <a:xfrm>
                <a:off x="9919213" y="5297596"/>
                <a:ext cx="272091" cy="153888"/>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all" spc="150" normalizeH="0" baseline="0" noProof="0">
                    <a:ln>
                      <a:noFill/>
                    </a:ln>
                    <a:solidFill>
                      <a:srgbClr val="FFFFFF"/>
                    </a:solidFill>
                    <a:effectLst/>
                    <a:uLnTx/>
                    <a:uFillTx/>
                  </a:rPr>
                  <a:t>TIP</a:t>
                </a:r>
              </a:p>
            </p:txBody>
          </p:sp>
        </p:grpSp>
      </p:grpSp>
      <p:sp>
        <p:nvSpPr>
          <p:cNvPr id="4" name="TextBox 3">
            <a:extLst>
              <a:ext uri="{FF2B5EF4-FFF2-40B4-BE49-F238E27FC236}">
                <a16:creationId xmlns:a16="http://schemas.microsoft.com/office/drawing/2014/main" id="{21E289CB-343B-0FF5-1F2F-45C114F2F2E1}"/>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1163720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userDrawn="1">
  <p:cSld name="Quote_Grey">
    <p:bg>
      <p:bgPr>
        <a:solidFill>
          <a:srgbClr val="EFF1F5"/>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B91DB79-E2AC-CE2B-5FAE-BEC630409992}"/>
              </a:ext>
            </a:extLst>
          </p:cNvPr>
          <p:cNvSpPr>
            <a:spLocks noGrp="1"/>
          </p:cNvSpPr>
          <p:nvPr>
            <p:ph type="title" hasCustomPrompt="1"/>
          </p:nvPr>
        </p:nvSpPr>
        <p:spPr>
          <a:xfrm>
            <a:off x="531812" y="1196975"/>
            <a:ext cx="11144251" cy="3616325"/>
          </a:xfrm>
        </p:spPr>
        <p:txBody>
          <a:bodyPr anchor="ctr"/>
          <a:lstStyle>
            <a:lvl1pPr marL="0" marR="0" indent="0" algn="ctr" defTabSz="914400" rtl="0" eaLnBrk="1" fontAlgn="auto" latinLnBrk="0" hangingPunct="1">
              <a:lnSpc>
                <a:spcPct val="84000"/>
              </a:lnSpc>
              <a:spcBef>
                <a:spcPct val="0"/>
              </a:spcBef>
              <a:spcAft>
                <a:spcPts val="0"/>
              </a:spcAft>
              <a:buClrTx/>
              <a:buSzTx/>
              <a:buFontTx/>
              <a:buNone/>
              <a:tabLst/>
              <a:defRPr sz="5500">
                <a:solidFill>
                  <a:schemeClr val="accent1"/>
                </a:solidFill>
              </a:defRPr>
            </a:lvl1pPr>
          </a:lstStyle>
          <a:p>
            <a:r>
              <a:rPr lang="en-US"/>
              <a:t>Quote 4 lines maximum. </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laoreet</a:t>
            </a:r>
            <a:r>
              <a:rPr lang="en-US"/>
              <a:t> </a:t>
            </a:r>
            <a:r>
              <a:rPr lang="en-US" err="1"/>
              <a:t>venenatis</a:t>
            </a:r>
            <a:r>
              <a:rPr lang="en-US"/>
              <a:t> </a:t>
            </a:r>
            <a:r>
              <a:rPr lang="en-US" err="1"/>
              <a:t>urna</a:t>
            </a:r>
            <a:r>
              <a:rPr lang="en-US"/>
              <a:t>, in </a:t>
            </a:r>
            <a:r>
              <a:rPr lang="en-US" err="1"/>
              <a:t>vehicula</a:t>
            </a:r>
            <a:r>
              <a:rPr lang="en-US"/>
              <a:t> mi.</a:t>
            </a:r>
          </a:p>
        </p:txBody>
      </p:sp>
      <p:sp>
        <p:nvSpPr>
          <p:cNvPr id="13" name="Text Placeholder 22">
            <a:extLst>
              <a:ext uri="{FF2B5EF4-FFF2-40B4-BE49-F238E27FC236}">
                <a16:creationId xmlns:a16="http://schemas.microsoft.com/office/drawing/2014/main" id="{84EB628F-8E06-31E6-5105-B798681A887F}"/>
              </a:ext>
            </a:extLst>
          </p:cNvPr>
          <p:cNvSpPr>
            <a:spLocks noGrp="1"/>
          </p:cNvSpPr>
          <p:nvPr>
            <p:ph type="body" sz="quarter" idx="13" hasCustomPrompt="1"/>
          </p:nvPr>
        </p:nvSpPr>
        <p:spPr>
          <a:xfrm>
            <a:off x="531811" y="5053746"/>
            <a:ext cx="11144252" cy="1112104"/>
          </a:xfrm>
        </p:spPr>
        <p:txBody>
          <a:bodyPr wrap="square" anchor="b">
            <a:noAutofit/>
          </a:bodyPr>
          <a:lstStyle>
            <a:lvl1pPr marL="0" indent="0" algn="ctr">
              <a:buNone/>
              <a:defRPr lang="en-US" sz="2800" kern="1200" spc="-50" baseline="0" dirty="0">
                <a:solidFill>
                  <a:schemeClr val="tx2"/>
                </a:solidFill>
                <a:latin typeface="+mj-lt"/>
                <a:ea typeface="+mn-ea"/>
                <a:cs typeface="+mn-cs"/>
              </a:defRPr>
            </a:lvl1pPr>
          </a:lstStyle>
          <a:p>
            <a:pPr lvl="0"/>
            <a:r>
              <a:rPr lang="en-US"/>
              <a:t>Quote attribution</a:t>
            </a:r>
          </a:p>
        </p:txBody>
      </p:sp>
      <p:sp>
        <p:nvSpPr>
          <p:cNvPr id="3" name="Footer Placeholder 2">
            <a:extLst>
              <a:ext uri="{FF2B5EF4-FFF2-40B4-BE49-F238E27FC236}">
                <a16:creationId xmlns:a16="http://schemas.microsoft.com/office/drawing/2014/main" id="{61557233-3B17-FEA2-60BE-6985A7AFDAB0}"/>
              </a:ext>
            </a:extLst>
          </p:cNvPr>
          <p:cNvSpPr>
            <a:spLocks noGrp="1"/>
          </p:cNvSpPr>
          <p:nvPr>
            <p:ph type="ftr" sz="quarter" idx="14"/>
          </p:nvPr>
        </p:nvSpPr>
        <p:spPr/>
        <p:txBody>
          <a:bodyPr/>
          <a:lstStyle>
            <a:lvl1pPr>
              <a:defRPr>
                <a:solidFill>
                  <a:schemeClr val="accent6">
                    <a:lumMod val="50000"/>
                  </a:schemeClr>
                </a:solidFill>
              </a:defRPr>
            </a:lvl1pPr>
          </a:lstStyle>
          <a:p>
            <a:r>
              <a:rPr lang="en-CA"/>
              <a:t>5G Broadcast Conference</a:t>
            </a:r>
          </a:p>
        </p:txBody>
      </p:sp>
      <p:sp>
        <p:nvSpPr>
          <p:cNvPr id="4" name="TextBox 3">
            <a:extLst>
              <a:ext uri="{FF2B5EF4-FFF2-40B4-BE49-F238E27FC236}">
                <a16:creationId xmlns:a16="http://schemas.microsoft.com/office/drawing/2014/main" id="{4D4BB44A-F67D-49FB-3E85-19CDFE282856}"/>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177933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Title+Content_Grey">
    <p:bg>
      <p:bgPr>
        <a:solidFill>
          <a:srgbClr val="EFF1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p:txBody>
          <a:bodyPr/>
          <a:lstStyle>
            <a:lvl1pPr>
              <a:lnSpc>
                <a:spcPct val="85000"/>
              </a:lnSpc>
              <a:defRPr>
                <a:solidFill>
                  <a:schemeClr val="accent1"/>
                </a:solidFill>
              </a:defRPr>
            </a:lvl1pPr>
          </a:lstStyle>
          <a:p>
            <a:r>
              <a:rPr lang="en-US"/>
              <a:t>Title + Content layout</a:t>
            </a:r>
            <a:br>
              <a:rPr lang="en-US"/>
            </a:br>
            <a:r>
              <a:rPr lang="en-US"/>
              <a:t>Title 2 lines maximum</a:t>
            </a:r>
            <a:endParaRPr lang="en-CA"/>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p:txBody>
          <a:bodyPr/>
          <a:lstStyle>
            <a:lvl1pPr>
              <a:defRPr>
                <a:solidFill>
                  <a:schemeClr val="accent6">
                    <a:lumMod val="50000"/>
                  </a:schemeClr>
                </a:solidFill>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8" y="1820860"/>
            <a:ext cx="11160126"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8" y="1387475"/>
            <a:ext cx="11160125" cy="233910"/>
          </a:xfrm>
        </p:spPr>
        <p:txBody>
          <a:bodyPr>
            <a:spAutoFit/>
          </a:bodyPr>
          <a:lstStyle>
            <a:lvl1pPr marL="0" indent="0">
              <a:buNone/>
              <a:defRPr lang="en-US" sz="1600" kern="1200" dirty="0">
                <a:solidFill>
                  <a:schemeClr val="dk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1132034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preserve="1" userDrawn="1">
  <p:cSld name="50/50 Title+Content_Grey">
    <p:bg>
      <p:bgPr>
        <a:solidFill>
          <a:srgbClr val="EFF1F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5065712" cy="647700"/>
          </a:xfrm>
        </p:spPr>
        <p:txBody>
          <a:bodyPr/>
          <a:lstStyle>
            <a:lvl1pPr>
              <a:lnSpc>
                <a:spcPct val="85000"/>
              </a:lnSpc>
              <a:defRPr>
                <a:solidFill>
                  <a:schemeClr val="accent1"/>
                </a:solidFill>
              </a:defRPr>
            </a:lvl1pPr>
          </a:lstStyle>
          <a:p>
            <a:r>
              <a:rPr lang="en-US"/>
              <a:t>50/50 Title + Content</a:t>
            </a:r>
            <a:br>
              <a:rPr lang="en-US"/>
            </a:br>
            <a:r>
              <a:rPr lang="en-US"/>
              <a:t>Title 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5065711" cy="118174"/>
          </a:xfrm>
        </p:spPr>
        <p:txBody>
          <a:bodyPr/>
          <a:lstStyle>
            <a:lvl1pPr>
              <a:defRPr>
                <a:solidFill>
                  <a:schemeClr val="accent6">
                    <a:lumMod val="50000"/>
                  </a:schemeClr>
                </a:solidFill>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5065712"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5065712" cy="233910"/>
          </a:xfrm>
        </p:spPr>
        <p:txBody>
          <a:bodyPr wrap="square">
            <a:spAutoFit/>
          </a:bodyPr>
          <a:lstStyle>
            <a:lvl1pPr marL="0" indent="0">
              <a:buNone/>
              <a:defRPr lang="en-US" sz="1600" kern="1200" dirty="0">
                <a:solidFill>
                  <a:schemeClr val="dk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l"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6611936" y="628017"/>
            <a:ext cx="5065200"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bg1"/>
                </a:solidFill>
                <a:latin typeface="+mj-lt"/>
                <a:ea typeface="+mj-ea"/>
                <a:cs typeface="+mj-cs"/>
              </a:defRPr>
            </a:lvl1pPr>
          </a:lstStyle>
          <a:p>
            <a:pPr lvl="0"/>
            <a:r>
              <a:rPr lang="en-US"/>
              <a:t>50/50 Title + Content</a:t>
            </a:r>
            <a:br>
              <a:rPr lang="en-US"/>
            </a:br>
            <a:r>
              <a:rPr lang="en-US"/>
              <a:t>Title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6611937" y="1820860"/>
            <a:ext cx="5065200" cy="4344989"/>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6611937" y="1387475"/>
            <a:ext cx="5065200" cy="233910"/>
          </a:xfrm>
        </p:spPr>
        <p:txBody>
          <a:bodyPr wrap="square">
            <a:spAutoFit/>
          </a:bodyPr>
          <a:lstStyle>
            <a:lvl1pPr marL="0" indent="0">
              <a:buNone/>
              <a:defRPr lang="en-US" sz="1600" kern="1200" dirty="0">
                <a:solidFill>
                  <a:schemeClr val="bg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2660919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4165">
          <p15:clr>
            <a:srgbClr val="FBAE40"/>
          </p15:clr>
        </p15:guide>
        <p15:guide id="3" pos="3516">
          <p15:clr>
            <a:srgbClr val="FBAE40"/>
          </p15:clr>
        </p15:guide>
      </p15:sldGuideLst>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showMasterSp="0" preserve="1" userDrawn="1">
  <p:cSld name="2/1 Title+Content_Grey">
    <p:bg>
      <p:bgPr>
        <a:solidFill>
          <a:srgbClr val="EFF1F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C7DB58-AE4B-237F-9A89-82A8C6785EA1}"/>
              </a:ext>
            </a:extLst>
          </p:cNvPr>
          <p:cNvSpPr/>
          <p:nvPr userDrawn="1"/>
        </p:nvSpPr>
        <p:spPr>
          <a:xfrm>
            <a:off x="8127602" y="0"/>
            <a:ext cx="40643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Title 2">
            <a:extLst>
              <a:ext uri="{FF2B5EF4-FFF2-40B4-BE49-F238E27FC236}">
                <a16:creationId xmlns:a16="http://schemas.microsoft.com/office/drawing/2014/main" id="{C22F3776-3D2C-A222-540D-0903BB38AA94}"/>
              </a:ext>
            </a:extLst>
          </p:cNvPr>
          <p:cNvSpPr>
            <a:spLocks noGrp="1"/>
          </p:cNvSpPr>
          <p:nvPr>
            <p:ph type="title" hasCustomPrompt="1"/>
          </p:nvPr>
        </p:nvSpPr>
        <p:spPr>
          <a:xfrm>
            <a:off x="515938" y="628016"/>
            <a:ext cx="7097314" cy="647700"/>
          </a:xfrm>
        </p:spPr>
        <p:txBody>
          <a:bodyPr/>
          <a:lstStyle>
            <a:lvl1pPr>
              <a:lnSpc>
                <a:spcPct val="85000"/>
              </a:lnSpc>
              <a:defRPr>
                <a:solidFill>
                  <a:schemeClr val="accent1"/>
                </a:solidFill>
              </a:defRPr>
            </a:lvl1pPr>
          </a:lstStyle>
          <a:p>
            <a:r>
              <a:rPr lang="en-US"/>
              <a:t>2/1 Title + Content</a:t>
            </a:r>
            <a:br>
              <a:rPr lang="en-US"/>
            </a:br>
            <a:r>
              <a:rPr lang="en-US"/>
              <a:t>2 lines maximum</a:t>
            </a:r>
          </a:p>
        </p:txBody>
      </p:sp>
      <p:sp>
        <p:nvSpPr>
          <p:cNvPr id="2" name="Footer Placeholder 1">
            <a:extLst>
              <a:ext uri="{FF2B5EF4-FFF2-40B4-BE49-F238E27FC236}">
                <a16:creationId xmlns:a16="http://schemas.microsoft.com/office/drawing/2014/main" id="{C1603945-6AF6-41EC-96CD-6345DBC93FB5}"/>
              </a:ext>
            </a:extLst>
          </p:cNvPr>
          <p:cNvSpPr>
            <a:spLocks noGrp="1"/>
          </p:cNvSpPr>
          <p:nvPr>
            <p:ph type="ftr" sz="quarter" idx="10"/>
          </p:nvPr>
        </p:nvSpPr>
        <p:spPr>
          <a:xfrm>
            <a:off x="515938" y="6396925"/>
            <a:ext cx="7097313" cy="118174"/>
          </a:xfrm>
        </p:spPr>
        <p:txBody>
          <a:bodyPr/>
          <a:lstStyle>
            <a:lvl1pPr>
              <a:defRPr>
                <a:solidFill>
                  <a:schemeClr val="accent6">
                    <a:lumMod val="50000"/>
                  </a:schemeClr>
                </a:solidFill>
              </a:defRPr>
            </a:lvl1pPr>
          </a:lstStyle>
          <a:p>
            <a:r>
              <a:rPr lang="en-CA"/>
              <a:t>5G Broadcast Conference</a:t>
            </a:r>
          </a:p>
        </p:txBody>
      </p:sp>
      <p:sp>
        <p:nvSpPr>
          <p:cNvPr id="4" name="Text Placeholder 3">
            <a:extLst>
              <a:ext uri="{FF2B5EF4-FFF2-40B4-BE49-F238E27FC236}">
                <a16:creationId xmlns:a16="http://schemas.microsoft.com/office/drawing/2014/main" id="{8C4674D7-0943-3D3A-3399-801B35B01C98}"/>
              </a:ext>
            </a:extLst>
          </p:cNvPr>
          <p:cNvSpPr>
            <a:spLocks noGrp="1"/>
          </p:cNvSpPr>
          <p:nvPr>
            <p:ph idx="1" hasCustomPrompt="1"/>
          </p:nvPr>
        </p:nvSpPr>
        <p:spPr>
          <a:xfrm>
            <a:off x="515937" y="1820860"/>
            <a:ext cx="7097314" cy="4344989"/>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Text Placeholder 4">
            <a:extLst>
              <a:ext uri="{FF2B5EF4-FFF2-40B4-BE49-F238E27FC236}">
                <a16:creationId xmlns:a16="http://schemas.microsoft.com/office/drawing/2014/main" id="{7E0D4A21-1870-2B85-04F6-859526FE4179}"/>
              </a:ext>
            </a:extLst>
          </p:cNvPr>
          <p:cNvSpPr>
            <a:spLocks noGrp="1"/>
          </p:cNvSpPr>
          <p:nvPr>
            <p:ph type="body" sz="quarter" idx="11" hasCustomPrompt="1"/>
          </p:nvPr>
        </p:nvSpPr>
        <p:spPr>
          <a:xfrm>
            <a:off x="515937" y="1387475"/>
            <a:ext cx="7097314" cy="233910"/>
          </a:xfrm>
        </p:spPr>
        <p:txBody>
          <a:bodyPr wrap="square">
            <a:spAutoFit/>
          </a:bodyPr>
          <a:lstStyle>
            <a:lvl1pPr marL="0" indent="0">
              <a:buNone/>
              <a:defRPr lang="en-US" sz="1600" kern="1200" dirty="0">
                <a:solidFill>
                  <a:schemeClr val="dk1"/>
                </a:solidFill>
                <a:latin typeface="+mn-lt"/>
                <a:ea typeface="+mn-ea"/>
                <a:cs typeface="+mn-cs"/>
              </a:defRPr>
            </a:lvl1pPr>
          </a:lstStyle>
          <a:p>
            <a:pPr lvl="0"/>
            <a:r>
              <a:rPr lang="en-US" err="1"/>
              <a:t>Subheader</a:t>
            </a:r>
            <a:endParaRPr lang="en-US"/>
          </a:p>
        </p:txBody>
      </p:sp>
      <p:sp>
        <p:nvSpPr>
          <p:cNvPr id="6" name="TextBox 5">
            <a:extLst>
              <a:ext uri="{FF2B5EF4-FFF2-40B4-BE49-F238E27FC236}">
                <a16:creationId xmlns:a16="http://schemas.microsoft.com/office/drawing/2014/main" id="{453F3C8D-5FC0-8926-D525-14F58F1CD347}"/>
              </a:ext>
            </a:extLst>
          </p:cNvPr>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l"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7" name="TextBox 6">
            <a:extLst>
              <a:ext uri="{FF2B5EF4-FFF2-40B4-BE49-F238E27FC236}">
                <a16:creationId xmlns:a16="http://schemas.microsoft.com/office/drawing/2014/main" id="{B8D9ACE2-2765-F3B0-D6F0-6EEB06E3BF04}"/>
              </a:ext>
            </a:extLst>
          </p:cNvPr>
          <p:cNvSpPr txBox="1"/>
          <p:nvPr userDrawn="1"/>
        </p:nvSpPr>
        <p:spPr>
          <a:xfrm>
            <a:off x="8640762" y="6279571"/>
            <a:ext cx="289786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sz="800" kern="1200" baseline="0">
                <a:solidFill>
                  <a:schemeClr val="bg1"/>
                </a:solidFill>
                <a:latin typeface="+mn-lt"/>
                <a:ea typeface="+mn-ea"/>
                <a:cs typeface="+mn-cs"/>
              </a:rPr>
              <a:t>Confidential – Qualcomm Technologies, Inc. and/or its affiliated companies – May Contain Trade Secrets</a:t>
            </a:r>
          </a:p>
        </p:txBody>
      </p:sp>
      <p:sp>
        <p:nvSpPr>
          <p:cNvPr id="12" name="Content Placeholder 5">
            <a:extLst>
              <a:ext uri="{FF2B5EF4-FFF2-40B4-BE49-F238E27FC236}">
                <a16:creationId xmlns:a16="http://schemas.microsoft.com/office/drawing/2014/main" id="{6ED21770-A267-5772-4EFF-0944DDD34920}"/>
              </a:ext>
            </a:extLst>
          </p:cNvPr>
          <p:cNvSpPr txBox="1">
            <a:spLocks/>
          </p:cNvSpPr>
          <p:nvPr userDrawn="1"/>
        </p:nvSpPr>
        <p:spPr>
          <a:xfrm>
            <a:off x="6611938" y="1820860"/>
            <a:ext cx="5065712" cy="434498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US"/>
          </a:p>
        </p:txBody>
      </p:sp>
      <p:sp>
        <p:nvSpPr>
          <p:cNvPr id="13" name="Text Placeholder 6">
            <a:extLst>
              <a:ext uri="{FF2B5EF4-FFF2-40B4-BE49-F238E27FC236}">
                <a16:creationId xmlns:a16="http://schemas.microsoft.com/office/drawing/2014/main" id="{76E4617A-E4E0-90D8-EBDE-4EE5196FA4F2}"/>
              </a:ext>
            </a:extLst>
          </p:cNvPr>
          <p:cNvSpPr txBox="1">
            <a:spLocks/>
          </p:cNvSpPr>
          <p:nvPr userDrawn="1"/>
        </p:nvSpPr>
        <p:spPr>
          <a:xfrm>
            <a:off x="6611939" y="1387475"/>
            <a:ext cx="5065712" cy="233910"/>
          </a:xfrm>
          <a:prstGeom prst="rect">
            <a:avLst/>
          </a:prstGeom>
        </p:spPr>
        <p:txBody>
          <a:bodyPr vert="horz" lIns="0" tIns="0" rIns="0" bIns="0" rtlCol="0">
            <a:sp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endParaRPr lang="en-CA"/>
          </a:p>
        </p:txBody>
      </p:sp>
      <p:sp>
        <p:nvSpPr>
          <p:cNvPr id="16" name="Text Placeholder 15">
            <a:extLst>
              <a:ext uri="{FF2B5EF4-FFF2-40B4-BE49-F238E27FC236}">
                <a16:creationId xmlns:a16="http://schemas.microsoft.com/office/drawing/2014/main" id="{29ED1B69-998A-60D1-325D-1412D1F5E143}"/>
              </a:ext>
            </a:extLst>
          </p:cNvPr>
          <p:cNvSpPr>
            <a:spLocks noGrp="1"/>
          </p:cNvSpPr>
          <p:nvPr>
            <p:ph type="body" sz="quarter" idx="12" hasCustomPrompt="1"/>
          </p:nvPr>
        </p:nvSpPr>
        <p:spPr>
          <a:xfrm>
            <a:off x="8640762" y="628017"/>
            <a:ext cx="3036373" cy="647699"/>
          </a:xfrm>
        </p:spPr>
        <p:txBody>
          <a:bodyPr>
            <a:noAutofit/>
          </a:bodyPr>
          <a:lstStyle>
            <a:lvl1pPr marL="0" indent="0" algn="l" defTabSz="914400" rtl="0" eaLnBrk="1" latinLnBrk="0" hangingPunct="1">
              <a:lnSpc>
                <a:spcPct val="85000"/>
              </a:lnSpc>
              <a:spcBef>
                <a:spcPct val="0"/>
              </a:spcBef>
              <a:buNone/>
              <a:defRPr lang="en-US" sz="2800" kern="2000" spc="-50" baseline="0" dirty="0">
                <a:solidFill>
                  <a:schemeClr val="bg1"/>
                </a:solidFill>
                <a:latin typeface="+mj-lt"/>
                <a:ea typeface="+mj-ea"/>
                <a:cs typeface="+mj-cs"/>
              </a:defRPr>
            </a:lvl1pPr>
          </a:lstStyle>
          <a:p>
            <a:pPr lvl="0"/>
            <a:r>
              <a:rPr lang="en-US"/>
              <a:t>2/1 Title + Content 2 lines maximum</a:t>
            </a:r>
          </a:p>
        </p:txBody>
      </p:sp>
      <p:sp>
        <p:nvSpPr>
          <p:cNvPr id="17" name="Text Placeholder 3">
            <a:extLst>
              <a:ext uri="{FF2B5EF4-FFF2-40B4-BE49-F238E27FC236}">
                <a16:creationId xmlns:a16="http://schemas.microsoft.com/office/drawing/2014/main" id="{FF4B56A6-904F-8642-543E-EAFA3FD79532}"/>
              </a:ext>
            </a:extLst>
          </p:cNvPr>
          <p:cNvSpPr>
            <a:spLocks noGrp="1"/>
          </p:cNvSpPr>
          <p:nvPr>
            <p:ph idx="13" hasCustomPrompt="1"/>
          </p:nvPr>
        </p:nvSpPr>
        <p:spPr>
          <a:xfrm>
            <a:off x="8640763" y="1820860"/>
            <a:ext cx="3036373" cy="4344989"/>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18" name="Text Placeholder 4">
            <a:extLst>
              <a:ext uri="{FF2B5EF4-FFF2-40B4-BE49-F238E27FC236}">
                <a16:creationId xmlns:a16="http://schemas.microsoft.com/office/drawing/2014/main" id="{2579E407-0D27-083D-EA02-25085D9B7802}"/>
              </a:ext>
            </a:extLst>
          </p:cNvPr>
          <p:cNvSpPr>
            <a:spLocks noGrp="1"/>
          </p:cNvSpPr>
          <p:nvPr>
            <p:ph type="body" sz="quarter" idx="14" hasCustomPrompt="1"/>
          </p:nvPr>
        </p:nvSpPr>
        <p:spPr>
          <a:xfrm>
            <a:off x="8640763" y="1387475"/>
            <a:ext cx="3036373" cy="233910"/>
          </a:xfrm>
        </p:spPr>
        <p:txBody>
          <a:bodyPr wrap="square">
            <a:spAutoFit/>
          </a:bodyPr>
          <a:lstStyle>
            <a:lvl1pPr marL="0" indent="0">
              <a:buNone/>
              <a:defRPr lang="en-US" sz="1600" kern="1200" dirty="0">
                <a:solidFill>
                  <a:schemeClr val="bg1"/>
                </a:solidFill>
                <a:latin typeface="+mn-lt"/>
                <a:ea typeface="+mn-ea"/>
                <a:cs typeface="+mn-cs"/>
              </a:defRPr>
            </a:lvl1pPr>
          </a:lstStyle>
          <a:p>
            <a:pPr lvl="0"/>
            <a:r>
              <a:rPr lang="en-US" err="1"/>
              <a:t>Subheader</a:t>
            </a:r>
            <a:endParaRPr lang="en-US"/>
          </a:p>
        </p:txBody>
      </p:sp>
    </p:spTree>
    <p:extLst>
      <p:ext uri="{BB962C8B-B14F-4D97-AF65-F5344CB8AC3E}">
        <p14:creationId xmlns:p14="http://schemas.microsoft.com/office/powerpoint/2010/main" val="3761665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00">
          <p15:clr>
            <a:srgbClr val="FBAE40"/>
          </p15:clr>
        </p15:guide>
        <p15:guide id="2" pos="5443">
          <p15:clr>
            <a:srgbClr val="FBAE40"/>
          </p15:clr>
        </p15:guide>
        <p15:guide id="3" pos="512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Tree>
    <p:extLst>
      <p:ext uri="{BB962C8B-B14F-4D97-AF65-F5344CB8AC3E}">
        <p14:creationId xmlns:p14="http://schemas.microsoft.com/office/powerpoint/2010/main" val="240598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showMasterSp="0" preserve="1" userDrawn="1">
  <p:cSld name="Blank_Grey">
    <p:bg>
      <p:bgPr>
        <a:solidFill>
          <a:srgbClr val="EFF1F5"/>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38A5DA2-E1FA-00EF-0AFD-DE21046BAF6B}"/>
              </a:ext>
            </a:extLst>
          </p:cNvPr>
          <p:cNvSpPr>
            <a:spLocks noGrp="1"/>
          </p:cNvSpPr>
          <p:nvPr>
            <p:ph type="ftr" sz="quarter" idx="10"/>
          </p:nvPr>
        </p:nvSpPr>
        <p:spPr>
          <a:xfrm>
            <a:off x="515938" y="6669768"/>
            <a:ext cx="6359648" cy="118174"/>
          </a:xfrm>
        </p:spPr>
        <p:txBody>
          <a:bodyPr/>
          <a:lstStyle>
            <a:lvl1pPr>
              <a:defRPr>
                <a:solidFill>
                  <a:schemeClr val="accent6">
                    <a:lumMod val="50000"/>
                  </a:schemeClr>
                </a:solidFill>
              </a:defRPr>
            </a:lvl1pPr>
          </a:lstStyle>
          <a:p>
            <a:r>
              <a:rPr lang="en-CA"/>
              <a:t>5G Broadcast Conference</a:t>
            </a:r>
          </a:p>
        </p:txBody>
      </p:sp>
      <p:sp>
        <p:nvSpPr>
          <p:cNvPr id="3" name="TextBox 2">
            <a:extLst>
              <a:ext uri="{FF2B5EF4-FFF2-40B4-BE49-F238E27FC236}">
                <a16:creationId xmlns:a16="http://schemas.microsoft.com/office/drawing/2014/main" id="{7B756E7D-68E6-A6E1-2CB2-40D99C8F1CAA}"/>
              </a:ext>
            </a:extLst>
          </p:cNvPr>
          <p:cNvSpPr txBox="1"/>
          <p:nvPr userDrawn="1"/>
        </p:nvSpPr>
        <p:spPr>
          <a:xfrm>
            <a:off x="11676063" y="6630012"/>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5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50000"/>
                </a:schemeClr>
              </a:solidFill>
              <a:latin typeface="+mn-lt"/>
              <a:ea typeface="+mn-ea"/>
              <a:cs typeface="+mn-cs"/>
            </a:endParaRPr>
          </a:p>
        </p:txBody>
      </p:sp>
    </p:spTree>
    <p:extLst>
      <p:ext uri="{BB962C8B-B14F-4D97-AF65-F5344CB8AC3E}">
        <p14:creationId xmlns:p14="http://schemas.microsoft.com/office/powerpoint/2010/main" val="812328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userDrawn="1">
  <p:cSld name="4_Diapositiva de título">
    <p:bg>
      <p:bgPr>
        <a:solidFill>
          <a:schemeClr val="tx1"/>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FC886FB5-3F62-AF3E-CF77-EE0BB88C43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sp>
        <p:nvSpPr>
          <p:cNvPr id="15" name="Title 1">
            <a:extLst>
              <a:ext uri="{FF2B5EF4-FFF2-40B4-BE49-F238E27FC236}">
                <a16:creationId xmlns:a16="http://schemas.microsoft.com/office/drawing/2014/main" id="{AAAA35E2-1B92-4BF0-B325-C2D1C4013A1A}"/>
              </a:ext>
            </a:extLst>
          </p:cNvPr>
          <p:cNvSpPr>
            <a:spLocks noGrp="1"/>
          </p:cNvSpPr>
          <p:nvPr>
            <p:ph type="ctrTitle"/>
          </p:nvPr>
        </p:nvSpPr>
        <p:spPr>
          <a:xfrm>
            <a:off x="2300050" y="2294275"/>
            <a:ext cx="9252087" cy="1556428"/>
          </a:xfrm>
          <a:prstGeom prst="rect">
            <a:avLst/>
          </a:prstGeom>
        </p:spPr>
        <p:txBody>
          <a:bodyPr anchor="ctr">
            <a:no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endParaRPr lang="en-US" dirty="0"/>
          </a:p>
        </p:txBody>
      </p:sp>
      <p:sp>
        <p:nvSpPr>
          <p:cNvPr id="16" name="Subtitle 2">
            <a:extLst>
              <a:ext uri="{FF2B5EF4-FFF2-40B4-BE49-F238E27FC236}">
                <a16:creationId xmlns:a16="http://schemas.microsoft.com/office/drawing/2014/main" id="{DEF463B7-3146-4747-A098-9AB64A25DF89}"/>
              </a:ext>
            </a:extLst>
          </p:cNvPr>
          <p:cNvSpPr>
            <a:spLocks noGrp="1"/>
          </p:cNvSpPr>
          <p:nvPr>
            <p:ph type="subTitle" idx="1" hasCustomPrompt="1"/>
          </p:nvPr>
        </p:nvSpPr>
        <p:spPr>
          <a:xfrm>
            <a:off x="912620" y="5635681"/>
            <a:ext cx="10639515" cy="758283"/>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19" name="Text Placeholder 2">
            <a:extLst>
              <a:ext uri="{FF2B5EF4-FFF2-40B4-BE49-F238E27FC236}">
                <a16:creationId xmlns:a16="http://schemas.microsoft.com/office/drawing/2014/main" id="{46ADD08E-91C1-479E-9393-3B8F57030356}"/>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9" name="Text Placeholder 2">
            <a:extLst>
              <a:ext uri="{FF2B5EF4-FFF2-40B4-BE49-F238E27FC236}">
                <a16:creationId xmlns:a16="http://schemas.microsoft.com/office/drawing/2014/main" id="{0ED3113B-4878-4994-ADF6-5866D0986ABB}"/>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err="1"/>
              <a:t>Afiliation</a:t>
            </a:r>
            <a:endParaRPr lang="es-ES"/>
          </a:p>
        </p:txBody>
      </p:sp>
      <p:sp>
        <p:nvSpPr>
          <p:cNvPr id="2" name="TextBox 26">
            <a:extLst>
              <a:ext uri="{FF2B5EF4-FFF2-40B4-BE49-F238E27FC236}">
                <a16:creationId xmlns:a16="http://schemas.microsoft.com/office/drawing/2014/main" id="{D2361DBE-3C97-55AD-BFA6-03096C23B0AE}"/>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pic>
        <p:nvPicPr>
          <p:cNvPr id="3" name="Graphic 2">
            <a:extLst>
              <a:ext uri="{FF2B5EF4-FFF2-40B4-BE49-F238E27FC236}">
                <a16:creationId xmlns:a16="http://schemas.microsoft.com/office/drawing/2014/main" id="{F72696F9-D345-2E7B-BF98-F825321D30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3586209557"/>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2"/>
            <a:ext cx="11938299" cy="550025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p:nvPr>
        </p:nvSpPr>
        <p:spPr>
          <a:xfrm>
            <a:off x="129640" y="10896"/>
            <a:ext cx="11938299" cy="720001"/>
          </a:xfrm>
          <a:prstGeom prst="rect">
            <a:avLst/>
          </a:prstGeom>
        </p:spPr>
        <p:txBody>
          <a:bodyPr tIns="72000" bIns="0" anchor="ctr"/>
          <a:lstStyle>
            <a:lvl1pPr algn="l">
              <a:lnSpc>
                <a:spcPct val="100000"/>
              </a:lnSpc>
              <a:defRPr sz="3733">
                <a:solidFill>
                  <a:schemeClr val="tx1"/>
                </a:solidFill>
                <a:latin typeface="Poppins SemiBold" panose="02000000000000000000" pitchFamily="2" charset="0"/>
                <a:cs typeface="Poppins SemiBold" panose="02000000000000000000" pitchFamily="2" charset="0"/>
              </a:defRPr>
            </a:lvl1pPr>
          </a:lstStyle>
          <a:p>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en-US">
                <a:solidFill>
                  <a:srgbClr val="2B6CA3"/>
                </a:solidFill>
              </a:rPr>
              <a:t>9/25/2025</a:t>
            </a:r>
            <a:endParaRPr lang="nl-NL" dirty="0">
              <a:solidFill>
                <a:srgbClr val="2B6CA3"/>
              </a:solidFill>
            </a:endParaRPr>
          </a:p>
        </p:txBody>
      </p:sp>
    </p:spTree>
    <p:extLst>
      <p:ext uri="{BB962C8B-B14F-4D97-AF65-F5344CB8AC3E}">
        <p14:creationId xmlns:p14="http://schemas.microsoft.com/office/powerpoint/2010/main" val="2882203844"/>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D5DB4293-188F-3D28-5389-4376CC9A6CCD}"/>
              </a:ext>
            </a:extLst>
          </p:cNvPr>
          <p:cNvSpPr/>
          <p:nvPr userDrawn="1"/>
        </p:nvSpPr>
        <p:spPr>
          <a:xfrm>
            <a:off x="-5035" y="-1"/>
            <a:ext cx="12197036"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3" noProof="0" dirty="0">
              <a:latin typeface="Poppins" panose="00000500000000000000" pitchFamily="2" charset="0"/>
            </a:endParaRPr>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chemeClr val="bg1"/>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chemeClr val="bg1"/>
                </a:solidFill>
                <a:latin typeface="Poppins" panose="00000500000000000000" pitchFamily="2" charset="0"/>
                <a:ea typeface="+mn-ea"/>
                <a:cs typeface="Poppins" panose="00000500000000000000" pitchFamily="2" charset="0"/>
              </a:defRPr>
            </a:lvl1pPr>
          </a:lstStyle>
          <a:p>
            <a:pPr>
              <a:defRPr/>
            </a:pPr>
            <a:r>
              <a:rPr lang="en-US"/>
              <a:t>9/25/2025</a:t>
            </a:r>
            <a:endParaRPr lang="nl-NL" dirty="0"/>
          </a:p>
        </p:txBody>
      </p:sp>
    </p:spTree>
    <p:extLst>
      <p:ext uri="{BB962C8B-B14F-4D97-AF65-F5344CB8AC3E}">
        <p14:creationId xmlns:p14="http://schemas.microsoft.com/office/powerpoint/2010/main" val="2282325166"/>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3"/>
            <a:ext cx="11938299" cy="533926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hasCustomPrompt="1"/>
          </p:nvPr>
        </p:nvSpPr>
        <p:spPr>
          <a:xfrm>
            <a:off x="740890" y="10896"/>
            <a:ext cx="11327049" cy="720001"/>
          </a:xfrm>
          <a:prstGeom prst="rect">
            <a:avLst/>
          </a:prstGeom>
        </p:spPr>
        <p:txBody>
          <a:bodyPr anchor="t"/>
          <a:lstStyle>
            <a:lvl1pPr>
              <a:defRPr lang="en-GB" sz="2667" b="0" dirty="0">
                <a:solidFill>
                  <a:schemeClr val="tx1"/>
                </a:solidFill>
                <a:latin typeface="+mj-lt"/>
                <a:cs typeface="Poppins SemiBold" panose="00000700000000000000" pitchFamily="2" charset="0"/>
              </a:defRPr>
            </a:lvl1pPr>
          </a:lstStyle>
          <a:p>
            <a:pPr marL="0" lvl="0" defTabSz="609570"/>
            <a:r>
              <a:rPr lang="en-GB" dirty="0" err="1"/>
              <a:t>Titulo</a:t>
            </a:r>
            <a:br>
              <a:rPr lang="en-GB" dirty="0"/>
            </a:br>
            <a:r>
              <a:rPr lang="en-GB" dirty="0" err="1"/>
              <a:t>Subtitulo</a:t>
            </a:r>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en-US">
                <a:solidFill>
                  <a:srgbClr val="2B6CA3"/>
                </a:solidFill>
              </a:rPr>
              <a:t>9/25/2025</a:t>
            </a:r>
            <a:endParaRPr lang="nl-NL" dirty="0">
              <a:solidFill>
                <a:srgbClr val="2B6CA3"/>
              </a:solidFill>
            </a:endParaRPr>
          </a:p>
        </p:txBody>
      </p:sp>
    </p:spTree>
    <p:extLst>
      <p:ext uri="{BB962C8B-B14F-4D97-AF65-F5344CB8AC3E}">
        <p14:creationId xmlns:p14="http://schemas.microsoft.com/office/powerpoint/2010/main" val="2921637416"/>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11" name="Título 6">
            <a:extLst>
              <a:ext uri="{FF2B5EF4-FFF2-40B4-BE49-F238E27FC236}">
                <a16:creationId xmlns:a16="http://schemas.microsoft.com/office/drawing/2014/main" id="{B5582EA2-CA9B-A5C2-29C0-75B2206BAA4B}"/>
              </a:ext>
            </a:extLst>
          </p:cNvPr>
          <p:cNvSpPr txBox="1">
            <a:spLocks noChangeAspect="1"/>
          </p:cNvSpPr>
          <p:nvPr userDrawn="1"/>
        </p:nvSpPr>
        <p:spPr>
          <a:xfrm>
            <a:off x="912619" y="4120020"/>
            <a:ext cx="10639516" cy="731069"/>
          </a:xfrm>
          <a:prstGeom prst="rect">
            <a:avLst/>
          </a:prstGeom>
        </p:spPr>
        <p:txBody>
          <a:bodyPr wrap="none" numCol="2" anchor="t"/>
          <a:lstStyle>
            <a:lvl1pPr algn="ctr" defTabSz="685800" rtl="0" eaLnBrk="1" latinLnBrk="0" hangingPunct="1">
              <a:lnSpc>
                <a:spcPct val="90000"/>
              </a:lnSpc>
              <a:spcBef>
                <a:spcPct val="0"/>
              </a:spcBef>
              <a:buNone/>
              <a:defRPr sz="2800" b="1" kern="1200" spc="-45" baseline="0">
                <a:solidFill>
                  <a:schemeClr val="bg1"/>
                </a:solidFill>
                <a:latin typeface="+mj-lt"/>
                <a:ea typeface="+mj-ea"/>
                <a:cs typeface="+mj-cs"/>
              </a:defRPr>
            </a:lvl1pPr>
          </a:lstStyle>
          <a:p>
            <a:pPr>
              <a:lnSpc>
                <a:spcPct val="100000"/>
              </a:lnSpc>
              <a:spcBef>
                <a:spcPts val="0"/>
              </a:spcBef>
              <a:spcAft>
                <a:spcPts val="0"/>
              </a:spcAft>
            </a:pPr>
            <a:r>
              <a:rPr lang="es-ES" sz="2667" b="0" cap="none" baseline="0" dirty="0">
                <a:solidFill>
                  <a:schemeClr val="bg1"/>
                </a:solidFill>
                <a:latin typeface="Poppins" panose="00000500000000000000" pitchFamily="2" charset="0"/>
                <a:cs typeface="Poppins" panose="00000500000000000000" pitchFamily="2" charset="0"/>
              </a:rPr>
              <a:t>Eva Markvoort - </a:t>
            </a:r>
            <a:r>
              <a:rPr lang="es-ES" sz="2667" b="0" cap="none" baseline="0" dirty="0" err="1">
                <a:solidFill>
                  <a:schemeClr val="bg1"/>
                </a:solidFill>
                <a:latin typeface="Poppins" panose="00000500000000000000" pitchFamily="2" charset="0"/>
                <a:cs typeface="Poppins" panose="00000500000000000000" pitchFamily="2" charset="0"/>
              </a:rPr>
              <a:t>Membership</a:t>
            </a:r>
            <a:endParaRPr lang="es-ES" sz="2667" b="0" cap="none" baseline="0" dirty="0">
              <a:solidFill>
                <a:schemeClr val="bg1"/>
              </a:solidFill>
              <a:latin typeface="Poppins" panose="00000500000000000000" pitchFamily="2" charset="0"/>
              <a:cs typeface="Poppins" panose="00000500000000000000" pitchFamily="2" charset="0"/>
            </a:endParaRPr>
          </a:p>
          <a:p>
            <a:pPr>
              <a:lnSpc>
                <a:spcPct val="100000"/>
              </a:lnSpc>
              <a:spcBef>
                <a:spcPts val="0"/>
              </a:spcBef>
              <a:spcAft>
                <a:spcPts val="0"/>
              </a:spcAft>
            </a:pPr>
            <a:r>
              <a:rPr lang="es-ES" sz="2400" b="0" u="none" cap="none" baseline="0" dirty="0">
                <a:solidFill>
                  <a:schemeClr val="bg1"/>
                </a:solidFill>
                <a:latin typeface="Poppins ExtraLight" panose="00000300000000000000" pitchFamily="2" charset="0"/>
                <a:cs typeface="Poppins ExtraLight" panose="00000300000000000000" pitchFamily="2" charset="0"/>
                <a:hlinkClick r:id="rId2">
                  <a:extLst>
                    <a:ext uri="{A12FA001-AC4F-418D-AE19-62706E023703}">
                      <ahyp:hlinkClr xmlns:ahyp="http://schemas.microsoft.com/office/drawing/2018/hyperlinkcolor" val="tx"/>
                    </a:ext>
                  </a:extLst>
                </a:hlinkClick>
              </a:rPr>
              <a:t>markvoort@5g-mag.com</a:t>
            </a:r>
            <a:endParaRPr lang="es-ES" sz="2400" b="0" u="none" cap="none" baseline="0" dirty="0">
              <a:solidFill>
                <a:schemeClr val="bg1"/>
              </a:solidFill>
              <a:latin typeface="Poppins ExtraLight" panose="00000300000000000000" pitchFamily="2" charset="0"/>
              <a:cs typeface="Poppins ExtraLight" panose="00000300000000000000" pitchFamily="2" charset="0"/>
            </a:endParaRPr>
          </a:p>
          <a:p>
            <a:pPr>
              <a:lnSpc>
                <a:spcPct val="100000"/>
              </a:lnSpc>
              <a:spcBef>
                <a:spcPts val="0"/>
              </a:spcBef>
              <a:spcAft>
                <a:spcPts val="0"/>
              </a:spcAft>
            </a:pPr>
            <a:endParaRPr lang="es-ES" sz="2667" b="0" cap="small" baseline="0" dirty="0">
              <a:solidFill>
                <a:schemeClr val="bg1"/>
              </a:solidFill>
              <a:latin typeface="Poppins ExtraLight" panose="00000300000000000000" pitchFamily="2" charset="0"/>
              <a:cs typeface="Poppins ExtraLight" panose="00000300000000000000" pitchFamily="2" charset="0"/>
            </a:endParaRPr>
          </a:p>
          <a:p>
            <a:pPr algn="r">
              <a:lnSpc>
                <a:spcPct val="100000"/>
              </a:lnSpc>
              <a:spcBef>
                <a:spcPts val="0"/>
              </a:spcBef>
              <a:spcAft>
                <a:spcPts val="0"/>
              </a:spcAft>
            </a:pPr>
            <a:r>
              <a:rPr lang="es-ES" sz="2667" b="0" kern="1200" cap="none" spc="-60" baseline="0" dirty="0">
                <a:solidFill>
                  <a:schemeClr val="bg1"/>
                </a:solidFill>
                <a:latin typeface="Poppins" panose="00000500000000000000" pitchFamily="2" charset="0"/>
                <a:ea typeface="+mj-ea"/>
                <a:cs typeface="Poppins" panose="00000500000000000000" pitchFamily="2" charset="0"/>
              </a:rPr>
              <a:t>Jordi J. Gimenez - Technology</a:t>
            </a:r>
          </a:p>
          <a:p>
            <a:pPr marL="0" algn="ctr" defTabSz="914377" rtl="0" eaLnBrk="1" latinLnBrk="0" hangingPunct="1">
              <a:lnSpc>
                <a:spcPct val="100000"/>
              </a:lnSpc>
              <a:spcBef>
                <a:spcPts val="0"/>
              </a:spcBef>
              <a:spcAft>
                <a:spcPts val="0"/>
              </a:spcAft>
              <a:buNone/>
            </a:pPr>
            <a:r>
              <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hlinkClick r:id="rId3">
                  <a:extLst>
                    <a:ext uri="{A12FA001-AC4F-418D-AE19-62706E023703}">
                      <ahyp:hlinkClr xmlns:ahyp="http://schemas.microsoft.com/office/drawing/2018/hyperlinkcolor" val="tx"/>
                    </a:ext>
                  </a:extLst>
                </a:hlinkClick>
              </a:rPr>
              <a:t>gimenez@5g-mag.com</a:t>
            </a:r>
            <a:endPar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endParaRPr>
          </a:p>
        </p:txBody>
      </p:sp>
      <p:sp>
        <p:nvSpPr>
          <p:cNvPr id="2" name="TextBox 26">
            <a:extLst>
              <a:ext uri="{FF2B5EF4-FFF2-40B4-BE49-F238E27FC236}">
                <a16:creationId xmlns:a16="http://schemas.microsoft.com/office/drawing/2014/main" id="{1AA07B98-2480-8FE0-63A0-B5B3A46E9D80}"/>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4">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5">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FC34887D-F5E2-645A-9971-A9752D9998C1}"/>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6" name="Graphic 5">
            <a:extLst>
              <a:ext uri="{FF2B5EF4-FFF2-40B4-BE49-F238E27FC236}">
                <a16:creationId xmlns:a16="http://schemas.microsoft.com/office/drawing/2014/main" id="{2BC323AA-02FC-88C2-0603-B759265B6F6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2075516586"/>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6" name="Subtitle 2">
            <a:extLst>
              <a:ext uri="{FF2B5EF4-FFF2-40B4-BE49-F238E27FC236}">
                <a16:creationId xmlns:a16="http://schemas.microsoft.com/office/drawing/2014/main" id="{0EF4F3BE-A197-B91D-9BE3-7306CFA34CCE}"/>
              </a:ext>
            </a:extLst>
          </p:cNvPr>
          <p:cNvSpPr>
            <a:spLocks noGrp="1"/>
          </p:cNvSpPr>
          <p:nvPr>
            <p:ph type="subTitle" idx="1" hasCustomPrompt="1"/>
          </p:nvPr>
        </p:nvSpPr>
        <p:spPr>
          <a:xfrm>
            <a:off x="912620" y="5758569"/>
            <a:ext cx="10639515" cy="512507"/>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7" name="Text Placeholder 2">
            <a:extLst>
              <a:ext uri="{FF2B5EF4-FFF2-40B4-BE49-F238E27FC236}">
                <a16:creationId xmlns:a16="http://schemas.microsoft.com/office/drawing/2014/main" id="{B5A4EEB4-8A44-A32A-314C-DDEF43973BE2}"/>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8" name="Text Placeholder 2">
            <a:extLst>
              <a:ext uri="{FF2B5EF4-FFF2-40B4-BE49-F238E27FC236}">
                <a16:creationId xmlns:a16="http://schemas.microsoft.com/office/drawing/2014/main" id="{F89DD906-2044-2C11-F263-E56FD4C13288}"/>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dirty="0" err="1"/>
              <a:t>Afiliation</a:t>
            </a:r>
            <a:endParaRPr lang="es-ES" dirty="0"/>
          </a:p>
        </p:txBody>
      </p:sp>
      <p:sp>
        <p:nvSpPr>
          <p:cNvPr id="12" name="Rectangle 5">
            <a:extLst>
              <a:ext uri="{FF2B5EF4-FFF2-40B4-BE49-F238E27FC236}">
                <a16:creationId xmlns:a16="http://schemas.microsoft.com/office/drawing/2014/main" id="{B77838EF-F908-1E52-8DC3-4D88BF99E8CC}"/>
              </a:ext>
            </a:extLst>
          </p:cNvPr>
          <p:cNvSpPr/>
          <p:nvPr userDrawn="1"/>
        </p:nvSpPr>
        <p:spPr>
          <a:xfrm rot="16200000">
            <a:off x="9880888" y="4444435"/>
            <a:ext cx="44620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70">
              <a:defRPr/>
            </a:pPr>
            <a:r>
              <a:rPr lang="en-US" sz="800" noProof="0" dirty="0">
                <a:solidFill>
                  <a:schemeClr val="bg1"/>
                </a:solidFill>
                <a:latin typeface="Poppins" panose="00000500000000000000" pitchFamily="2" charset="0"/>
                <a:cs typeface="Poppins" panose="00000500000000000000" pitchFamily="2" charset="0"/>
              </a:rPr>
              <a:t>This presentation uses images from flaticon.com, oixabay.com and unsplash.com</a:t>
            </a:r>
          </a:p>
        </p:txBody>
      </p:sp>
      <p:sp>
        <p:nvSpPr>
          <p:cNvPr id="2" name="TextBox 26">
            <a:extLst>
              <a:ext uri="{FF2B5EF4-FFF2-40B4-BE49-F238E27FC236}">
                <a16:creationId xmlns:a16="http://schemas.microsoft.com/office/drawing/2014/main" id="{089E5FD2-62D3-E1CC-07E1-5EF329C878DF}"/>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E883A968-DD5E-1B8A-4F33-99119137D7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9" name="Graphic 8">
            <a:extLst>
              <a:ext uri="{FF2B5EF4-FFF2-40B4-BE49-F238E27FC236}">
                <a16:creationId xmlns:a16="http://schemas.microsoft.com/office/drawing/2014/main" id="{00E399B1-6220-2F0C-A173-C8432F3D93E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390431775"/>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A6FBAE8-3CD7-7084-C26C-E1A4BFFA29BB}"/>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5" name="Date Placeholder 3">
            <a:extLst>
              <a:ext uri="{FF2B5EF4-FFF2-40B4-BE49-F238E27FC236}">
                <a16:creationId xmlns:a16="http://schemas.microsoft.com/office/drawing/2014/main" id="{E8539564-B64B-9A96-CFF6-043BDD08E030}"/>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en-US">
                <a:solidFill>
                  <a:srgbClr val="2B6CA3"/>
                </a:solidFill>
              </a:rPr>
              <a:t>9/25/2025</a:t>
            </a:r>
            <a:endParaRPr lang="nl-NL" dirty="0">
              <a:solidFill>
                <a:srgbClr val="2B6CA3"/>
              </a:solidFill>
            </a:endParaRPr>
          </a:p>
        </p:txBody>
      </p:sp>
    </p:spTree>
    <p:extLst>
      <p:ext uri="{BB962C8B-B14F-4D97-AF65-F5344CB8AC3E}">
        <p14:creationId xmlns:p14="http://schemas.microsoft.com/office/powerpoint/2010/main" val="2196666634"/>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3"/>
          </a:xfrm>
        </p:spPr>
        <p:txBody>
          <a:bodyPr anchor="b">
            <a:noAutofit/>
          </a:bodyPr>
          <a:lstStyle>
            <a:lvl1pPr algn="r">
              <a:defRPr sz="5400">
                <a:solidFill>
                  <a:schemeClr val="accent1"/>
                </a:solidFill>
              </a:defRPr>
            </a:lvl1pPr>
          </a:lstStyle>
          <a:p>
            <a:r>
              <a:rPr lang="de-DE"/>
              <a:t>Mastertitelformat bearbeiten</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3715011432"/>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8670906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53077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8"/>
            <a:ext cx="8596668" cy="1826581"/>
          </a:xfrm>
        </p:spPr>
        <p:txBody>
          <a:bodyPr anchor="b"/>
          <a:lstStyle>
            <a:lvl1pPr algn="l">
              <a:defRPr sz="4000" b="0" cap="none"/>
            </a:lvl1pPr>
          </a:lstStyle>
          <a:p>
            <a:r>
              <a:rPr lang="de-DE"/>
              <a:t>Mastertitelformat bearbeiten</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488898742"/>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77335" y="2160590"/>
            <a:ext cx="4184035" cy="388077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089969" y="2160590"/>
            <a:ext cx="4184035" cy="388077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pPr algn="ctr"/>
            <a:r>
              <a:rPr lang="en-US"/>
              <a:t>9/25/2025</a:t>
            </a:r>
            <a:endParaRPr lang="en-US" dirty="0"/>
          </a:p>
        </p:txBody>
      </p:sp>
      <p:sp>
        <p:nvSpPr>
          <p:cNvPr id="6" name="Footer Placeholder 5"/>
          <p:cNvSpPr>
            <a:spLocks noGrp="1"/>
          </p:cNvSpPr>
          <p:nvPr>
            <p:ph type="ftr" sz="quarter" idx="11"/>
          </p:nvPr>
        </p:nvSpPr>
        <p:spPr/>
        <p:txBody>
          <a:bodyPr/>
          <a:lstStyle/>
          <a:p>
            <a:r>
              <a:rPr lang="en-US"/>
              <a:t>5G Broadcast Conference</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369074046"/>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a:t>Mastertitelformat bearbeiten</a:t>
            </a:r>
            <a:endParaRPr lang="en-US" dirty="0"/>
          </a:p>
        </p:txBody>
      </p:sp>
      <p:sp>
        <p:nvSpPr>
          <p:cNvPr id="3" name="Text Placeholder 2"/>
          <p:cNvSpPr>
            <a:spLocks noGrp="1"/>
          </p:cNvSpPr>
          <p:nvPr>
            <p:ph type="body" idx="1"/>
          </p:nvPr>
        </p:nvSpPr>
        <p:spPr>
          <a:xfrm>
            <a:off x="675746" y="2160983"/>
            <a:ext cx="4185623" cy="576263"/>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Content Placeholder 3"/>
          <p:cNvSpPr>
            <a:spLocks noGrp="1"/>
          </p:cNvSpPr>
          <p:nvPr>
            <p:ph sz="half" idx="2"/>
          </p:nvPr>
        </p:nvSpPr>
        <p:spPr>
          <a:xfrm>
            <a:off x="675746" y="2737246"/>
            <a:ext cx="4185623" cy="330411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5088383" y="2160983"/>
            <a:ext cx="4185619" cy="576263"/>
          </a:xfrm>
        </p:spPr>
        <p:txBody>
          <a:bodyPr anchor="b">
            <a:noAutofit/>
          </a:bodyPr>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Content Placeholder 5"/>
          <p:cNvSpPr>
            <a:spLocks noGrp="1"/>
          </p:cNvSpPr>
          <p:nvPr>
            <p:ph sz="quarter" idx="4"/>
          </p:nvPr>
        </p:nvSpPr>
        <p:spPr>
          <a:xfrm>
            <a:off x="5088385" y="2737246"/>
            <a:ext cx="4185617" cy="330411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pPr algn="ctr"/>
            <a:r>
              <a:rPr lang="en-US"/>
              <a:t>9/25/2025</a:t>
            </a:r>
            <a:endParaRPr lang="en-US" dirty="0"/>
          </a:p>
        </p:txBody>
      </p:sp>
      <p:sp>
        <p:nvSpPr>
          <p:cNvPr id="8" name="Footer Placeholder 7"/>
          <p:cNvSpPr>
            <a:spLocks noGrp="1"/>
          </p:cNvSpPr>
          <p:nvPr>
            <p:ph type="ftr" sz="quarter" idx="11"/>
          </p:nvPr>
        </p:nvSpPr>
        <p:spPr/>
        <p:txBody>
          <a:bodyPr/>
          <a:lstStyle/>
          <a:p>
            <a:r>
              <a:rPr lang="en-US"/>
              <a:t>5G Broadcast Conference</a:t>
            </a:r>
            <a:endParaRPr lang="en-US" dirty="0"/>
          </a:p>
        </p:txBody>
      </p:sp>
      <p:sp>
        <p:nvSpPr>
          <p:cNvPr id="9" name="Slide Number Placeholder 8"/>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564327998"/>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1320800"/>
          </a:xfrm>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pPr algn="ctr"/>
            <a:r>
              <a:rPr lang="en-US"/>
              <a:t>9/25/2025</a:t>
            </a:r>
            <a:endParaRPr lang="en-US" dirty="0"/>
          </a:p>
        </p:txBody>
      </p:sp>
      <p:sp>
        <p:nvSpPr>
          <p:cNvPr id="4" name="Footer Placeholder 3"/>
          <p:cNvSpPr>
            <a:spLocks noGrp="1"/>
          </p:cNvSpPr>
          <p:nvPr>
            <p:ph type="ftr" sz="quarter" idx="11"/>
          </p:nvPr>
        </p:nvSpPr>
        <p:spPr/>
        <p:txBody>
          <a:bodyPr/>
          <a:lstStyle/>
          <a:p>
            <a:r>
              <a:rPr lang="en-US"/>
              <a:t>5G Broadcast Conference</a:t>
            </a:r>
            <a:endParaRPr lang="en-US" dirty="0"/>
          </a:p>
        </p:txBody>
      </p:sp>
      <p:sp>
        <p:nvSpPr>
          <p:cNvPr id="5" name="Slide Number Placeholder 4"/>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051453696"/>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ctr"/>
            <a:r>
              <a:rPr lang="en-US"/>
              <a:t>9/25/2025</a:t>
            </a:r>
            <a:endParaRPr lang="en-US" dirty="0"/>
          </a:p>
        </p:txBody>
      </p:sp>
      <p:sp>
        <p:nvSpPr>
          <p:cNvPr id="3" name="Footer Placeholder 2"/>
          <p:cNvSpPr>
            <a:spLocks noGrp="1"/>
          </p:cNvSpPr>
          <p:nvPr>
            <p:ph type="ftr" sz="quarter" idx="11"/>
          </p:nvPr>
        </p:nvSpPr>
        <p:spPr/>
        <p:txBody>
          <a:bodyPr/>
          <a:lstStyle/>
          <a:p>
            <a:r>
              <a:rPr lang="en-US"/>
              <a:t>5G Broadcast Conference</a:t>
            </a:r>
            <a:endParaRPr lang="en-US" dirty="0"/>
          </a:p>
        </p:txBody>
      </p:sp>
      <p:sp>
        <p:nvSpPr>
          <p:cNvPr id="4" name="Slide Number Placeholder 3"/>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76432863"/>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1498604"/>
            <a:ext cx="3854528" cy="1278467"/>
          </a:xfrm>
        </p:spPr>
        <p:txBody>
          <a:bodyPr anchor="b">
            <a:normAutofit/>
          </a:bodyPr>
          <a:lstStyle>
            <a:lvl1pPr>
              <a:defRPr sz="2000"/>
            </a:lvl1pPr>
          </a:lstStyle>
          <a:p>
            <a:r>
              <a:rPr lang="de-DE"/>
              <a:t>Mastertitelformat bearbeiten</a:t>
            </a:r>
            <a:endParaRPr lang="en-US" dirty="0"/>
          </a:p>
        </p:txBody>
      </p:sp>
      <p:sp>
        <p:nvSpPr>
          <p:cNvPr id="3" name="Content Placeholder 2"/>
          <p:cNvSpPr>
            <a:spLocks noGrp="1"/>
          </p:cNvSpPr>
          <p:nvPr>
            <p:ph idx="1"/>
          </p:nvPr>
        </p:nvSpPr>
        <p:spPr>
          <a:xfrm>
            <a:off x="4760462" y="514924"/>
            <a:ext cx="4513541" cy="5526437"/>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77335" y="2777070"/>
            <a:ext cx="3854528" cy="2584449"/>
          </a:xfrm>
        </p:spPr>
        <p:txBody>
          <a:bodyPr>
            <a:normAutofit/>
          </a:bodyPr>
          <a:lstStyle>
            <a:lvl1pPr marL="0" indent="0">
              <a:buNone/>
              <a:defRPr sz="1400"/>
            </a:lvl1pPr>
            <a:lvl2pPr marL="457051" indent="0">
              <a:buNone/>
              <a:defRPr sz="1400"/>
            </a:lvl2pPr>
            <a:lvl3pPr marL="914104" indent="0">
              <a:buNone/>
              <a:defRPr sz="1200"/>
            </a:lvl3pPr>
            <a:lvl4pPr marL="1371155" indent="0">
              <a:buNone/>
              <a:defRPr sz="1000"/>
            </a:lvl4pPr>
            <a:lvl5pPr marL="1828205" indent="0">
              <a:buNone/>
              <a:defRPr sz="1000"/>
            </a:lvl5pPr>
            <a:lvl6pPr marL="2285258" indent="0">
              <a:buNone/>
              <a:defRPr sz="1000"/>
            </a:lvl6pPr>
            <a:lvl7pPr marL="2742309" indent="0">
              <a:buNone/>
              <a:defRPr sz="1000"/>
            </a:lvl7pPr>
            <a:lvl8pPr marL="3199360" indent="0">
              <a:buNone/>
              <a:defRPr sz="1000"/>
            </a:lvl8pPr>
            <a:lvl9pPr marL="3656411"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pPr algn="ctr"/>
            <a:r>
              <a:rPr lang="en-US"/>
              <a:t>9/25/2025</a:t>
            </a:r>
            <a:endParaRPr lang="en-US" dirty="0"/>
          </a:p>
        </p:txBody>
      </p:sp>
      <p:sp>
        <p:nvSpPr>
          <p:cNvPr id="6" name="Footer Placeholder 5"/>
          <p:cNvSpPr>
            <a:spLocks noGrp="1"/>
          </p:cNvSpPr>
          <p:nvPr>
            <p:ph type="ftr" sz="quarter" idx="11"/>
          </p:nvPr>
        </p:nvSpPr>
        <p:spPr/>
        <p:txBody>
          <a:bodyPr/>
          <a:lstStyle/>
          <a:p>
            <a:r>
              <a:rPr lang="en-US"/>
              <a:t>5G Broadcast Conference</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64956270"/>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4800600"/>
            <a:ext cx="8596667" cy="566739"/>
          </a:xfrm>
        </p:spPr>
        <p:txBody>
          <a:bodyPr anchor="b">
            <a:normAutofit/>
          </a:bodyPr>
          <a:lstStyle>
            <a:lvl1pPr algn="l">
              <a:defRPr sz="2400" b="0"/>
            </a:lvl1pPr>
          </a:lstStyle>
          <a:p>
            <a:r>
              <a:rPr lang="de-DE"/>
              <a:t>Mastertitelformat bearbeiten</a:t>
            </a:r>
            <a:endParaRPr lang="en-US" dirty="0"/>
          </a:p>
        </p:txBody>
      </p:sp>
      <p:sp>
        <p:nvSpPr>
          <p:cNvPr id="3" name="Picture Placeholder 2"/>
          <p:cNvSpPr>
            <a:spLocks noGrp="1" noChangeAspect="1"/>
          </p:cNvSpPr>
          <p:nvPr>
            <p:ph type="pic" idx="1"/>
          </p:nvPr>
        </p:nvSpPr>
        <p:spPr>
          <a:xfrm>
            <a:off x="677335" y="609601"/>
            <a:ext cx="8596668" cy="3845719"/>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77335" y="5367339"/>
            <a:ext cx="8596667" cy="674024"/>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p>
            <a:pPr algn="ctr"/>
            <a:r>
              <a:rPr lang="en-US"/>
              <a:t>9/25/2025</a:t>
            </a:r>
            <a:endParaRPr lang="en-US" dirty="0"/>
          </a:p>
        </p:txBody>
      </p:sp>
      <p:sp>
        <p:nvSpPr>
          <p:cNvPr id="6" name="Footer Placeholder 5"/>
          <p:cNvSpPr>
            <a:spLocks noGrp="1"/>
          </p:cNvSpPr>
          <p:nvPr>
            <p:ph type="ftr" sz="quarter" idx="11"/>
          </p:nvPr>
        </p:nvSpPr>
        <p:spPr/>
        <p:txBody>
          <a:bodyPr/>
          <a:lstStyle/>
          <a:p>
            <a:r>
              <a:rPr lang="en-US"/>
              <a:t>5G Broadcast Conference</a:t>
            </a:r>
            <a:endParaRPr lang="en-US" dirty="0"/>
          </a:p>
        </p:txBody>
      </p:sp>
      <p:sp>
        <p:nvSpPr>
          <p:cNvPr id="7" name="Slide Number Placeholder 6"/>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406576156"/>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de-DE"/>
              <a:t>Mastertitelformat bearbeiten</a:t>
            </a:r>
            <a:endParaRPr lang="en-US" dirty="0"/>
          </a:p>
        </p:txBody>
      </p:sp>
      <p:sp>
        <p:nvSpPr>
          <p:cNvPr id="3" name="Text Placeholder 2"/>
          <p:cNvSpPr>
            <a:spLocks noGrp="1"/>
          </p:cNvSpPr>
          <p:nvPr>
            <p:ph type="body" idx="1"/>
          </p:nvPr>
        </p:nvSpPr>
        <p:spPr>
          <a:xfrm>
            <a:off x="677335" y="4470400"/>
            <a:ext cx="8596668" cy="1570963"/>
          </a:xfrm>
        </p:spPr>
        <p:txBody>
          <a:bodyPr anchor="ctr">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684584705"/>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5"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470400"/>
            <a:ext cx="8596668" cy="1570963"/>
          </a:xfrm>
        </p:spPr>
        <p:txBody>
          <a:bodyPr anchor="ctr">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
        <p:nvSpPr>
          <p:cNvPr id="20" name="TextBox 19"/>
          <p:cNvSpPr txBox="1"/>
          <p:nvPr/>
        </p:nvSpPr>
        <p:spPr>
          <a:xfrm>
            <a:off x="541871" y="790379"/>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sz="1800" dirty="0">
              <a:solidFill>
                <a:schemeClr val="accent1">
                  <a:lumMod val="60000"/>
                  <a:lumOff val="40000"/>
                </a:schemeClr>
              </a:solidFill>
              <a:latin typeface="Arial"/>
            </a:endParaRPr>
          </a:p>
        </p:txBody>
      </p:sp>
    </p:spTree>
    <p:extLst>
      <p:ext uri="{BB962C8B-B14F-4D97-AF65-F5344CB8AC3E}">
        <p14:creationId xmlns:p14="http://schemas.microsoft.com/office/powerpoint/2010/main" val="484494337"/>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9"/>
            <a:ext cx="8596668" cy="2595460"/>
          </a:xfrm>
        </p:spPr>
        <p:txBody>
          <a:bodyPr anchor="b">
            <a:normAutofit/>
          </a:bodyPr>
          <a:lstStyle>
            <a:lvl1pPr algn="l">
              <a:defRPr sz="4400" b="0" cap="none"/>
            </a:lvl1pPr>
          </a:lstStyle>
          <a:p>
            <a:r>
              <a:rPr lang="de-DE"/>
              <a:t>Mastertitelformat bearbeiten</a:t>
            </a:r>
            <a:endParaRPr lang="en-US" dirty="0"/>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75000"/>
                    <a:lumOff val="2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7320554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269160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p:cSld name="Namenskarte für Zita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5"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
        <p:nvSpPr>
          <p:cNvPr id="24" name="TextBox 23"/>
          <p:cNvSpPr txBox="1"/>
          <p:nvPr/>
        </p:nvSpPr>
        <p:spPr>
          <a:xfrm>
            <a:off x="541871" y="790379"/>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405957749"/>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p:cSld name="Wahr oder Falsch">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8588203" cy="3022600"/>
          </a:xfrm>
        </p:spPr>
        <p:txBody>
          <a:bodyPr anchor="ctr">
            <a:normAutofit/>
          </a:bodyPr>
          <a:lstStyle>
            <a:lvl1pPr algn="l">
              <a:defRPr sz="4400" b="0" cap="none"/>
            </a:lvl1pPr>
          </a:lstStyle>
          <a:p>
            <a:r>
              <a:rPr lang="de-DE"/>
              <a:t>Mastertitelformat bearbeit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de-DE"/>
              <a:t>Mastertextformat bearbeiten</a:t>
            </a:r>
          </a:p>
        </p:txBody>
      </p:sp>
      <p:sp>
        <p:nvSpPr>
          <p:cNvPr id="3" name="Text Placeholder 2"/>
          <p:cNvSpPr>
            <a:spLocks noGrp="1"/>
          </p:cNvSpPr>
          <p:nvPr>
            <p:ph type="body" idx="1"/>
          </p:nvPr>
        </p:nvSpPr>
        <p:spPr>
          <a:xfrm>
            <a:off x="677335" y="4527448"/>
            <a:ext cx="8596668" cy="1513915"/>
          </a:xfrm>
        </p:spPr>
        <p:txBody>
          <a:bodyPr anchor="t">
            <a:normAutofit/>
          </a:bodyPr>
          <a:lstStyle>
            <a:lvl1pPr marL="0" indent="0" algn="l">
              <a:buNone/>
              <a:defRPr sz="1800">
                <a:solidFill>
                  <a:schemeClr val="tx1">
                    <a:lumMod val="50000"/>
                    <a:lumOff val="50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26418530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2303306061"/>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4" y="609600"/>
            <a:ext cx="1304743" cy="5251451"/>
          </a:xfrm>
        </p:spPr>
        <p:txBody>
          <a:bodyPr vert="eaVert" anchor="ctr"/>
          <a:lstStyle/>
          <a:p>
            <a:r>
              <a:rPr lang="de-DE"/>
              <a:t>Mastertitelformat bearbeiten</a:t>
            </a:r>
            <a:endParaRPr lang="en-US" dirty="0"/>
          </a:p>
        </p:txBody>
      </p:sp>
      <p:sp>
        <p:nvSpPr>
          <p:cNvPr id="3" name="Vertical Text Placeholder 2"/>
          <p:cNvSpPr>
            <a:spLocks noGrp="1"/>
          </p:cNvSpPr>
          <p:nvPr>
            <p:ph type="body" orient="vert" idx="1"/>
          </p:nvPr>
        </p:nvSpPr>
        <p:spPr>
          <a:xfrm>
            <a:off x="677335" y="609600"/>
            <a:ext cx="7060151" cy="525145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pPr algn="ctr"/>
            <a:r>
              <a:rPr lang="en-US"/>
              <a:t>9/25/2025</a:t>
            </a:r>
            <a:endParaRPr lang="en-US" dirty="0"/>
          </a:p>
        </p:txBody>
      </p:sp>
      <p:sp>
        <p:nvSpPr>
          <p:cNvPr id="5" name="Footer Placeholder 4"/>
          <p:cNvSpPr>
            <a:spLocks noGrp="1"/>
          </p:cNvSpPr>
          <p:nvPr>
            <p:ph type="ftr" sz="quarter" idx="11"/>
          </p:nvPr>
        </p:nvSpPr>
        <p:spPr/>
        <p:txBody>
          <a:bodyPr/>
          <a:lstStyle/>
          <a:p>
            <a:r>
              <a:rPr lang="en-US"/>
              <a:t>5G Broadcast Conference</a:t>
            </a:r>
            <a:endParaRPr lang="en-US" dirty="0"/>
          </a:p>
        </p:txBody>
      </p:sp>
      <p:sp>
        <p:nvSpPr>
          <p:cNvPr id="6" name="Slide Number Placeholder 5"/>
          <p:cNvSpPr>
            <a:spLocks noGrp="1"/>
          </p:cNvSpPr>
          <p:nvPr>
            <p:ph type="sldNum" sz="quarter" idx="12"/>
          </p:nvPr>
        </p:nvSpPr>
        <p:spPr/>
        <p:txBody>
          <a:bodyPr/>
          <a:lstStyle/>
          <a:p>
            <a:fld id="{57CB76AC-E5DF-427C-ABDC-2F4FBD8E4B69}" type="slidenum">
              <a:rPr lang="en-US" smtClean="0"/>
              <a:pPr/>
              <a:t>‹#›</a:t>
            </a:fld>
            <a:endParaRPr lang="en-US" dirty="0"/>
          </a:p>
        </p:txBody>
      </p:sp>
    </p:spTree>
    <p:extLst>
      <p:ext uri="{BB962C8B-B14F-4D97-AF65-F5344CB8AC3E}">
        <p14:creationId xmlns:p14="http://schemas.microsoft.com/office/powerpoint/2010/main" val="1455879005"/>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6B1CCEC-973A-3FF3-5DA6-5A77224CD756}"/>
              </a:ext>
            </a:extLst>
          </p:cNvPr>
          <p:cNvGraphicFramePr>
            <a:graphicFrameLocks noChangeAspect="1"/>
          </p:cNvGraphicFramePr>
          <p:nvPr userDrawn="1">
            <p:custDataLst>
              <p:tags r:id="rId1"/>
            </p:custDataLst>
            <p:extLst>
              <p:ext uri="{D42A27DB-BD31-4B8C-83A1-F6EECF244321}">
                <p14:modId xmlns:p14="http://schemas.microsoft.com/office/powerpoint/2010/main" val="4237045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410" imgH="409" progId="TCLayout.ActiveDocument.1">
                  <p:embed/>
                </p:oleObj>
              </mc:Choice>
              <mc:Fallback>
                <p:oleObj name="think-cell Folie" r:id="rId5" imgW="410" imgH="409" progId="TCLayout.ActiveDocument.1">
                  <p:embed/>
                  <p:pic>
                    <p:nvPicPr>
                      <p:cNvPr id="14" name="think-cell data - do not delete" hidden="1">
                        <a:extLst>
                          <a:ext uri="{FF2B5EF4-FFF2-40B4-BE49-F238E27FC236}">
                            <a16:creationId xmlns:a16="http://schemas.microsoft.com/office/drawing/2014/main" id="{E6B1CCEC-973A-3FF3-5DA6-5A77224CD75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5" name="Picture 4" descr="A blue lines and dots in a city&#10;&#10;Description automatically generated">
            <a:extLst>
              <a:ext uri="{FF2B5EF4-FFF2-40B4-BE49-F238E27FC236}">
                <a16:creationId xmlns:a16="http://schemas.microsoft.com/office/drawing/2014/main" id="{F9A36B06-2A41-6976-A922-BE6F4CAFD77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p:cNvSpPr>
            <a:spLocks noGrp="1"/>
          </p:cNvSpPr>
          <p:nvPr>
            <p:ph type="subTitle" idx="13" hasCustomPrompt="1"/>
          </p:nvPr>
        </p:nvSpPr>
        <p:spPr>
          <a:xfrm>
            <a:off x="480000" y="3840000"/>
            <a:ext cx="6528000" cy="1056000"/>
          </a:xfrm>
        </p:spPr>
        <p:txBody>
          <a:bodyPr>
            <a:noAutofit/>
          </a:bodyPr>
          <a:lstStyle>
            <a:lvl1pPr marL="0" indent="0" algn="l">
              <a:lnSpc>
                <a:spcPct val="100000"/>
              </a:lnSpc>
              <a:spcAft>
                <a:spcPts val="0"/>
              </a:spcAft>
              <a:buNone/>
              <a:defRPr sz="2000" b="0">
                <a:solidFill>
                  <a:schemeClr val="bg1"/>
                </a:solidFill>
              </a:defRPr>
            </a:lvl1pPr>
            <a:lvl2pPr marL="0" indent="0">
              <a:lnSpc>
                <a:spcPct val="100000"/>
              </a:lnSpc>
              <a:spcAft>
                <a:spcPts val="0"/>
              </a:spcAft>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vl6pPr marL="0" indent="0">
              <a:buNone/>
              <a:defRPr>
                <a:solidFill>
                  <a:schemeClr val="bg1"/>
                </a:solidFill>
              </a:defRPr>
            </a:lvl6pPr>
            <a:lvl7pPr marL="0" indent="0">
              <a:buNone/>
              <a:defRPr>
                <a:solidFill>
                  <a:schemeClr val="bg1"/>
                </a:solidFill>
              </a:defRPr>
            </a:lvl7pPr>
            <a:lvl8pPr marL="0" indent="0">
              <a:buNone/>
              <a:defRPr>
                <a:solidFill>
                  <a:schemeClr val="bg1"/>
                </a:solidFill>
              </a:defRPr>
            </a:lvl8pPr>
            <a:lvl9pPr marL="0" indent="0">
              <a:buNone/>
              <a:defRPr>
                <a:solidFill>
                  <a:schemeClr val="bg1"/>
                </a:solidFill>
              </a:defRPr>
            </a:lvl9pPr>
          </a:lstStyle>
          <a:p>
            <a:r>
              <a:rPr lang="en-US" dirty="0"/>
              <a:t>Enter subtitle</a:t>
            </a:r>
            <a:br>
              <a:rPr lang="en-US" dirty="0"/>
            </a:br>
            <a:r>
              <a:rPr lang="en-US" dirty="0"/>
              <a:t>(15pt, max. 3 lines), e. g. name, date</a:t>
            </a:r>
          </a:p>
        </p:txBody>
      </p:sp>
      <p:sp>
        <p:nvSpPr>
          <p:cNvPr id="4" name="Oval 3">
            <a:extLst>
              <a:ext uri="{FF2B5EF4-FFF2-40B4-BE49-F238E27FC236}">
                <a16:creationId xmlns:a16="http://schemas.microsoft.com/office/drawing/2014/main" id="{76844CE2-665F-5C97-3740-A587BB6A940B}"/>
              </a:ext>
            </a:extLst>
          </p:cNvPr>
          <p:cNvSpPr/>
          <p:nvPr userDrawn="1"/>
        </p:nvSpPr>
        <p:spPr>
          <a:xfrm>
            <a:off x="-144016" y="4955628"/>
            <a:ext cx="96011" cy="96000"/>
          </a:xfrm>
          <a:prstGeom prst="ellipse">
            <a:avLst/>
          </a:prstGeom>
          <a:solidFill>
            <a:schemeClr val="tx2"/>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6" name="Oval 5">
            <a:extLst>
              <a:ext uri="{FF2B5EF4-FFF2-40B4-BE49-F238E27FC236}">
                <a16:creationId xmlns:a16="http://schemas.microsoft.com/office/drawing/2014/main" id="{C1E70ACF-6FEB-EDD4-44B4-F341197B7DE4}"/>
              </a:ext>
            </a:extLst>
          </p:cNvPr>
          <p:cNvSpPr/>
          <p:nvPr userDrawn="1"/>
        </p:nvSpPr>
        <p:spPr>
          <a:xfrm>
            <a:off x="12240005" y="4962927"/>
            <a:ext cx="96011" cy="96000"/>
          </a:xfrm>
          <a:prstGeom prst="ellipse">
            <a:avLst/>
          </a:prstGeom>
          <a:solidFill>
            <a:schemeClr val="tx2"/>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Oval 6">
            <a:extLst>
              <a:ext uri="{FF2B5EF4-FFF2-40B4-BE49-F238E27FC236}">
                <a16:creationId xmlns:a16="http://schemas.microsoft.com/office/drawing/2014/main" id="{33C730C4-DBA0-03B7-D426-2BC540C8AB10}"/>
              </a:ext>
            </a:extLst>
          </p:cNvPr>
          <p:cNvSpPr/>
          <p:nvPr userDrawn="1"/>
        </p:nvSpPr>
        <p:spPr>
          <a:xfrm>
            <a:off x="12288011" y="1604797"/>
            <a:ext cx="96000" cy="96000"/>
          </a:xfrm>
          <a:prstGeom prst="ellipse">
            <a:avLst/>
          </a:prstGeom>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Oval 7">
            <a:extLst>
              <a:ext uri="{FF2B5EF4-FFF2-40B4-BE49-F238E27FC236}">
                <a16:creationId xmlns:a16="http://schemas.microsoft.com/office/drawing/2014/main" id="{545F47C6-2F77-347A-774D-40037A29FC0F}"/>
              </a:ext>
            </a:extLst>
          </p:cNvPr>
          <p:cNvSpPr/>
          <p:nvPr userDrawn="1"/>
        </p:nvSpPr>
        <p:spPr>
          <a:xfrm>
            <a:off x="-336715" y="3429000"/>
            <a:ext cx="144000" cy="144000"/>
          </a:xfrm>
          <a:prstGeom prst="ellipse">
            <a:avLst/>
          </a:prstGeom>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13" name="Rechteck 12">
            <a:extLst>
              <a:ext uri="{FF2B5EF4-FFF2-40B4-BE49-F238E27FC236}">
                <a16:creationId xmlns:a16="http://schemas.microsoft.com/office/drawing/2014/main" id="{B2CF0A1E-3015-517D-ACDF-1B6623031693}"/>
              </a:ext>
            </a:extLst>
          </p:cNvPr>
          <p:cNvSpPr/>
          <p:nvPr userDrawn="1"/>
        </p:nvSpPr>
        <p:spPr>
          <a:xfrm>
            <a:off x="0" y="0"/>
            <a:ext cx="12192000" cy="6858000"/>
          </a:xfrm>
          <a:prstGeom prst="rect">
            <a:avLst/>
          </a:prstGeom>
          <a:gradFill flip="none" rotWithShape="1">
            <a:gsLst>
              <a:gs pos="0">
                <a:schemeClr val="accent1">
                  <a:lumMod val="50000"/>
                </a:schemeClr>
              </a:gs>
              <a:gs pos="54000">
                <a:schemeClr val="accent1">
                  <a:lumMod val="50000"/>
                  <a:alpha val="29000"/>
                </a:schemeClr>
              </a:gs>
              <a:gs pos="100000">
                <a:schemeClr val="accent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2000" dirty="0" err="1"/>
          </a:p>
        </p:txBody>
      </p:sp>
      <p:sp>
        <p:nvSpPr>
          <p:cNvPr id="12" name="Market segment 1">
            <a:extLst>
              <a:ext uri="{FF2B5EF4-FFF2-40B4-BE49-F238E27FC236}">
                <a16:creationId xmlns:a16="http://schemas.microsoft.com/office/drawing/2014/main" id="{FEB92341-A0BD-42D5-A6C9-33B63CFE323F}"/>
              </a:ext>
            </a:extLst>
          </p:cNvPr>
          <p:cNvSpPr>
            <a:spLocks noGrp="1"/>
          </p:cNvSpPr>
          <p:nvPr>
            <p:ph type="body" sz="quarter" idx="9" hasCustomPrompt="1"/>
          </p:nvPr>
        </p:nvSpPr>
        <p:spPr>
          <a:xfrm>
            <a:off x="480000" y="548680"/>
            <a:ext cx="4224000" cy="273600"/>
          </a:xfrm>
        </p:spPr>
        <p:txBody>
          <a:bodyPr wrap="none">
            <a:noAutofit/>
          </a:bodyPr>
          <a:lstStyle>
            <a:lvl1pPr marL="0" indent="0">
              <a:buNone/>
              <a:defRPr sz="1733" spc="107"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en-US" dirty="0"/>
              <a:t>Text 13 pt, e.g. market segment</a:t>
            </a:r>
          </a:p>
        </p:txBody>
      </p:sp>
      <p:sp>
        <p:nvSpPr>
          <p:cNvPr id="2" name="Title 1"/>
          <p:cNvSpPr>
            <a:spLocks noGrp="1"/>
          </p:cNvSpPr>
          <p:nvPr>
            <p:ph type="ctrTitle" hasCustomPrompt="1"/>
          </p:nvPr>
        </p:nvSpPr>
        <p:spPr>
          <a:xfrm>
            <a:off x="480001" y="864000"/>
            <a:ext cx="6528001" cy="2688000"/>
          </a:xfrm>
        </p:spPr>
        <p:txBody>
          <a:bodyPr vert="horz" anchor="t"/>
          <a:lstStyle>
            <a:lvl1pPr>
              <a:defRPr>
                <a:solidFill>
                  <a:schemeClr val="bg1"/>
                </a:solidFill>
              </a:defRPr>
            </a:lvl1pPr>
          </a:lstStyle>
          <a:p>
            <a:r>
              <a:rPr lang="en-US" dirty="0"/>
              <a:t>Enter title of presentation</a:t>
            </a:r>
            <a:br>
              <a:rPr lang="en-US" dirty="0"/>
            </a:br>
            <a:r>
              <a:rPr lang="en-US" dirty="0"/>
              <a:t>(27 pt,max. 3 lines)</a:t>
            </a:r>
          </a:p>
        </p:txBody>
      </p:sp>
      <p:sp>
        <p:nvSpPr>
          <p:cNvPr id="9" name="Ellipse 8">
            <a:extLst>
              <a:ext uri="{FF2B5EF4-FFF2-40B4-BE49-F238E27FC236}">
                <a16:creationId xmlns:a16="http://schemas.microsoft.com/office/drawing/2014/main" id="{DF7B207F-51FA-FD46-2D49-7C11C0C3A729}"/>
              </a:ext>
            </a:extLst>
          </p:cNvPr>
          <p:cNvSpPr/>
          <p:nvPr userDrawn="1"/>
        </p:nvSpPr>
        <p:spPr>
          <a:xfrm>
            <a:off x="8784299" y="-645889"/>
            <a:ext cx="4704523" cy="2826751"/>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0" name="Grafik 9" descr="Ein Bild, das Text, Schrift, Screenshot, Logo enthält.&#10;&#10;KI-generierte Inhalte können fehlerhaft sein.">
            <a:extLst>
              <a:ext uri="{FF2B5EF4-FFF2-40B4-BE49-F238E27FC236}">
                <a16:creationId xmlns:a16="http://schemas.microsoft.com/office/drawing/2014/main" id="{1063B890-0AF9-EE4D-F223-8B6892EAA99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44406" y="117048"/>
            <a:ext cx="2185143" cy="1136864"/>
          </a:xfrm>
          <a:prstGeom prst="rect">
            <a:avLst/>
          </a:prstGeom>
        </p:spPr>
      </p:pic>
    </p:spTree>
    <p:extLst>
      <p:ext uri="{BB962C8B-B14F-4D97-AF65-F5344CB8AC3E}">
        <p14:creationId xmlns:p14="http://schemas.microsoft.com/office/powerpoint/2010/main" val="4010135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555 0.00185 L 0.00555 0.00216 L 0.01719 -0.00494 C 0.01823 -0.00525 0.01927 -0.00586 0.02014 -0.00617 C 0.02378 -0.00741 0.0276 -0.00864 0.03125 -0.01019 C 0.04791 -0.025 0.02847 -0.00864 0.07899 -0.01914 C 0.08212 -0.01975 0.08854 -0.03056 0.0901 -0.03241 C 0.09392 -0.03642 0.10642 -0.03735 0.10764 -0.03735 C 0.11701 -0.03704 0.12639 -0.03611 0.13559 -0.03611 C 0.1368 -0.03611 0.13819 -0.03642 0.13923 -0.03735 C 0.14392 -0.04259 0.14913 -0.04691 0.1526 -0.05463 L 0.15989 -0.07006 C 0.16406 -0.0679 0.16823 -0.06111 0.17239 -0.06358 C 0.2033 -0.08179 0.16684 -0.06142 0.20104 -0.07654 C 0.20295 -0.07747 0.20503 -0.07901 0.20694 -0.07932 C 0.21371 -0.08056 0.22066 -0.08117 0.2276 -0.08179 C 0.23385 -0.09012 0.22795 -0.08364 0.2408 -0.09105 C 0.24253 -0.09198 0.24409 -0.09414 0.246 -0.09506 C 0.2618 -0.1034 0.24357 -0.08951 0.26354 -0.10401 C 0.26562 -0.10556 0.26753 -0.10741 0.26944 -0.10926 C 0.27048 -0.11049 0.27135 -0.11204 0.27239 -0.11327 C 0.27465 -0.11605 0.27673 -0.11852 0.27899 -0.12099 C 0.28003 -0.12222 0.2809 -0.12315 0.28194 -0.12377 C 0.28437 -0.125 0.2868 -0.12562 0.28923 -0.12623 C 0.29462 -0.12809 0.29496 -0.12778 0.30104 -0.12901 C 0.30312 -0.12994 0.30503 -0.13117 0.30694 -0.13148 C 0.32187 -0.13488 0.31528 -0.13025 0.32604 -0.13549 C 0.3276 -0.13611 0.32899 -0.13735 0.33055 -0.13796 C 0.33246 -0.1392 0.33437 -0.13982 0.33646 -0.14074 C 0.33941 -0.14228 0.34219 -0.14444 0.34514 -0.14599 C 0.34687 -0.14691 0.34861 -0.14753 0.35034 -0.14846 C 0.35382 -0.15093 0.35677 -0.15494 0.35989 -0.15772 C 0.36059 -0.15833 0.36146 -0.15864 0.36215 -0.15895 C 0.36284 -0.15988 0.36354 -0.16111 0.36441 -0.16173 C 0.36892 -0.1642 0.37291 -0.1642 0.3776 -0.16543 C 0.37934 -0.16605 0.39132 -0.16944 0.39375 -0.17068 C 0.39878 -0.17346 0.40399 -0.17531 0.4085 -0.17994 C 0.41024 -0.18179 0.4118 -0.18395 0.41354 -0.18519 C 0.42291 -0.19167 0.41597 -0.18395 0.42396 -0.19043 C 0.42517 -0.19136 0.42621 -0.19321 0.4276 -0.19414 C 0.42916 -0.19537 0.43107 -0.19599 0.43264 -0.19691 C 0.43403 -0.19753 0.43507 -0.19877 0.43646 -0.19938 C 0.43906 -0.20093 0.44184 -0.20185 0.44444 -0.2034 C 0.44844 -0.20586 0.45225 -0.20895 0.45625 -0.21142 C 0.46059 -0.21389 0.4651 -0.21512 0.46944 -0.2179 C 0.471 -0.21883 0.47239 -0.21944 0.47396 -0.22037 C 0.47569 -0.22161 0.47725 -0.22346 0.47899 -0.22438 C 0.48055 -0.225 0.48194 -0.22531 0.4835 -0.22562 C 0.4908 -0.23086 0.48403 -0.22654 0.4967 -0.23086 C 0.49791 -0.23117 0.50191 -0.23457 0.5026 -0.23488 C 0.51614 -0.24198 0.51302 -0.23982 0.52309 -0.24383 C 0.52517 -0.24475 0.52708 -0.24537 0.52899 -0.24661 C 0.5309 -0.24753 0.53246 -0.24969 0.5342 -0.25062 C 0.53611 -0.25123 0.53819 -0.25123 0.5401 -0.25185 C 0.54149 -0.25216 0.54288 -0.25278 0.54444 -0.25309 C 0.54548 -0.25401 0.54635 -0.25525 0.54739 -0.25556 C 0.5493 -0.25679 0.55729 -0.25803 0.5585 -0.25833 C 0.56771 -0.26235 0.55503 -0.2571 0.5776 -0.26235 C 0.57986 -0.26265 0.58194 -0.2642 0.5842 -0.26482 C 0.58732 -0.26574 0.59062 -0.26605 0.59375 -0.26759 C 0.59791 -0.26914 0.60191 -0.27315 0.60625 -0.27407 C 0.61354 -0.27562 0.61024 -0.27469 0.61649 -0.27654 C 0.61857 -0.27778 0.62048 -0.27963 0.62239 -0.28056 C 0.62708 -0.28272 0.63107 -0.28303 0.63576 -0.28457 C 0.64479 -0.28704 0.63212 -0.28457 0.6467 -0.28704 C 0.66111 -0.29568 0.64739 -0.28796 0.65694 -0.29228 C 0.65868 -0.2929 0.66041 -0.29444 0.66215 -0.29475 C 0.66528 -0.29568 0.66857 -0.29568 0.6717 -0.2963 C 0.68854 -0.29383 0.68281 -0.29414 0.7085 -0.2963 C 0.70989 -0.2963 0.71146 -0.29722 0.71284 -0.29753 C 0.71736 -0.29846 0.7217 -0.29907 0.72621 -0.3 C 0.72916 -0.30093 0.73194 -0.30216 0.73489 -0.30278 C 0.76389 -0.30741 0.74566 -0.30525 0.78941 -0.30679 C 0.82639 -0.31173 0.80764 -0.30957 0.88576 -0.30679 C 0.8908 -0.30648 0.896 -0.30494 0.90121 -0.30401 L 0.9085 -0.30154 C 0.90955 -0.30093 0.91041 -0.30031 0.91146 -0.3 C 0.91909 -0.29907 0.92673 -0.29907 0.9342 -0.29753 C 0.93871 -0.29661 0.94305 -0.2963 0.94739 -0.29475 C 0.95017 -0.29414 0.95278 -0.29259 0.95555 -0.29228 C 0.96458 -0.29105 0.97378 -0.29043 0.98281 -0.28982 L 0.99462 -0.28827 L 1.00121 -0.28457 C 1.0026 -0.28364 1.00416 -0.28272 1.00555 -0.28179 C 1.00868 -0.27963 1.01215 -0.27809 1.0151 -0.27531 C 1.01614 -0.27438 1.01701 -0.27346 1.01805 -0.27253 C 1.02031 -0.2713 1.02048 -0.2713 1.02257 -0.2713 " pathEditMode="relative" rAng="0" ptsTypes="AAAAAAAAAAAAAAAAAAAAAAAAAAAAAAAAAAAAAAAAAAAAAAAAAAAAAAAAAAAAAAAAAAAAAAAAAAAAAAAAAAAAAAA">
                                      <p:cBhvr>
                                        <p:cTn id="6" dur="2000" fill="hold"/>
                                        <p:tgtEl>
                                          <p:spTgt spid="4"/>
                                        </p:tgtEl>
                                        <p:attrNameLst>
                                          <p:attrName>ppt_x</p:attrName>
                                          <p:attrName>ppt_y</p:attrName>
                                        </p:attrNameLst>
                                      </p:cBhvr>
                                      <p:rCtr x="50851" y="-15586"/>
                                    </p:animMotion>
                                  </p:childTnLst>
                                </p:cTn>
                              </p:par>
                            </p:childTnLst>
                          </p:cTn>
                        </p:par>
                        <p:par>
                          <p:cTn id="7" fill="hold">
                            <p:stCondLst>
                              <p:cond delay="3000"/>
                            </p:stCondLst>
                            <p:childTnLst>
                              <p:par>
                                <p:cTn id="8" presetID="0" presetClass="path" presetSubtype="0" repeatCount="indefinite" accel="50000" decel="50000" fill="hold" grpId="0" nodeType="afterEffect">
                                  <p:stCondLst>
                                    <p:cond delay="0"/>
                                  </p:stCondLst>
                                  <p:endCondLst>
                                    <p:cond evt="onNext" delay="0">
                                      <p:tgtEl>
                                        <p:sldTgt/>
                                      </p:tgtEl>
                                    </p:cond>
                                  </p:endCondLst>
                                  <p:childTnLst>
                                    <p:animMotion origin="layout" path="M -0.00503 -0.00494 L -0.00503 -0.00494 C -0.0125 -0.00834 -0.02014 -0.00926 -0.02708 -0.01482 C -0.03368 -0.02007 -0.03819 -0.03179 -0.04479 -0.03673 C -0.04705 -0.03828 -0.04948 -0.03951 -0.05173 -0.04167 C -0.05399 -0.04383 -0.05607 -0.04723 -0.0585 -0.04877 C -0.06302 -0.05216 -0.06771 -0.05371 -0.07222 -0.05618 C -0.08767 -0.08365 -0.0625 -0.04075 -0.08316 -0.06821 C -0.08507 -0.07068 -0.08559 -0.07531 -0.08732 -0.07809 C -0.0901 -0.08241 -0.10208 -0.09507 -0.10503 -0.09754 C -0.10729 -0.09939 -0.10989 -0.10031 -0.11198 -0.10247 C -0.11441 -0.10494 -0.11614 -0.11019 -0.11875 -0.11204 C -0.14479 -0.13241 -0.12378 -0.10679 -0.14479 -0.12933 C -0.15139 -0.13612 -0.15139 -0.13581 -0.15712 -0.14383 C -0.15989 -0.14784 -0.1625 -0.15247 -0.16545 -0.15587 C -0.16788 -0.15896 -0.171 -0.1605 -0.17361 -0.16328 C -0.17743 -0.16698 -0.18073 -0.17192 -0.18455 -0.17531 C -0.18715 -0.17778 -0.1901 -0.1784 -0.19271 -0.18025 C -0.19774 -0.18365 -0.2059 -0.19352 -0.2092 -0.19723 C -0.22587 -0.21698 -0.21024 -0.19939 -0.22291 -0.21204 C -0.24514 -0.23396 -0.23455 -0.22871 -0.24896 -0.23396 C -0.26788 -0.25402 -0.23767 -0.22254 -0.27222 -0.2534 C -0.275 -0.25587 -0.27778 -0.25803 -0.28038 -0.2605 C -0.28281 -0.26297 -0.28489 -0.26605 -0.28732 -0.26791 C -0.28993 -0.27007 -0.29288 -0.27068 -0.29548 -0.27284 C -0.2993 -0.27562 -0.30278 -0.27963 -0.30642 -0.28241 C -0.3092 -0.28457 -0.31198 -0.28519 -0.31475 -0.28735 C -0.31944 -0.29105 -0.32361 -0.2963 -0.32847 -0.2997 C -0.33194 -0.30186 -0.33576 -0.30216 -0.33941 -0.30433 C -0.33975 -0.30463 -0.35382 -0.31544 -0.35712 -0.31914 C -0.36007 -0.32192 -0.3625 -0.32624 -0.36545 -0.32871 C -0.37187 -0.33457 -0.39774 -0.34784 -0.39965 -0.34815 C -0.40382 -0.34908 -0.40781 -0.34939 -0.41198 -0.35062 C -0.41649 -0.35186 -0.421 -0.35402 -0.42569 -0.35556 C -0.42882 -0.35649 -0.43212 -0.3571 -0.43524 -0.35803 C -0.4375 -0.35865 -0.43975 -0.35988 -0.44201 -0.3605 C -0.4493 -0.36173 -0.45677 -0.36173 -0.46406 -0.36297 C -0.48906 -0.36636 -0.46649 -0.36358 -0.48316 -0.3676 C -0.48732 -0.36883 -0.49132 -0.36945 -0.49548 -0.37007 C -0.51111 -0.37809 -0.50816 -0.37778 -0.53107 -0.37747 C -0.5618 -0.37686 -0.59236 -0.37408 -0.62291 -0.37254 C -0.62517 -0.37007 -0.6276 -0.36791 -0.62968 -0.36513 C -0.63159 -0.36297 -0.63333 -0.35988 -0.63524 -0.35803 C -0.63802 -0.35525 -0.65208 -0.34291 -0.65573 -0.34105 C -0.66024 -0.33858 -0.66493 -0.33797 -0.66944 -0.33612 C -0.67673 -0.33303 -0.69444 -0.32408 -0.70104 -0.31914 C -0.70538 -0.31575 -0.70903 -0.3105 -0.71337 -0.30679 C -0.7151 -0.30556 -0.71701 -0.30556 -0.71875 -0.30433 C -0.7217 -0.30247 -0.72413 -0.29939 -0.72708 -0.29723 C -0.72916 -0.29537 -0.73177 -0.29445 -0.73385 -0.29229 C -0.73767 -0.28858 -0.7408 -0.28303 -0.74479 -0.27994 C -0.7493 -0.27686 -0.75434 -0.27531 -0.7585 -0.27037 C -0.77239 -0.25402 -0.76597 -0.25803 -0.77639 -0.2534 C -0.78385 -0.24229 -0.79166 -0.22871 -0.80104 -0.22161 C -0.80312 -0.22007 -0.80555 -0.22037 -0.80781 -0.21914 C -0.82361 -0.21173 -0.82552 -0.2105 -0.83941 -0.20216 C -0.85139 -0.18797 -0.83212 -0.20988 -0.85173 -0.1926 C -0.85607 -0.18858 -0.85764 -0.18334 -0.86128 -0.17778 C -0.86389 -0.17377 -0.86666 -0.16945 -0.86944 -0.16575 C -0.8717 -0.16297 -0.87413 -0.16081 -0.87639 -0.15834 C -0.88055 -0.15371 -0.88455 -0.14846 -0.88871 -0.14383 C -0.89236 -0.13982 -0.89566 -0.13457 -0.89965 -0.13149 C -0.90503 -0.12747 -0.91041 -0.12315 -0.91597 -0.11945 C -0.92413 -0.11389 -0.93038 -0.11204 -0.93802 -0.10494 C -0.93993 -0.10278 -0.94149 -0.0997 -0.9434 -0.09754 C -0.94705 -0.09383 -0.95087 -0.09167 -0.95434 -0.08797 C -0.96528 -0.07593 -0.95746 -0.07716 -0.97222 -0.06821 C -0.97534 -0.06667 -0.97864 -0.06667 -0.98177 -0.06605 C -0.98403 -0.06358 -0.98611 -0.0605 -0.98871 -0.05865 C -0.99253 -0.05556 -0.99722 -0.05525 -1.00104 -0.05124 C -1.02847 -0.02068 -0.99444 -0.0571 -1.02413 -0.02933 C -1.02882 -0.025 -1.03316 -0.01914 -1.03784 -0.01482 C -1.03906 -0.01358 -1.04062 -0.01358 -1.04184 -0.01235 C -1.0434 -0.01112 -1.04462 -0.00896 -1.046 -0.00741 C -1.04774 -0.00556 -1.05156 -0.00247 -1.05156 -0.00247 L -1.05156 -0.00494 " pathEditMode="relative" ptsTypes="AAAAAAAAAAAAAAAAAAAAAAAAAAAAAAAAAAAAAAAAAAAAAAAAAAAAAAAAAAAAAAAAAAAAAAAAAAAA">
                                      <p:cBhvr>
                                        <p:cTn id="9" dur="2000" fill="hold"/>
                                        <p:tgtEl>
                                          <p:spTgt spid="6"/>
                                        </p:tgtEl>
                                        <p:attrNameLst>
                                          <p:attrName>ppt_x</p:attrName>
                                          <p:attrName>ppt_y</p:attrName>
                                        </p:attrNameLst>
                                      </p:cBhvr>
                                    </p:animMotion>
                                  </p:childTnLst>
                                </p:cTn>
                              </p:par>
                            </p:childTnLst>
                          </p:cTn>
                        </p:par>
                        <p:par>
                          <p:cTn id="10" fill="hold">
                            <p:stCondLst>
                              <p:cond delay="5000"/>
                            </p:stCondLst>
                            <p:childTnLst>
                              <p:par>
                                <p:cTn id="11"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052 6.17284E-7 L 0.00052 6.17284E-7 C -0.02518 0.01512 -0.00747 0.00309 -0.02431 0.01697 C -0.0283 0.02037 -0.03282 0.02222 -0.03664 0.02685 C -0.06737 0.06327 -0.02726 0.02963 -0.06667 0.06821 C -0.06962 0.07099 -0.07309 0.07099 -0.07622 0.07315 C -0.07952 0.075 -0.08247 0.0787 -0.08594 0.08025 C -0.09497 0.08518 -0.10417 0.08765 -0.1132 0.09259 C -0.1382 0.10586 -0.1158 0.09876 -0.14341 0.11914 C -0.15504 0.12778 -0.16719 0.13364 -0.179 0.14105 C -0.18507 0.14506 -0.1908 0.14969 -0.19688 0.15339 C -0.2125 0.16265 -0.22188 0.16697 -0.23646 0.17994 C -0.24566 0.18827 -0.2441 0.19043 -0.25157 0.20185 C -0.25278 0.20401 -0.25434 0.20525 -0.25573 0.20679 C -0.27344 0.23055 -0.25 0.20154 -0.27223 0.22623 C -0.27639 0.23086 -0.28004 0.23704 -0.28455 0.24105 C -0.28976 0.24537 -0.29549 0.24691 -0.30087 0.25062 C -0.30278 0.25185 -0.30452 0.25401 -0.30643 0.25555 C -0.31007 0.25833 -0.31389 0.25988 -0.31737 0.26296 C -0.32118 0.26636 -0.32448 0.2716 -0.3283 0.275 C -0.33091 0.27716 -0.33386 0.27809 -0.33646 0.27994 C -0.34532 0.28549 -0.35365 0.29228 -0.3625 0.29691 C -0.36719 0.29938 -0.37171 0.30154 -0.37622 0.30432 C -0.38004 0.30648 -0.38368 0.30895 -0.38716 0.31142 C -0.3974 0.31883 -0.40035 0.32284 -0.41059 0.32839 C -0.41407 0.33055 -0.41789 0.33148 -0.42153 0.33333 C -0.43021 0.33796 -0.43837 0.3463 -0.44757 0.34815 C -0.46112 0.35062 -0.46129 0.35031 -0.47622 0.35525 C -0.47813 0.35586 -0.47987 0.3571 -0.48178 0.35772 C -0.48403 0.35864 -0.48629 0.35926 -0.48855 0.36018 C -0.49358 0.36235 -0.49844 0.36636 -0.50365 0.36759 C -0.51459 0.36975 -0.52553 0.36914 -0.53646 0.37006 C -0.55521 0.36914 -0.57396 0.36944 -0.59271 0.36759 C -0.59601 0.36697 -0.59914 0.36451 -0.60226 0.36265 C -0.60591 0.36049 -0.60955 0.35772 -0.6132 0.35525 C -0.61737 0.35278 -0.62153 0.35031 -0.62553 0.34815 L -0.64202 0.33827 C -0.64514 0.33673 -0.64844 0.3358 -0.65157 0.33333 C -0.65625 0.32994 -0.66025 0.32284 -0.66528 0.3213 C -0.67813 0.31728 -0.67084 0.32037 -0.68716 0.31142 C -0.68907 0.30895 -0.6908 0.30648 -0.69271 0.30432 C -0.69723 0.29846 -0.70243 0.29414 -0.70643 0.28704 C -0.71094 0.27901 -0.71146 0.27747 -0.71737 0.27006 C -0.72136 0.26512 -0.72483 0.25648 -0.72969 0.25555 C -0.74428 0.25278 -0.73803 0.25463 -0.74879 0.25062 C -0.75122 0.2466 -0.75365 0.2429 -0.75573 0.23858 C -0.75938 0.23025 -0.76112 0.21697 -0.76667 0.2142 L -0.77622 0.20926 C -0.77761 0.20864 -0.77917 0.20802 -0.78039 0.20679 C -0.78316 0.20401 -0.78577 0.20031 -0.78855 0.19722 C -0.78993 0.19537 -0.79115 0.19321 -0.79271 0.19228 C -0.79636 0.18981 -0.8 0.18765 -0.80365 0.18488 C -0.80556 0.18364 -0.8073 0.18148 -0.80921 0.17994 C -0.81233 0.17747 -0.81546 0.175 -0.81875 0.17284 C -0.8224 0.17006 -0.82605 0.16821 -0.82969 0.16543 C -0.83247 0.16327 -0.83507 0.16049 -0.83785 0.15833 C -0.83924 0.1571 -0.84063 0.15679 -0.84202 0.15586 C -0.84514 0.15339 -0.84844 0.15123 -0.85157 0.14846 C -0.85591 0.14444 -0.86528 0.13457 -0.86945 0.12901 C -0.87275 0.12438 -0.87535 0.1179 -0.879 0.11451 C -0.88282 0.11049 -0.88716 0.10957 -0.89132 0.1071 C -0.9191 0.06605 -0.88403 0.11543 -0.90643 0.09012 C -0.90938 0.08673 -0.91164 0.08148 -0.91459 0.07778 C -0.9257 0.06451 -0.92709 0.0642 -0.93785 0.05586 C -0.94115 0.05123 -0.9441 0.04568 -0.9474 0.04136 C -0.94862 0.03981 -0.95018 0.03981 -0.95157 0.03889 L -0.97084 0.02932 C -0.97431 0.02747 -0.97813 0.02623 -0.98178 0.02438 C -0.99445 0.01728 -0.98716 0.01574 -1.00504 6.17284E-7 C -1.00782 -0.00247 -1.01424 -0.00772 -1.01719 -0.01204 C -1.01962 -0.01605 -1.02136 -0.0213 -1.02396 -0.02438 C -1.02987 -0.03148 -1.02952 -0.02222 -1.02952 -0.02932 L -1.03369 -0.03148 " pathEditMode="relative" ptsTypes="AAAAAAAAAAAAAAAAAAAAAAAAAAAAAAAAAAAAAAAAAAAAAAAAAAAAAAAAAAAAAAAAAAAAAAAAA">
                                      <p:cBhvr>
                                        <p:cTn id="12" dur="2000" fill="hold"/>
                                        <p:tgtEl>
                                          <p:spTgt spid="7"/>
                                        </p:tgtEl>
                                        <p:attrNameLst>
                                          <p:attrName>ppt_x</p:attrName>
                                          <p:attrName>ppt_y</p:attrName>
                                        </p:attrNameLst>
                                      </p:cBhvr>
                                    </p:animMotion>
                                  </p:childTnLst>
                                </p:cTn>
                              </p:par>
                            </p:childTnLst>
                          </p:cTn>
                        </p:par>
                        <p:par>
                          <p:cTn id="13" fill="hold">
                            <p:stCondLst>
                              <p:cond delay="8000"/>
                            </p:stCondLst>
                            <p:childTnLst>
                              <p:par>
                                <p:cTn id="14" presetID="0" presetClass="path" presetSubtype="0" repeatCount="indefinite" accel="50000" decel="50000" fill="hold" grpId="0" nodeType="afterEffect">
                                  <p:stCondLst>
                                    <p:cond delay="1000"/>
                                  </p:stCondLst>
                                  <p:endCondLst>
                                    <p:cond evt="onNext" delay="0">
                                      <p:tgtEl>
                                        <p:sldTgt/>
                                      </p:tgtEl>
                                    </p:cond>
                                  </p:endCondLst>
                                  <p:childTnLst>
                                    <p:animMotion origin="layout" path="M 0.00798 0.00062 L 0.00798 0.00062 C 0.01719 0.00216 0.02604 0.00556 0.03524 0.00556 C 0.04531 0.00556 0.05538 0.00186 0.06545 0.00062 C 0.07691 -0.00061 0.08819 -0.00092 0.09965 -0.00185 C 0.10243 -0.00339 0.10503 -0.00617 0.10781 -0.00648 C 0.12483 -0.00987 0.13108 -0.00463 0.14358 -0.01142 C 0.14896 -0.0145 0.15434 -0.01944 0.15989 -0.02129 C 0.16267 -0.02191 0.16545 -0.02284 0.16823 -0.02376 C 0.17187 -0.02469 0.17552 -0.025 0.17917 -0.02623 C 0.18368 -0.02747 0.18837 -0.02839 0.19288 -0.03086 C 0.19548 -0.03271 0.19826 -0.03426 0.20104 -0.0358 C 0.2033 -0.03734 0.20555 -0.0395 0.20781 -0.04074 C 0.21233 -0.0429 0.21701 -0.04351 0.22153 -0.04568 C 0.22396 -0.0466 0.22604 -0.04907 0.22847 -0.05061 C 0.23021 -0.05154 0.23212 -0.05154 0.23385 -0.05277 C 0.2368 -0.05493 0.23923 -0.05864 0.24219 -0.06018 C 0.24531 -0.06203 0.24861 -0.06172 0.25173 -0.06265 C 0.25364 -0.06327 0.25538 -0.0645 0.25729 -0.06512 C 0.25955 -0.06605 0.2618 -0.06666 0.26406 -0.06759 C 0.26545 -0.07006 0.26667 -0.07284 0.26823 -0.07469 C 0.27778 -0.08703 0.26979 -0.07407 0.27778 -0.08209 C 0.28055 -0.08487 0.28281 -0.09043 0.28594 -0.09197 C 0.28958 -0.09351 0.2934 -0.09475 0.29687 -0.0966 C 0.31337 -0.10586 0.30243 -0.10061 0.31337 -0.10895 C 0.31476 -0.10987 0.31614 -0.11049 0.31753 -0.11142 C 0.31944 -0.11265 0.32118 -0.11419 0.32292 -0.11635 C 0.32986 -0.12376 0.33212 -0.13209 0.3408 -0.13827 C 0.34444 -0.14074 0.34965 -0.14413 0.35312 -0.14784 C 0.35503 -0.15 0.35642 -0.1537 0.35851 -0.15524 C 0.36302 -0.15802 0.36771 -0.15802 0.37222 -0.16018 C 0.38923 -0.16728 0.37483 -0.16234 0.3901 -0.16975 C 0.39236 -0.17098 0.39462 -0.17129 0.39687 -0.17222 C 0.3993 -0.17376 0.40139 -0.17561 0.40382 -0.17716 C 0.40694 -0.17901 0.41042 -0.17901 0.41337 -0.18209 C 0.41476 -0.18333 0.41476 -0.18734 0.41614 -0.18919 C 0.41719 -0.19105 0.41892 -0.19074 0.42014 -0.19166 C 0.42483 -0.19568 0.42951 -0.19938 0.43385 -0.20401 C 0.43715 -0.20709 0.4401 -0.21111 0.44358 -0.21358 C 0.44566 -0.21512 0.44809 -0.21543 0.45035 -0.21605 C 0.46094 -0.22747 0.4533 -0.22037 0.46545 -0.22839 C 0.46771 -0.22963 0.46996 -0.23179 0.47222 -0.23302 C 0.47726 -0.23642 0.48646 -0.24166 0.49149 -0.2429 C 0.49548 -0.24382 0.50347 -0.24568 0.50781 -0.24784 C 0.51076 -0.24907 0.51337 -0.25092 0.51614 -0.25247 L 0.57639 -0.2503 C 0.57899 -0.25 0.59375 -0.2429 0.59427 -0.2429 C 0.59687 -0.24197 0.59965 -0.24105 0.60243 -0.24043 C 0.60608 -0.2395 0.60972 -0.23919 0.61337 -0.23796 C 0.61701 -0.23672 0.62101 -0.23611 0.6243 -0.23302 C 0.62864 -0.22932 0.62969 -0.22777 0.63385 -0.22592 C 0.63941 -0.22314 0.64496 -0.22098 0.65035 -0.21851 C 0.65364 -0.21697 0.65677 -0.21481 0.65989 -0.21358 C 0.66545 -0.21172 0.67083 -0.21049 0.67639 -0.20864 C 0.6783 -0.20709 0.68003 -0.20586 0.68194 -0.20401 C 0.68472 -0.20092 0.68698 -0.1966 0.6901 -0.19413 C 0.69323 -0.19166 0.6967 -0.19012 0.69965 -0.18672 C 0.7276 -0.15802 0.68333 -0.19753 0.71476 -0.16728 C 0.71788 -0.1645 0.72135 -0.16327 0.7243 -0.16018 C 0.72778 -0.15648 0.73055 -0.15154 0.73385 -0.14784 C 0.73611 -0.14568 0.73871 -0.14537 0.7408 -0.1429 C 0.7441 -0.1395 0.74705 -0.13426 0.75035 -0.13086 C 0.75243 -0.1287 0.75503 -0.12777 0.75729 -0.12592 C 0.76007 -0.12376 0.76285 -0.1216 0.76545 -0.11851 C 0.77187 -0.11172 0.77778 -0.10277 0.78455 -0.0966 C 0.78733 -0.09444 0.79028 -0.09228 0.79288 -0.0895 C 0.79531 -0.08672 0.79722 -0.08271 0.79965 -0.07963 C 0.80139 -0.07777 0.80347 -0.07685 0.80521 -0.07469 C 0.81267 -0.06605 0.8118 -0.06296 0.82014 -0.05524 C 0.82187 -0.0537 0.82396 -0.05401 0.82569 -0.05277 C 0.82986 -0.05 0.83385 -0.04629 0.83802 -0.04321 C 0.84479 -0.03827 0.85173 -0.03333 0.85851 -0.0287 C 0.86319 -0.0253 0.86788 -0.02284 0.87222 -0.01882 C 0.87413 -0.01728 0.87587 -0.01512 0.87778 -0.01389 C 0.88125 -0.01172 0.88524 -0.01142 0.88871 -0.00895 C 0.89097 -0.0074 0.8934 -0.00586 0.89548 -0.00432 C 0.89844 -0.00185 0.90087 0.00124 0.90382 0.00309 C 0.90781 0.00587 0.91198 0.00803 0.91614 0.0105 C 0.92691 0.0247 0.9158 0.01142 0.92847 0.02253 C 0.94548 0.03766 0.93489 0.0321 0.94618 0.03735 C 0.95312 0.04939 0.94323 0.03241 0.95729 0.05186 C 0.95868 0.05402 0.95972 0.0571 0.96128 0.05926 C 0.96389 0.06204 0.96684 0.06389 0.96962 0.06636 C 0.97187 0.06883 0.97396 0.07161 0.97639 0.07377 C 0.98246 0.07902 0.99739 0.08889 1.00243 0.09074 C 1.0092 0.09321 1.01597 0.09723 1.02292 0.09815 L 1.04618 0.10062 C 1.05555 0.1034 1.05191 0.10062 1.05729 0.10556 L 1.05729 0.10556 " pathEditMode="relative" ptsTypes="AAAAAAAAAAAAAAAAAAAAAAAAAAAAAAAAAAAAAAAAAAAAAAAAAAAAAAAAAAAAAAAAAAAAAAAAAAAAAAAAAAAAAAAAA">
                                      <p:cBhvr>
                                        <p:cTn id="15" dur="2000" fill="hold"/>
                                        <p:tgtEl>
                                          <p:spTgt spid="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Lst>
  </p:timing>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preserve="1" userDrawn="1">
  <p:cSld name="5_Title Only">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3BDD77-010D-24DB-29CF-6F615DE079EE}"/>
              </a:ext>
            </a:extLst>
          </p:cNvPr>
          <p:cNvGraphicFramePr>
            <a:graphicFrameLocks noChangeAspect="1"/>
          </p:cNvGraphicFramePr>
          <p:nvPr userDrawn="1">
            <p:custDataLst>
              <p:tags r:id="rId1"/>
            </p:custDataLst>
            <p:extLst>
              <p:ext uri="{D42A27DB-BD31-4B8C-83A1-F6EECF244321}">
                <p14:modId xmlns:p14="http://schemas.microsoft.com/office/powerpoint/2010/main" val="35324843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think-cell data - do not delete" hidden="1">
                        <a:extLst>
                          <a:ext uri="{FF2B5EF4-FFF2-40B4-BE49-F238E27FC236}">
                            <a16:creationId xmlns:a16="http://schemas.microsoft.com/office/drawing/2014/main" id="{D13BDD77-010D-24DB-29CF-6F615DE079EE}"/>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1" name="Picture 10" descr="A person touching her hand&#10;&#10;Description automatically generated">
            <a:extLst>
              <a:ext uri="{FF2B5EF4-FFF2-40B4-BE49-F238E27FC236}">
                <a16:creationId xmlns:a16="http://schemas.microsoft.com/office/drawing/2014/main" id="{5CB38ADC-78CD-8231-0D6A-F15E5AEED22E}"/>
              </a:ext>
            </a:extLst>
          </p:cNvPr>
          <p:cNvPicPr>
            <a:picLocks noChangeAspect="1"/>
          </p:cNvPicPr>
          <p:nvPr userDrawn="1"/>
        </p:nvPicPr>
        <p:blipFill>
          <a:blip r:embed="rId5">
            <a:extLst>
              <a:ext uri="{28A0092B-C50C-407E-A947-70E740481C1C}">
                <a14:useLocalDpi xmlns:a14="http://schemas.microsoft.com/office/drawing/2010/main" val="0"/>
              </a:ext>
            </a:extLst>
          </a:blip>
          <a:srcRect r="24176"/>
          <a:stretch/>
        </p:blipFill>
        <p:spPr>
          <a:xfrm>
            <a:off x="2966859" y="1700808"/>
            <a:ext cx="9244452" cy="4573613"/>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2947547" y="1692717"/>
            <a:ext cx="9244453" cy="4802913"/>
          </a:xfrm>
          <a:prstGeom prst="rect">
            <a:avLst/>
          </a:prstGeom>
          <a:gradFill>
            <a:gsLst>
              <a:gs pos="0">
                <a:schemeClr val="accent1">
                  <a:lumMod val="75000"/>
                  <a:alpha val="0"/>
                </a:schemeClr>
              </a:gs>
              <a:gs pos="26000">
                <a:schemeClr val="accent1">
                  <a:lumMod val="50000"/>
                  <a:alpha val="4200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6589821" y="672243"/>
            <a:ext cx="1555963" cy="964839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Enter slide title</a:t>
            </a:r>
            <a:br>
              <a:rPr lang="en-US" dirty="0"/>
            </a:br>
            <a:r>
              <a:rPr lang="en-US" dirty="0"/>
              <a:t>(27 pt, bold, max. 2 lines)</a:t>
            </a:r>
          </a:p>
        </p:txBody>
      </p:sp>
      <p:sp>
        <p:nvSpPr>
          <p:cNvPr id="13" name="Rectangle 12">
            <a:extLst>
              <a:ext uri="{FF2B5EF4-FFF2-40B4-BE49-F238E27FC236}">
                <a16:creationId xmlns:a16="http://schemas.microsoft.com/office/drawing/2014/main" id="{AEEF14EA-8A78-0B35-A0FB-22F83670CB4E}"/>
              </a:ext>
            </a:extLst>
          </p:cNvPr>
          <p:cNvSpPr/>
          <p:nvPr userDrawn="1"/>
        </p:nvSpPr>
        <p:spPr>
          <a:xfrm rot="5400000" flipH="1">
            <a:off x="6506631" y="-2428597"/>
            <a:ext cx="1555963" cy="981477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3" name="Ellipse 2">
            <a:extLst>
              <a:ext uri="{FF2B5EF4-FFF2-40B4-BE49-F238E27FC236}">
                <a16:creationId xmlns:a16="http://schemas.microsoft.com/office/drawing/2014/main" id="{1D490FBD-B35D-12AF-C2DB-EB2BFCD2BEF3}"/>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9" name="Grafik 8" descr="Ein Bild, das Text, Schrift, Screenshot, Logo enthält.&#10;&#10;KI-generierte Inhalte können fehlerhaft sein.">
            <a:extLst>
              <a:ext uri="{FF2B5EF4-FFF2-40B4-BE49-F238E27FC236}">
                <a16:creationId xmlns:a16="http://schemas.microsoft.com/office/drawing/2014/main" id="{9DC2D897-A882-9812-68B5-969FC6DD3D0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599954991"/>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userDrawn="1">
  <p:cSld name="4_Title Only">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46CA14C-95B3-2845-E353-C67A32B4AA82}"/>
              </a:ext>
            </a:extLst>
          </p:cNvPr>
          <p:cNvGraphicFramePr>
            <a:graphicFrameLocks noChangeAspect="1"/>
          </p:cNvGraphicFramePr>
          <p:nvPr userDrawn="1">
            <p:custDataLst>
              <p:tags r:id="rId1"/>
            </p:custDataLst>
            <p:extLst>
              <p:ext uri="{D42A27DB-BD31-4B8C-83A1-F6EECF244321}">
                <p14:modId xmlns:p14="http://schemas.microsoft.com/office/powerpoint/2010/main" val="10234985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9" name="think-cell data - do not delete" hidden="1">
                        <a:extLst>
                          <a:ext uri="{FF2B5EF4-FFF2-40B4-BE49-F238E27FC236}">
                            <a16:creationId xmlns:a16="http://schemas.microsoft.com/office/drawing/2014/main" id="{446CA14C-95B3-2845-E353-C67A32B4AA8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6" name="Picture 5" descr="A silhouette of a person helping a person with a leash&#10;&#10;Description automatically generated">
            <a:extLst>
              <a:ext uri="{FF2B5EF4-FFF2-40B4-BE49-F238E27FC236}">
                <a16:creationId xmlns:a16="http://schemas.microsoft.com/office/drawing/2014/main" id="{945880DE-F893-2955-0B3A-B87CDBFFC1D8}"/>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r="3828"/>
          <a:stretch/>
        </p:blipFill>
        <p:spPr>
          <a:xfrm>
            <a:off x="4585197" y="144158"/>
            <a:ext cx="7606804" cy="5273081"/>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4538594" y="568989"/>
            <a:ext cx="7653407" cy="5273081"/>
          </a:xfrm>
          <a:prstGeom prst="rect">
            <a:avLst/>
          </a:prstGeom>
          <a:gradFill>
            <a:gsLst>
              <a:gs pos="0">
                <a:schemeClr val="accent1">
                  <a:lumMod val="75000"/>
                  <a:alpha val="0"/>
                </a:schemeClr>
              </a:gs>
              <a:gs pos="53000">
                <a:schemeClr val="accent1">
                  <a:lumMod val="50000"/>
                  <a:alpha val="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7459205" y="684446"/>
            <a:ext cx="1555963" cy="7909623"/>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Enter slide title</a:t>
            </a:r>
            <a:br>
              <a:rPr lang="en-US" dirty="0"/>
            </a:br>
            <a:r>
              <a:rPr lang="en-US" dirty="0"/>
              <a:t>(27 pt, bold, max. 2 lines)</a:t>
            </a:r>
          </a:p>
        </p:txBody>
      </p:sp>
      <p:sp>
        <p:nvSpPr>
          <p:cNvPr id="16" name="Date Placeholder 3">
            <a:extLst>
              <a:ext uri="{FF2B5EF4-FFF2-40B4-BE49-F238E27FC236}">
                <a16:creationId xmlns:a16="http://schemas.microsoft.com/office/drawing/2014/main" id="{FC6E5775-8730-55AC-E887-31CBE408CBBC}"/>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r>
              <a:rPr lang="en-US"/>
              <a:t>9/25/2025</a:t>
            </a:r>
          </a:p>
        </p:txBody>
      </p:sp>
      <p:sp>
        <p:nvSpPr>
          <p:cNvPr id="17" name="Footer Placeholder 4">
            <a:extLst>
              <a:ext uri="{FF2B5EF4-FFF2-40B4-BE49-F238E27FC236}">
                <a16:creationId xmlns:a16="http://schemas.microsoft.com/office/drawing/2014/main" id="{42E2560B-7051-558A-787C-875D12E0C1E9}"/>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a:t>5G Broadcast Conference</a:t>
            </a:r>
            <a:endParaRPr lang="en-US" dirty="0"/>
          </a:p>
        </p:txBody>
      </p:sp>
      <p:sp>
        <p:nvSpPr>
          <p:cNvPr id="18" name="Slide Number Placeholder 5">
            <a:extLst>
              <a:ext uri="{FF2B5EF4-FFF2-40B4-BE49-F238E27FC236}">
                <a16:creationId xmlns:a16="http://schemas.microsoft.com/office/drawing/2014/main" id="{3C4C28E8-BB74-416D-704E-7509DA77D6CA}"/>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sp>
        <p:nvSpPr>
          <p:cNvPr id="4" name="Ellipse 3">
            <a:extLst>
              <a:ext uri="{FF2B5EF4-FFF2-40B4-BE49-F238E27FC236}">
                <a16:creationId xmlns:a16="http://schemas.microsoft.com/office/drawing/2014/main" id="{B0B543A0-8198-0E07-5178-4EA19BA081DB}"/>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Grafik 2" descr="Ein Bild, das Text, Schrift, Screenshot, Logo enthält.&#10;&#10;KI-generierte Inhalte können fehlerhaft sein.">
            <a:extLst>
              <a:ext uri="{FF2B5EF4-FFF2-40B4-BE49-F238E27FC236}">
                <a16:creationId xmlns:a16="http://schemas.microsoft.com/office/drawing/2014/main" id="{3B211F52-8F51-EC80-6C13-603E2EF6855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1120370000"/>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userDrawn="1">
  <p:cSld name="17_Section Header 2">
    <p:bg>
      <p:bgPr>
        <a:solidFill>
          <a:srgbClr val="00113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7923F4-3ECE-5486-D7CE-18DD24FBB693}"/>
              </a:ext>
            </a:extLst>
          </p:cNvPr>
          <p:cNvGraphicFramePr>
            <a:graphicFrameLocks noChangeAspect="1"/>
          </p:cNvGraphicFramePr>
          <p:nvPr userDrawn="1">
            <p:custDataLst>
              <p:tags r:id="rId1"/>
            </p:custDataLst>
            <p:extLst>
              <p:ext uri="{D42A27DB-BD31-4B8C-83A1-F6EECF244321}">
                <p14:modId xmlns:p14="http://schemas.microsoft.com/office/powerpoint/2010/main" val="37168127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think-cell data - do not delete" hidden="1">
                        <a:extLst>
                          <a:ext uri="{FF2B5EF4-FFF2-40B4-BE49-F238E27FC236}">
                            <a16:creationId xmlns:a16="http://schemas.microsoft.com/office/drawing/2014/main" id="{527923F4-3ECE-5486-D7CE-18DD24FBB69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3" name="Picture 2" descr="A blue lines and dots in a city&#10;&#10;Description automatically generated">
            <a:extLst>
              <a:ext uri="{FF2B5EF4-FFF2-40B4-BE49-F238E27FC236}">
                <a16:creationId xmlns:a16="http://schemas.microsoft.com/office/drawing/2014/main" id="{39EC5727-99FF-8233-01D6-DD17285B07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hteck 12">
            <a:extLst>
              <a:ext uri="{FF2B5EF4-FFF2-40B4-BE49-F238E27FC236}">
                <a16:creationId xmlns:a16="http://schemas.microsoft.com/office/drawing/2014/main" id="{92E8D164-3303-EBD9-1D46-EF9815FC1819}"/>
              </a:ext>
            </a:extLst>
          </p:cNvPr>
          <p:cNvSpPr/>
          <p:nvPr userDrawn="1"/>
        </p:nvSpPr>
        <p:spPr>
          <a:xfrm>
            <a:off x="0" y="0"/>
            <a:ext cx="12192000" cy="6858000"/>
          </a:xfrm>
          <a:prstGeom prst="rect">
            <a:avLst/>
          </a:prstGeom>
          <a:gradFill flip="none" rotWithShape="1">
            <a:gsLst>
              <a:gs pos="0">
                <a:schemeClr val="accent1">
                  <a:lumMod val="50000"/>
                </a:schemeClr>
              </a:gs>
              <a:gs pos="54000">
                <a:schemeClr val="accent1">
                  <a:lumMod val="50000"/>
                  <a:alpha val="66000"/>
                </a:schemeClr>
              </a:gs>
              <a:gs pos="100000">
                <a:schemeClr val="accent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2000" dirty="0" err="1"/>
          </a:p>
        </p:txBody>
      </p:sp>
      <p:sp>
        <p:nvSpPr>
          <p:cNvPr id="4" name="Title 1"/>
          <p:cNvSpPr>
            <a:spLocks noGrp="1"/>
          </p:cNvSpPr>
          <p:nvPr>
            <p:ph type="title" hasCustomPrompt="1"/>
          </p:nvPr>
        </p:nvSpPr>
        <p:spPr>
          <a:xfrm>
            <a:off x="480000" y="384000"/>
            <a:ext cx="11328000" cy="936000"/>
          </a:xfrm>
        </p:spPr>
        <p:txBody>
          <a:bodyPr vert="horz"/>
          <a:lstStyle>
            <a:lvl1pPr>
              <a:defRPr cap="none" baseline="0">
                <a:solidFill>
                  <a:schemeClr val="bg1"/>
                </a:solidFill>
              </a:defRPr>
            </a:lvl1pPr>
          </a:lstStyle>
          <a:p>
            <a:r>
              <a:rPr lang="en-US"/>
              <a:t>Enter slide title</a:t>
            </a:r>
            <a:br>
              <a:rPr lang="en-US"/>
            </a:br>
            <a:r>
              <a:rPr lang="en-US"/>
              <a:t>(27 pt, bold, max. 2 lines)</a:t>
            </a:r>
          </a:p>
        </p:txBody>
      </p:sp>
      <p:sp>
        <p:nvSpPr>
          <p:cNvPr id="11" name="Date Placeholder 3">
            <a:extLst>
              <a:ext uri="{FF2B5EF4-FFF2-40B4-BE49-F238E27FC236}">
                <a16:creationId xmlns:a16="http://schemas.microsoft.com/office/drawing/2014/main" id="{6168B7C6-507D-701C-E1E7-5BDE690E0FFF}"/>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r>
              <a:rPr lang="en-US"/>
              <a:t>9/25/2025</a:t>
            </a:r>
          </a:p>
        </p:txBody>
      </p:sp>
      <p:sp>
        <p:nvSpPr>
          <p:cNvPr id="12" name="Footer Placeholder 4">
            <a:extLst>
              <a:ext uri="{FF2B5EF4-FFF2-40B4-BE49-F238E27FC236}">
                <a16:creationId xmlns:a16="http://schemas.microsoft.com/office/drawing/2014/main" id="{34B35216-8399-8FA6-96D3-35887EA75337}"/>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a:t>5G Broadcast Conference</a:t>
            </a:r>
            <a:endParaRPr lang="en-US" dirty="0"/>
          </a:p>
        </p:txBody>
      </p:sp>
      <p:sp>
        <p:nvSpPr>
          <p:cNvPr id="13" name="Slide Number Placeholder 5">
            <a:extLst>
              <a:ext uri="{FF2B5EF4-FFF2-40B4-BE49-F238E27FC236}">
                <a16:creationId xmlns:a16="http://schemas.microsoft.com/office/drawing/2014/main" id="{90F53907-BDA9-6D73-3A3F-13BD1F33D6B3}"/>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sp>
        <p:nvSpPr>
          <p:cNvPr id="6" name="Ellipse 5">
            <a:extLst>
              <a:ext uri="{FF2B5EF4-FFF2-40B4-BE49-F238E27FC236}">
                <a16:creationId xmlns:a16="http://schemas.microsoft.com/office/drawing/2014/main" id="{16900EAE-86D1-CFC9-A7ED-12E6B1FBB725}"/>
              </a:ext>
            </a:extLst>
          </p:cNvPr>
          <p:cNvSpPr/>
          <p:nvPr userDrawn="1"/>
        </p:nvSpPr>
        <p:spPr>
          <a:xfrm>
            <a:off x="9840416" y="-645889"/>
            <a:ext cx="3648405" cy="2048588"/>
          </a:xfrm>
          <a:prstGeom prst="ellipse">
            <a:avLst/>
          </a:prstGeom>
          <a:solidFill>
            <a:srgbClr val="FFFFFF">
              <a:alpha val="41176"/>
            </a:srgbClr>
          </a:solidFill>
          <a:ln>
            <a:noFill/>
          </a:ln>
          <a:effectLst>
            <a:softEdge rad="3429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 name="Grafik 1" descr="Ein Bild, das Text, Schrift, Screenshot, Logo enthält.&#10;&#10;KI-generierte Inhalte können fehlerhaft sein.">
            <a:extLst>
              <a:ext uri="{FF2B5EF4-FFF2-40B4-BE49-F238E27FC236}">
                <a16:creationId xmlns:a16="http://schemas.microsoft.com/office/drawing/2014/main" id="{C782AD4E-C1F8-ABEB-A852-DA51F8D741C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56779" y="108844"/>
            <a:ext cx="1143221" cy="594784"/>
          </a:xfrm>
          <a:prstGeom prst="rect">
            <a:avLst/>
          </a:prstGeom>
        </p:spPr>
      </p:pic>
    </p:spTree>
    <p:extLst>
      <p:ext uri="{BB962C8B-B14F-4D97-AF65-F5344CB8AC3E}">
        <p14:creationId xmlns:p14="http://schemas.microsoft.com/office/powerpoint/2010/main" val="984388314"/>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userDrawn="1">
  <p:cSld name="18_Section Header 2">
    <p:bg>
      <p:bgPr>
        <a:solidFill>
          <a:srgbClr val="001130"/>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03CBA925-FE0E-3455-EDB1-BAFF06B4777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6508"/>
          <a:stretch/>
        </p:blipFill>
        <p:spPr bwMode="auto">
          <a:xfrm>
            <a:off x="3063848" y="1365998"/>
            <a:ext cx="9128155" cy="5492001"/>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7D499543-9CB8-66CB-34C7-FD6B14AAA9E8}"/>
              </a:ext>
            </a:extLst>
          </p:cNvPr>
          <p:cNvSpPr/>
          <p:nvPr userDrawn="1"/>
        </p:nvSpPr>
        <p:spPr>
          <a:xfrm rot="5400000">
            <a:off x="6797855" y="-1485093"/>
            <a:ext cx="3930293" cy="6858000"/>
          </a:xfrm>
          <a:prstGeom prst="rect">
            <a:avLst/>
          </a:prstGeom>
          <a:gradFill>
            <a:gsLst>
              <a:gs pos="0">
                <a:schemeClr val="accent1">
                  <a:lumMod val="50000"/>
                </a:schemeClr>
              </a:gs>
              <a:gs pos="48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5" name="Rectangle 24">
            <a:extLst>
              <a:ext uri="{FF2B5EF4-FFF2-40B4-BE49-F238E27FC236}">
                <a16:creationId xmlns:a16="http://schemas.microsoft.com/office/drawing/2014/main" id="{791E6081-CD96-1A6A-C20C-91E0C2B799AF}"/>
              </a:ext>
            </a:extLst>
          </p:cNvPr>
          <p:cNvSpPr/>
          <p:nvPr userDrawn="1"/>
        </p:nvSpPr>
        <p:spPr>
          <a:xfrm>
            <a:off x="0" y="30772"/>
            <a:ext cx="12192000" cy="6858000"/>
          </a:xfrm>
          <a:prstGeom prst="rect">
            <a:avLst/>
          </a:prstGeom>
          <a:gradFill>
            <a:gsLst>
              <a:gs pos="0">
                <a:schemeClr val="accent1">
                  <a:lumMod val="50000"/>
                </a:schemeClr>
              </a:gs>
              <a:gs pos="40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4" name="Title 1"/>
          <p:cNvSpPr>
            <a:spLocks noGrp="1"/>
          </p:cNvSpPr>
          <p:nvPr userDrawn="1">
            <p:ph type="title" hasCustomPrompt="1"/>
          </p:nvPr>
        </p:nvSpPr>
        <p:spPr>
          <a:xfrm>
            <a:off x="480000" y="384000"/>
            <a:ext cx="11328000" cy="936000"/>
          </a:xfrm>
        </p:spPr>
        <p:txBody>
          <a:bodyPr/>
          <a:lstStyle>
            <a:lvl1pPr>
              <a:defRPr cap="none" baseline="0">
                <a:solidFill>
                  <a:schemeClr val="bg1"/>
                </a:solidFill>
              </a:defRPr>
            </a:lvl1pPr>
          </a:lstStyle>
          <a:p>
            <a:r>
              <a:rPr lang="en-US"/>
              <a:t>Enter slide title</a:t>
            </a:r>
            <a:br>
              <a:rPr lang="en-US"/>
            </a:br>
            <a:r>
              <a:rPr lang="en-US"/>
              <a:t>(27 pt, bold, max. 2 lines)</a:t>
            </a:r>
          </a:p>
        </p:txBody>
      </p:sp>
      <p:sp>
        <p:nvSpPr>
          <p:cNvPr id="7" name="Date Placeholder 3">
            <a:extLst>
              <a:ext uri="{FF2B5EF4-FFF2-40B4-BE49-F238E27FC236}">
                <a16:creationId xmlns:a16="http://schemas.microsoft.com/office/drawing/2014/main" id="{29C38334-A4A8-355E-1E81-97FC820FDD85}"/>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r>
              <a:rPr lang="en-US"/>
              <a:t>9/25/2025</a:t>
            </a:r>
          </a:p>
        </p:txBody>
      </p:sp>
      <p:sp>
        <p:nvSpPr>
          <p:cNvPr id="8" name="Footer Placeholder 4">
            <a:extLst>
              <a:ext uri="{FF2B5EF4-FFF2-40B4-BE49-F238E27FC236}">
                <a16:creationId xmlns:a16="http://schemas.microsoft.com/office/drawing/2014/main" id="{145873D2-740C-FB67-4DF3-FEFA51CC46D7}"/>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a:t>5G Broadcast Conference</a:t>
            </a:r>
            <a:endParaRPr lang="en-US" dirty="0"/>
          </a:p>
        </p:txBody>
      </p:sp>
      <p:sp>
        <p:nvSpPr>
          <p:cNvPr id="11" name="Slide Number Placeholder 5">
            <a:extLst>
              <a:ext uri="{FF2B5EF4-FFF2-40B4-BE49-F238E27FC236}">
                <a16:creationId xmlns:a16="http://schemas.microsoft.com/office/drawing/2014/main" id="{647F9C24-E2CD-D0DA-6FCD-326A473C41EB}"/>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19" name="Grafik 18" descr="Ein Bild, das Text, Schrift, Screenshot, Logo enthält.&#10;&#10;KI-generierte Inhalte können fehlerhaft sein.">
            <a:extLst>
              <a:ext uri="{FF2B5EF4-FFF2-40B4-BE49-F238E27FC236}">
                <a16:creationId xmlns:a16="http://schemas.microsoft.com/office/drawing/2014/main" id="{CFD70719-F239-635C-6678-A7CB3A7F5A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612393549"/>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userDrawn="1">
  <p:cSld name="19_Section Header 2">
    <p:bg>
      <p:bgPr>
        <a:solidFill>
          <a:srgbClr val="001130"/>
        </a:solidFill>
        <a:effectLst/>
      </p:bgPr>
    </p:bg>
    <p:spTree>
      <p:nvGrpSpPr>
        <p:cNvPr id="1" name=""/>
        <p:cNvGrpSpPr/>
        <p:nvPr/>
      </p:nvGrpSpPr>
      <p:grpSpPr>
        <a:xfrm>
          <a:off x="0" y="0"/>
          <a:ext cx="0" cy="0"/>
          <a:chOff x="0" y="0"/>
          <a:chExt cx="0" cy="0"/>
        </a:xfrm>
      </p:grpSpPr>
      <p:pic>
        <p:nvPicPr>
          <p:cNvPr id="3" name="Picture 2" descr="A building with glass walls and a fence&#10;&#10;Description automatically generated">
            <a:extLst>
              <a:ext uri="{FF2B5EF4-FFF2-40B4-BE49-F238E27FC236}">
                <a16:creationId xmlns:a16="http://schemas.microsoft.com/office/drawing/2014/main" id="{51180C5F-7BD2-D333-2B8B-F7DDE17B65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7151" y="0"/>
            <a:ext cx="9238503" cy="6858000"/>
          </a:xfrm>
          <a:prstGeom prst="rect">
            <a:avLst/>
          </a:prstGeom>
        </p:spPr>
      </p:pic>
      <p:sp>
        <p:nvSpPr>
          <p:cNvPr id="28" name="Rectangle 27">
            <a:extLst>
              <a:ext uri="{FF2B5EF4-FFF2-40B4-BE49-F238E27FC236}">
                <a16:creationId xmlns:a16="http://schemas.microsoft.com/office/drawing/2014/main" id="{7D499543-9CB8-66CB-34C7-FD6B14AAA9E8}"/>
              </a:ext>
            </a:extLst>
          </p:cNvPr>
          <p:cNvSpPr/>
          <p:nvPr userDrawn="1"/>
        </p:nvSpPr>
        <p:spPr>
          <a:xfrm rot="16200000" flipV="1">
            <a:off x="6049127" y="691564"/>
            <a:ext cx="2372883" cy="9959989"/>
          </a:xfrm>
          <a:prstGeom prst="rect">
            <a:avLst/>
          </a:prstGeom>
          <a:gradFill>
            <a:gsLst>
              <a:gs pos="0">
                <a:schemeClr val="accent1">
                  <a:lumMod val="50000"/>
                </a:schemeClr>
              </a:gs>
              <a:gs pos="48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5" name="Rectangle 24">
            <a:extLst>
              <a:ext uri="{FF2B5EF4-FFF2-40B4-BE49-F238E27FC236}">
                <a16:creationId xmlns:a16="http://schemas.microsoft.com/office/drawing/2014/main" id="{791E6081-CD96-1A6A-C20C-91E0C2B799AF}"/>
              </a:ext>
            </a:extLst>
          </p:cNvPr>
          <p:cNvSpPr/>
          <p:nvPr userDrawn="1"/>
        </p:nvSpPr>
        <p:spPr>
          <a:xfrm>
            <a:off x="48000" y="0"/>
            <a:ext cx="12192000" cy="6858000"/>
          </a:xfrm>
          <a:prstGeom prst="rect">
            <a:avLst/>
          </a:prstGeom>
          <a:gradFill>
            <a:gsLst>
              <a:gs pos="0">
                <a:schemeClr val="accent1">
                  <a:lumMod val="50000"/>
                </a:schemeClr>
              </a:gs>
              <a:gs pos="40000">
                <a:schemeClr val="accent1">
                  <a:lumMod val="50000"/>
                </a:schemeClr>
              </a:gs>
              <a:gs pos="100000">
                <a:schemeClr val="accent1">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4" name="Title 1"/>
          <p:cNvSpPr>
            <a:spLocks noGrp="1"/>
          </p:cNvSpPr>
          <p:nvPr userDrawn="1">
            <p:ph type="title" hasCustomPrompt="1"/>
          </p:nvPr>
        </p:nvSpPr>
        <p:spPr>
          <a:xfrm>
            <a:off x="480000" y="384000"/>
            <a:ext cx="11328000" cy="936000"/>
          </a:xfrm>
        </p:spPr>
        <p:txBody>
          <a:bodyPr/>
          <a:lstStyle>
            <a:lvl1pPr>
              <a:defRPr cap="none" baseline="0">
                <a:solidFill>
                  <a:schemeClr val="bg1"/>
                </a:solidFill>
              </a:defRPr>
            </a:lvl1pPr>
          </a:lstStyle>
          <a:p>
            <a:r>
              <a:rPr lang="en-US"/>
              <a:t>Enter slide title</a:t>
            </a:r>
            <a:br>
              <a:rPr lang="en-US"/>
            </a:br>
            <a:r>
              <a:rPr lang="en-US"/>
              <a:t>(27 pt, bold, max. 2 lines)</a:t>
            </a:r>
          </a:p>
        </p:txBody>
      </p:sp>
      <p:sp>
        <p:nvSpPr>
          <p:cNvPr id="8" name="Date Placeholder 3">
            <a:extLst>
              <a:ext uri="{FF2B5EF4-FFF2-40B4-BE49-F238E27FC236}">
                <a16:creationId xmlns:a16="http://schemas.microsoft.com/office/drawing/2014/main" id="{EABC69D2-C634-0218-3B9A-4086FF1759CC}"/>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r>
              <a:rPr lang="en-US"/>
              <a:t>9/25/2025</a:t>
            </a:r>
          </a:p>
        </p:txBody>
      </p:sp>
      <p:sp>
        <p:nvSpPr>
          <p:cNvPr id="11" name="Footer Placeholder 4">
            <a:extLst>
              <a:ext uri="{FF2B5EF4-FFF2-40B4-BE49-F238E27FC236}">
                <a16:creationId xmlns:a16="http://schemas.microsoft.com/office/drawing/2014/main" id="{9710A7DA-59F7-D69E-DA4E-C43A9428703F}"/>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a:t>5G Broadcast Conference</a:t>
            </a:r>
            <a:endParaRPr lang="en-US" dirty="0"/>
          </a:p>
        </p:txBody>
      </p:sp>
      <p:sp>
        <p:nvSpPr>
          <p:cNvPr id="12" name="Slide Number Placeholder 5">
            <a:extLst>
              <a:ext uri="{FF2B5EF4-FFF2-40B4-BE49-F238E27FC236}">
                <a16:creationId xmlns:a16="http://schemas.microsoft.com/office/drawing/2014/main" id="{C3FAF42A-2651-E377-AED8-5BD7B6829A62}"/>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20" name="Grafik 19" descr="Ein Bild, das Text, Schrift, Screenshot, Logo enthält.&#10;&#10;KI-generierte Inhalte können fehlerhaft sein.">
            <a:extLst>
              <a:ext uri="{FF2B5EF4-FFF2-40B4-BE49-F238E27FC236}">
                <a16:creationId xmlns:a16="http://schemas.microsoft.com/office/drawing/2014/main" id="{34A48186-59B5-20CA-C8CD-566666358D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23729939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354830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accent1">
            <a:lumMod val="50000"/>
          </a:schemeClr>
        </a:solidFill>
        <a:effectLst/>
      </p:bgPr>
    </p:bg>
    <p:spTree>
      <p:nvGrpSpPr>
        <p:cNvPr id="1" name=""/>
        <p:cNvGrpSpPr/>
        <p:nvPr/>
      </p:nvGrpSpPr>
      <p:grpSpPr>
        <a:xfrm>
          <a:off x="0" y="0"/>
          <a:ext cx="0" cy="0"/>
          <a:chOff x="0" y="0"/>
          <a:chExt cx="0" cy="0"/>
        </a:xfrm>
      </p:grpSpPr>
      <p:pic>
        <p:nvPicPr>
          <p:cNvPr id="11" name="Picture 10" descr="A person touching her hand&#10;&#10;Description automatically generated">
            <a:extLst>
              <a:ext uri="{FF2B5EF4-FFF2-40B4-BE49-F238E27FC236}">
                <a16:creationId xmlns:a16="http://schemas.microsoft.com/office/drawing/2014/main" id="{5CB38ADC-78CD-8231-0D6A-F15E5AEED22E}"/>
              </a:ext>
            </a:extLst>
          </p:cNvPr>
          <p:cNvPicPr>
            <a:picLocks noChangeAspect="1"/>
          </p:cNvPicPr>
          <p:nvPr userDrawn="1"/>
        </p:nvPicPr>
        <p:blipFill>
          <a:blip r:embed="rId2">
            <a:extLst>
              <a:ext uri="{28A0092B-C50C-407E-A947-70E740481C1C}">
                <a14:useLocalDpi xmlns:a14="http://schemas.microsoft.com/office/drawing/2010/main" val="0"/>
              </a:ext>
            </a:extLst>
          </a:blip>
          <a:srcRect r="24176"/>
          <a:stretch/>
        </p:blipFill>
        <p:spPr>
          <a:xfrm>
            <a:off x="2966859" y="1692716"/>
            <a:ext cx="9244452" cy="4573613"/>
          </a:xfrm>
          <a:prstGeom prst="rect">
            <a:avLst/>
          </a:prstGeom>
        </p:spPr>
      </p:pic>
      <p:sp>
        <p:nvSpPr>
          <p:cNvPr id="14" name="Rectangle 13">
            <a:extLst>
              <a:ext uri="{FF2B5EF4-FFF2-40B4-BE49-F238E27FC236}">
                <a16:creationId xmlns:a16="http://schemas.microsoft.com/office/drawing/2014/main" id="{6FDC5F58-6655-4505-BE7F-944D68933E23}"/>
              </a:ext>
            </a:extLst>
          </p:cNvPr>
          <p:cNvSpPr/>
          <p:nvPr userDrawn="1"/>
        </p:nvSpPr>
        <p:spPr>
          <a:xfrm flipH="1">
            <a:off x="2947547" y="1692717"/>
            <a:ext cx="9244453" cy="4802913"/>
          </a:xfrm>
          <a:prstGeom prst="rect">
            <a:avLst/>
          </a:prstGeom>
          <a:gradFill>
            <a:gsLst>
              <a:gs pos="0">
                <a:schemeClr val="accent1">
                  <a:lumMod val="75000"/>
                  <a:alpha val="0"/>
                </a:schemeClr>
              </a:gs>
              <a:gs pos="26000">
                <a:schemeClr val="accent1">
                  <a:lumMod val="50000"/>
                  <a:alpha val="42000"/>
                </a:schemeClr>
              </a:gs>
              <a:gs pos="100000">
                <a:schemeClr val="accent1">
                  <a:lumMod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7" name="Rectangle 6">
            <a:extLst>
              <a:ext uri="{FF2B5EF4-FFF2-40B4-BE49-F238E27FC236}">
                <a16:creationId xmlns:a16="http://schemas.microsoft.com/office/drawing/2014/main" id="{80B40CB4-87BF-B38B-0C2C-2708BCABADE9}"/>
              </a:ext>
            </a:extLst>
          </p:cNvPr>
          <p:cNvSpPr/>
          <p:nvPr userDrawn="1"/>
        </p:nvSpPr>
        <p:spPr>
          <a:xfrm rot="5400000" flipH="1">
            <a:off x="6955707" y="-2529171"/>
            <a:ext cx="2562964" cy="7909621"/>
          </a:xfrm>
          <a:prstGeom prst="rect">
            <a:avLst/>
          </a:prstGeom>
          <a:gradFill>
            <a:gsLst>
              <a:gs pos="0">
                <a:schemeClr val="accent1">
                  <a:lumMod val="75000"/>
                  <a:alpha val="0"/>
                </a:schemeClr>
              </a:gs>
              <a:gs pos="37000">
                <a:schemeClr val="accent1">
                  <a:lumMod val="50000"/>
                  <a:alpha val="28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8" name="Rectangle 7">
            <a:extLst>
              <a:ext uri="{FF2B5EF4-FFF2-40B4-BE49-F238E27FC236}">
                <a16:creationId xmlns:a16="http://schemas.microsoft.com/office/drawing/2014/main" id="{B83C32FB-FB22-D3EF-6A9F-5D49CF16FB94}"/>
              </a:ext>
            </a:extLst>
          </p:cNvPr>
          <p:cNvSpPr/>
          <p:nvPr userDrawn="1"/>
        </p:nvSpPr>
        <p:spPr>
          <a:xfrm rot="16200000" flipH="1" flipV="1">
            <a:off x="6589821" y="664151"/>
            <a:ext cx="1555963" cy="964839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Enter slide title</a:t>
            </a:r>
            <a:br>
              <a:rPr lang="en-US" dirty="0"/>
            </a:br>
            <a:r>
              <a:rPr lang="en-US" dirty="0"/>
              <a:t>(27 pt, bold, max. 2 lines)</a:t>
            </a:r>
          </a:p>
        </p:txBody>
      </p:sp>
      <p:sp>
        <p:nvSpPr>
          <p:cNvPr id="13" name="Rectangle 12">
            <a:extLst>
              <a:ext uri="{FF2B5EF4-FFF2-40B4-BE49-F238E27FC236}">
                <a16:creationId xmlns:a16="http://schemas.microsoft.com/office/drawing/2014/main" id="{AEEF14EA-8A78-0B35-A0FB-22F83670CB4E}"/>
              </a:ext>
            </a:extLst>
          </p:cNvPr>
          <p:cNvSpPr/>
          <p:nvPr userDrawn="1"/>
        </p:nvSpPr>
        <p:spPr>
          <a:xfrm rot="5400000" flipH="1">
            <a:off x="6506631" y="-2426106"/>
            <a:ext cx="1555963" cy="9814775"/>
          </a:xfrm>
          <a:prstGeom prst="rect">
            <a:avLst/>
          </a:prstGeom>
          <a:gradFill>
            <a:gsLst>
              <a:gs pos="0">
                <a:schemeClr val="accent1">
                  <a:lumMod val="75000"/>
                  <a:alpha val="0"/>
                </a:schemeClr>
              </a:gs>
              <a:gs pos="77000">
                <a:schemeClr val="accent1">
                  <a:lumMod val="50000"/>
                  <a:alpha val="67000"/>
                </a:schemeClr>
              </a:gs>
              <a:gs pos="100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dirty="0" err="1"/>
          </a:p>
        </p:txBody>
      </p:sp>
      <p:sp>
        <p:nvSpPr>
          <p:cNvPr id="17" name="Date Placeholder 3">
            <a:extLst>
              <a:ext uri="{FF2B5EF4-FFF2-40B4-BE49-F238E27FC236}">
                <a16:creationId xmlns:a16="http://schemas.microsoft.com/office/drawing/2014/main" id="{80DB8B35-30DC-B03C-4756-5042BFB73D24}"/>
              </a:ext>
            </a:extLst>
          </p:cNvPr>
          <p:cNvSpPr>
            <a:spLocks noGrp="1"/>
          </p:cNvSpPr>
          <p:nvPr>
            <p:ph type="dt" sz="half" idx="10"/>
          </p:nvPr>
        </p:nvSpPr>
        <p:spPr>
          <a:xfrm>
            <a:off x="2712000" y="6480000"/>
            <a:ext cx="1101333" cy="180000"/>
          </a:xfrm>
          <a:prstGeom prst="rect">
            <a:avLst/>
          </a:prstGeom>
        </p:spPr>
        <p:txBody>
          <a:bodyPr vert="horz" wrap="none" lIns="0" tIns="0" rIns="0" bIns="0" rtlCol="0" anchor="t" anchorCtr="0"/>
          <a:lstStyle>
            <a:lvl1pPr>
              <a:defRPr lang="en-US" sz="1333" smtClean="0">
                <a:solidFill>
                  <a:schemeClr val="bg1">
                    <a:lumMod val="85000"/>
                  </a:schemeClr>
                </a:solidFill>
              </a:defRPr>
            </a:lvl1pPr>
          </a:lstStyle>
          <a:p>
            <a:pPr algn="ctr"/>
            <a:r>
              <a:rPr lang="en-US"/>
              <a:t>9/25/2025</a:t>
            </a:r>
          </a:p>
        </p:txBody>
      </p:sp>
      <p:sp>
        <p:nvSpPr>
          <p:cNvPr id="18" name="Footer Placeholder 4">
            <a:extLst>
              <a:ext uri="{FF2B5EF4-FFF2-40B4-BE49-F238E27FC236}">
                <a16:creationId xmlns:a16="http://schemas.microsoft.com/office/drawing/2014/main" id="{B1856460-AF84-3F96-B92C-66FD3EAE44AE}"/>
              </a:ext>
            </a:extLst>
          </p:cNvPr>
          <p:cNvSpPr>
            <a:spLocks noGrp="1"/>
          </p:cNvSpPr>
          <p:nvPr>
            <p:ph type="ftr" sz="quarter" idx="11"/>
          </p:nvPr>
        </p:nvSpPr>
        <p:spPr>
          <a:xfrm>
            <a:off x="3816000" y="6480000"/>
            <a:ext cx="3936000" cy="180000"/>
          </a:xfrm>
          <a:prstGeom prst="rect">
            <a:avLst/>
          </a:prstGeom>
        </p:spPr>
        <p:txBody>
          <a:bodyPr vert="horz" wrap="none" lIns="0" tIns="0" rIns="0" bIns="0" rtlCol="0" anchor="t" anchorCtr="0"/>
          <a:lstStyle>
            <a:lvl1pPr algn="l">
              <a:defRPr sz="1333">
                <a:solidFill>
                  <a:schemeClr val="bg1">
                    <a:lumMod val="85000"/>
                  </a:schemeClr>
                </a:solidFill>
              </a:defRPr>
            </a:lvl1pPr>
          </a:lstStyle>
          <a:p>
            <a:r>
              <a:rPr lang="en-US"/>
              <a:t>5G Broadcast Conference</a:t>
            </a:r>
            <a:endParaRPr lang="en-US" dirty="0"/>
          </a:p>
        </p:txBody>
      </p:sp>
      <p:sp>
        <p:nvSpPr>
          <p:cNvPr id="19" name="Slide Number Placeholder 5">
            <a:extLst>
              <a:ext uri="{FF2B5EF4-FFF2-40B4-BE49-F238E27FC236}">
                <a16:creationId xmlns:a16="http://schemas.microsoft.com/office/drawing/2014/main" id="{FBF19613-4281-F490-2A90-CFCB3524FDEC}"/>
              </a:ext>
            </a:extLst>
          </p:cNvPr>
          <p:cNvSpPr>
            <a:spLocks noGrp="1"/>
          </p:cNvSpPr>
          <p:nvPr>
            <p:ph type="sldNum" sz="quarter" idx="12"/>
          </p:nvPr>
        </p:nvSpPr>
        <p:spPr>
          <a:xfrm>
            <a:off x="2063552" y="6480000"/>
            <a:ext cx="336000" cy="180000"/>
          </a:xfrm>
          <a:prstGeom prst="rect">
            <a:avLst/>
          </a:prstGeom>
        </p:spPr>
        <p:txBody>
          <a:bodyPr vert="horz" wrap="none" lIns="0" tIns="0" rIns="0" bIns="0" rtlCol="0" anchor="t" anchorCtr="0"/>
          <a:lstStyle>
            <a:lvl1pPr algn="l">
              <a:defRPr lang="en-US" sz="1333" smtClean="0">
                <a:solidFill>
                  <a:schemeClr val="bg1">
                    <a:lumMod val="85000"/>
                  </a:schemeClr>
                </a:solidFill>
              </a:defRPr>
            </a:lvl1pPr>
          </a:lstStyle>
          <a:p>
            <a:fld id="{57CB76AC-E5DF-427C-ABDC-2F4FBD8E4B69}" type="slidenum">
              <a:rPr lang="en-US" smtClean="0"/>
              <a:pPr/>
              <a:t>‹#›</a:t>
            </a:fld>
            <a:endParaRPr lang="en-US" dirty="0"/>
          </a:p>
        </p:txBody>
      </p:sp>
      <p:pic>
        <p:nvPicPr>
          <p:cNvPr id="24" name="Grafik 23" descr="Ein Bild, das Text, Schrift, Screenshot, Logo enthält.&#10;&#10;KI-generierte Inhalte können fehlerhaft sein.">
            <a:extLst>
              <a:ext uri="{FF2B5EF4-FFF2-40B4-BE49-F238E27FC236}">
                <a16:creationId xmlns:a16="http://schemas.microsoft.com/office/drawing/2014/main" id="{1958ADFA-83DE-5EAF-DF12-23FBC1C8281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1085" y="30904"/>
            <a:ext cx="1500915" cy="680929"/>
          </a:xfrm>
          <a:prstGeom prst="rect">
            <a:avLst/>
          </a:prstGeom>
        </p:spPr>
      </p:pic>
    </p:spTree>
    <p:extLst>
      <p:ext uri="{BB962C8B-B14F-4D97-AF65-F5344CB8AC3E}">
        <p14:creationId xmlns:p14="http://schemas.microsoft.com/office/powerpoint/2010/main" val="460430420"/>
      </p:ext>
    </p:extLst>
  </p:cSld>
  <p:clrMapOvr>
    <a:masterClrMapping/>
  </p:clrMapOvr>
  <p:extLst>
    <p:ext uri="{DCECCB84-F9BA-43D5-87BE-67443E8EF086}">
      <p15:sldGuideLst xmlns:p15="http://schemas.microsoft.com/office/powerpoint/2012/main">
        <p15:guide id="1" pos="590">
          <p15:clr>
            <a:srgbClr val="A4A3A4"/>
          </p15:clr>
        </p15:guide>
        <p15:guide id="2" pos="680">
          <p15:clr>
            <a:srgbClr val="A4A3A4"/>
          </p15:clr>
        </p15:guide>
        <p15:guide id="3" pos="1043">
          <p15:clr>
            <a:srgbClr val="A4A3A4"/>
          </p15:clr>
        </p15:guide>
        <p15:guide id="4" pos="1134">
          <p15:clr>
            <a:srgbClr val="A4A3A4"/>
          </p15:clr>
        </p15:guide>
        <p15:guide id="5" pos="1497">
          <p15:clr>
            <a:srgbClr val="A4A3A4"/>
          </p15:clr>
        </p15:guide>
        <p15:guide id="6" pos="1587">
          <p15:clr>
            <a:srgbClr val="A4A3A4"/>
          </p15:clr>
        </p15:guide>
        <p15:guide id="7" pos="1950">
          <p15:clr>
            <a:srgbClr val="A4A3A4"/>
          </p15:clr>
        </p15:guide>
        <p15:guide id="8" pos="2041">
          <p15:clr>
            <a:srgbClr val="A4A3A4"/>
          </p15:clr>
        </p15:guide>
        <p15:guide id="9" pos="2404">
          <p15:clr>
            <a:srgbClr val="A4A3A4"/>
          </p15:clr>
        </p15:guide>
        <p15:guide id="10" pos="2494">
          <p15:clr>
            <a:srgbClr val="A4A3A4"/>
          </p15:clr>
        </p15:guide>
        <p15:guide id="11" pos="2857">
          <p15:clr>
            <a:srgbClr val="A4A3A4"/>
          </p15:clr>
        </p15:guide>
        <p15:guide id="12" pos="2948">
          <p15:clr>
            <a:srgbClr val="A4A3A4"/>
          </p15:clr>
        </p15:guide>
        <p15:guide id="13" pos="3311">
          <p15:clr>
            <a:srgbClr val="A4A3A4"/>
          </p15:clr>
        </p15:guide>
        <p15:guide id="14" pos="3402">
          <p15:clr>
            <a:srgbClr val="A4A3A4"/>
          </p15:clr>
        </p15:guide>
        <p15:guide id="15" pos="3764">
          <p15:clr>
            <a:srgbClr val="A4A3A4"/>
          </p15:clr>
        </p15:guide>
        <p15:guide id="16" pos="3855">
          <p15:clr>
            <a:srgbClr val="A4A3A4"/>
          </p15:clr>
        </p15:guide>
        <p15:guide id="17" pos="4218">
          <p15:clr>
            <a:srgbClr val="A4A3A4"/>
          </p15:clr>
        </p15:guide>
        <p15:guide id="18" pos="4309">
          <p15:clr>
            <a:srgbClr val="A4A3A4"/>
          </p15:clr>
        </p15:guide>
        <p15:guide id="19" pos="4671">
          <p15:clr>
            <a:srgbClr val="A4A3A4"/>
          </p15:clr>
        </p15:guide>
        <p15:guide id="20" pos="4762">
          <p15:clr>
            <a:srgbClr val="A4A3A4"/>
          </p15:clr>
        </p15:guide>
        <p15:guide id="21" pos="5125">
          <p15:clr>
            <a:srgbClr val="A4A3A4"/>
          </p15:clr>
        </p15:guide>
        <p15:guide id="22" pos="5216">
          <p15:clr>
            <a:srgbClr val="A4A3A4"/>
          </p15:clr>
        </p15:guide>
        <p15:guide id="23" orient="horz" pos="1803">
          <p15:clr>
            <a:srgbClr val="A4A3A4"/>
          </p15:clr>
        </p15:guide>
        <p15:guide id="24" orient="horz" pos="1846">
          <p15:clr>
            <a:srgbClr val="A4A3A4"/>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4_Diapositiva de título">
    <p:bg>
      <p:bgPr>
        <a:solidFill>
          <a:schemeClr val="tx1"/>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FC886FB5-3F62-AF3E-CF77-EE0BB88C43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sp>
        <p:nvSpPr>
          <p:cNvPr id="15" name="Title 1">
            <a:extLst>
              <a:ext uri="{FF2B5EF4-FFF2-40B4-BE49-F238E27FC236}">
                <a16:creationId xmlns:a16="http://schemas.microsoft.com/office/drawing/2014/main" id="{AAAA35E2-1B92-4BF0-B325-C2D1C4013A1A}"/>
              </a:ext>
            </a:extLst>
          </p:cNvPr>
          <p:cNvSpPr>
            <a:spLocks noGrp="1"/>
          </p:cNvSpPr>
          <p:nvPr>
            <p:ph type="ctrTitle"/>
          </p:nvPr>
        </p:nvSpPr>
        <p:spPr>
          <a:xfrm>
            <a:off x="2300050" y="2294275"/>
            <a:ext cx="9252087" cy="1556428"/>
          </a:xfrm>
          <a:prstGeom prst="rect">
            <a:avLst/>
          </a:prstGeom>
        </p:spPr>
        <p:txBody>
          <a:bodyPr anchor="ctr">
            <a:no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endParaRPr lang="en-US" dirty="0"/>
          </a:p>
        </p:txBody>
      </p:sp>
      <p:sp>
        <p:nvSpPr>
          <p:cNvPr id="16" name="Subtitle 2">
            <a:extLst>
              <a:ext uri="{FF2B5EF4-FFF2-40B4-BE49-F238E27FC236}">
                <a16:creationId xmlns:a16="http://schemas.microsoft.com/office/drawing/2014/main" id="{DEF463B7-3146-4747-A098-9AB64A25DF89}"/>
              </a:ext>
            </a:extLst>
          </p:cNvPr>
          <p:cNvSpPr>
            <a:spLocks noGrp="1"/>
          </p:cNvSpPr>
          <p:nvPr>
            <p:ph type="subTitle" idx="1" hasCustomPrompt="1"/>
          </p:nvPr>
        </p:nvSpPr>
        <p:spPr>
          <a:xfrm>
            <a:off x="912620" y="5635681"/>
            <a:ext cx="10639515" cy="758283"/>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19" name="Text Placeholder 2">
            <a:extLst>
              <a:ext uri="{FF2B5EF4-FFF2-40B4-BE49-F238E27FC236}">
                <a16:creationId xmlns:a16="http://schemas.microsoft.com/office/drawing/2014/main" id="{46ADD08E-91C1-479E-9393-3B8F57030356}"/>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9" name="Text Placeholder 2">
            <a:extLst>
              <a:ext uri="{FF2B5EF4-FFF2-40B4-BE49-F238E27FC236}">
                <a16:creationId xmlns:a16="http://schemas.microsoft.com/office/drawing/2014/main" id="{0ED3113B-4878-4994-ADF6-5866D0986ABB}"/>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err="1"/>
              <a:t>Afiliation</a:t>
            </a:r>
            <a:endParaRPr lang="es-ES"/>
          </a:p>
        </p:txBody>
      </p:sp>
      <p:sp>
        <p:nvSpPr>
          <p:cNvPr id="2" name="TextBox 26">
            <a:extLst>
              <a:ext uri="{FF2B5EF4-FFF2-40B4-BE49-F238E27FC236}">
                <a16:creationId xmlns:a16="http://schemas.microsoft.com/office/drawing/2014/main" id="{D2361DBE-3C97-55AD-BFA6-03096C23B0AE}"/>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pic>
        <p:nvPicPr>
          <p:cNvPr id="3" name="Graphic 2">
            <a:extLst>
              <a:ext uri="{FF2B5EF4-FFF2-40B4-BE49-F238E27FC236}">
                <a16:creationId xmlns:a16="http://schemas.microsoft.com/office/drawing/2014/main" id="{F72696F9-D345-2E7B-BF98-F825321D30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1029871555"/>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2"/>
            <a:ext cx="11938299" cy="550025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p:nvPr>
        </p:nvSpPr>
        <p:spPr>
          <a:xfrm>
            <a:off x="129640" y="10896"/>
            <a:ext cx="11938299" cy="720001"/>
          </a:xfrm>
          <a:prstGeom prst="rect">
            <a:avLst/>
          </a:prstGeom>
        </p:spPr>
        <p:txBody>
          <a:bodyPr tIns="72000" bIns="0" anchor="ctr"/>
          <a:lstStyle>
            <a:lvl1pPr algn="l">
              <a:lnSpc>
                <a:spcPct val="100000"/>
              </a:lnSpc>
              <a:defRPr sz="3733">
                <a:solidFill>
                  <a:schemeClr val="tx1"/>
                </a:solidFill>
                <a:latin typeface="Poppins SemiBold" panose="02000000000000000000" pitchFamily="2" charset="0"/>
                <a:cs typeface="Poppins SemiBold" panose="02000000000000000000" pitchFamily="2" charset="0"/>
              </a:defRPr>
            </a:lvl1pPr>
          </a:lstStyle>
          <a:p>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1689908859"/>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D5DB4293-188F-3D28-5389-4376CC9A6CCD}"/>
              </a:ext>
            </a:extLst>
          </p:cNvPr>
          <p:cNvSpPr/>
          <p:nvPr userDrawn="1"/>
        </p:nvSpPr>
        <p:spPr>
          <a:xfrm>
            <a:off x="-5035" y="-1"/>
            <a:ext cx="12197036"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3" noProof="0" dirty="0">
              <a:latin typeface="Poppins" panose="00000500000000000000" pitchFamily="2" charset="0"/>
            </a:endParaRPr>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chemeClr val="bg1"/>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chemeClr val="bg1"/>
                </a:solidFill>
                <a:latin typeface="Poppins" panose="00000500000000000000" pitchFamily="2" charset="0"/>
                <a:ea typeface="+mn-ea"/>
                <a:cs typeface="Poppins" panose="00000500000000000000" pitchFamily="2" charset="0"/>
              </a:defRPr>
            </a:lvl1pPr>
          </a:lstStyle>
          <a:p>
            <a:pPr>
              <a:defRPr/>
            </a:pPr>
            <a:r>
              <a:rPr lang="nl-NL"/>
              <a:t>5G-MAG © 2025</a:t>
            </a:r>
            <a:endParaRPr lang="nl-NL" dirty="0"/>
          </a:p>
        </p:txBody>
      </p:sp>
    </p:spTree>
    <p:extLst>
      <p:ext uri="{BB962C8B-B14F-4D97-AF65-F5344CB8AC3E}">
        <p14:creationId xmlns:p14="http://schemas.microsoft.com/office/powerpoint/2010/main" val="1404315061"/>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129640" y="864683"/>
            <a:ext cx="11938299" cy="5339269"/>
          </a:xfrm>
          <a:prstGeom prst="rect">
            <a:avLst/>
          </a:prstGeom>
        </p:spPr>
        <p:txBody>
          <a:bodyPr>
            <a:noAutofit/>
          </a:bodyPr>
          <a:lstStyle>
            <a:lvl1pPr marL="342891" indent="-342891">
              <a:lnSpc>
                <a:spcPct val="100000"/>
              </a:lnSpc>
              <a:spcBef>
                <a:spcPts val="0"/>
              </a:spcBef>
              <a:spcAft>
                <a:spcPts val="0"/>
              </a:spcAft>
              <a:buClr>
                <a:srgbClr val="00A0D2"/>
              </a:buClr>
              <a:buFont typeface="Wingdings" panose="05000000000000000000" pitchFamily="2" charset="2"/>
              <a:buChar char="§"/>
              <a:defRPr sz="2667">
                <a:solidFill>
                  <a:srgbClr val="2B6CA3"/>
                </a:solidFill>
                <a:latin typeface="Poppins" panose="00000500000000000000" pitchFamily="2" charset="0"/>
                <a:cs typeface="Poppins" panose="00000500000000000000" pitchFamily="2" charset="0"/>
              </a:defRPr>
            </a:lvl1pPr>
            <a:lvl2pPr marL="685783" indent="-182875">
              <a:lnSpc>
                <a:spcPct val="100000"/>
              </a:lnSpc>
              <a:spcBef>
                <a:spcPts val="0"/>
              </a:spcBef>
              <a:spcAft>
                <a:spcPts val="0"/>
              </a:spcAft>
              <a:buClr>
                <a:srgbClr val="00A0D2"/>
              </a:buClr>
              <a:buFont typeface="Wingdings" panose="05000000000000000000" pitchFamily="2" charset="2"/>
              <a:buChar char="§"/>
              <a:defRPr sz="2400">
                <a:solidFill>
                  <a:srgbClr val="2B6CA3"/>
                </a:solidFill>
                <a:latin typeface="Poppins" panose="00000500000000000000" pitchFamily="2" charset="0"/>
                <a:cs typeface="Poppins" panose="00000500000000000000" pitchFamily="2" charset="0"/>
              </a:defRPr>
            </a:lvl2pPr>
            <a:lvl3pPr marL="1142971" indent="-182875">
              <a:lnSpc>
                <a:spcPct val="100000"/>
              </a:lnSpc>
              <a:spcBef>
                <a:spcPts val="0"/>
              </a:spcBef>
              <a:spcAft>
                <a:spcPts val="0"/>
              </a:spcAft>
              <a:buClr>
                <a:srgbClr val="00A0D2"/>
              </a:buClr>
              <a:buFont typeface="Wingdings" panose="05000000000000000000" pitchFamily="2" charset="2"/>
              <a:buChar char="§"/>
              <a:defRPr sz="2133">
                <a:solidFill>
                  <a:srgbClr val="2B6CA3"/>
                </a:solidFill>
                <a:latin typeface="Poppins" panose="00000500000000000000" pitchFamily="2" charset="0"/>
                <a:cs typeface="Poppins" panose="00000500000000000000" pitchFamily="2" charset="0"/>
              </a:defRPr>
            </a:lvl3pPr>
            <a:lvl4pPr marL="1600160" indent="-182875">
              <a:lnSpc>
                <a:spcPct val="100000"/>
              </a:lnSpc>
              <a:spcBef>
                <a:spcPts val="0"/>
              </a:spcBef>
              <a:spcAft>
                <a:spcPts val="0"/>
              </a:spcAft>
              <a:buClr>
                <a:srgbClr val="00A0D2"/>
              </a:buClr>
              <a:buFont typeface="Wingdings" panose="05000000000000000000" pitchFamily="2" charset="2"/>
              <a:buChar char="§"/>
              <a:defRPr sz="1867">
                <a:solidFill>
                  <a:srgbClr val="2B6CA3"/>
                </a:solidFill>
                <a:latin typeface="Poppins" panose="00000500000000000000" pitchFamily="2" charset="0"/>
                <a:cs typeface="Poppins" panose="00000500000000000000" pitchFamily="2" charset="0"/>
              </a:defRPr>
            </a:lvl4pPr>
            <a:lvl5pPr marL="2057349" indent="-182875">
              <a:lnSpc>
                <a:spcPct val="100000"/>
              </a:lnSpc>
              <a:spcBef>
                <a:spcPts val="0"/>
              </a:spcBef>
              <a:spcAft>
                <a:spcPts val="0"/>
              </a:spcAft>
              <a:buClr>
                <a:srgbClr val="00A0D2"/>
              </a:buClr>
              <a:buFont typeface="Wingdings" panose="05000000000000000000" pitchFamily="2" charset="2"/>
              <a:buChar char="§"/>
              <a:defRPr sz="1600">
                <a:solidFill>
                  <a:srgbClr val="2B6CA3"/>
                </a:solidFill>
                <a:latin typeface="Poppins" panose="00000500000000000000" pitchFamily="2" charset="0"/>
                <a:cs typeface="Poppins" panose="00000500000000000000" pitchFamily="2"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Título 6">
            <a:extLst>
              <a:ext uri="{FF2B5EF4-FFF2-40B4-BE49-F238E27FC236}">
                <a16:creationId xmlns:a16="http://schemas.microsoft.com/office/drawing/2014/main" id="{BCBB4516-8298-41C2-999F-B6E0453EBB2D}"/>
              </a:ext>
            </a:extLst>
          </p:cNvPr>
          <p:cNvSpPr>
            <a:spLocks noGrp="1"/>
          </p:cNvSpPr>
          <p:nvPr>
            <p:ph type="title" hasCustomPrompt="1"/>
          </p:nvPr>
        </p:nvSpPr>
        <p:spPr>
          <a:xfrm>
            <a:off x="740890" y="10896"/>
            <a:ext cx="11327049" cy="720001"/>
          </a:xfrm>
          <a:prstGeom prst="rect">
            <a:avLst/>
          </a:prstGeom>
        </p:spPr>
        <p:txBody>
          <a:bodyPr anchor="t"/>
          <a:lstStyle>
            <a:lvl1pPr>
              <a:defRPr lang="en-GB" sz="2667" b="0" dirty="0">
                <a:solidFill>
                  <a:schemeClr val="tx1"/>
                </a:solidFill>
                <a:latin typeface="+mj-lt"/>
                <a:cs typeface="Poppins SemiBold" panose="00000700000000000000" pitchFamily="2" charset="0"/>
              </a:defRPr>
            </a:lvl1pPr>
          </a:lstStyle>
          <a:p>
            <a:pPr marL="0" lvl="0" defTabSz="609570"/>
            <a:r>
              <a:rPr lang="en-GB" dirty="0" err="1"/>
              <a:t>Titulo</a:t>
            </a:r>
            <a:br>
              <a:rPr lang="en-GB" dirty="0"/>
            </a:br>
            <a:r>
              <a:rPr lang="en-GB" dirty="0" err="1"/>
              <a:t>Subtitulo</a:t>
            </a:r>
            <a:endParaRPr lang="en-GB" dirty="0"/>
          </a:p>
        </p:txBody>
      </p:sp>
      <p:sp>
        <p:nvSpPr>
          <p:cNvPr id="17"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2" name="Date Placeholder 3">
            <a:extLst>
              <a:ext uri="{FF2B5EF4-FFF2-40B4-BE49-F238E27FC236}">
                <a16:creationId xmlns:a16="http://schemas.microsoft.com/office/drawing/2014/main" id="{87470354-438A-EC18-FDD0-C328F01EEC71}"/>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2384930897"/>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11" name="Título 6">
            <a:extLst>
              <a:ext uri="{FF2B5EF4-FFF2-40B4-BE49-F238E27FC236}">
                <a16:creationId xmlns:a16="http://schemas.microsoft.com/office/drawing/2014/main" id="{B5582EA2-CA9B-A5C2-29C0-75B2206BAA4B}"/>
              </a:ext>
            </a:extLst>
          </p:cNvPr>
          <p:cNvSpPr txBox="1">
            <a:spLocks noChangeAspect="1"/>
          </p:cNvSpPr>
          <p:nvPr userDrawn="1"/>
        </p:nvSpPr>
        <p:spPr>
          <a:xfrm>
            <a:off x="912619" y="4120020"/>
            <a:ext cx="10639516" cy="731069"/>
          </a:xfrm>
          <a:prstGeom prst="rect">
            <a:avLst/>
          </a:prstGeom>
        </p:spPr>
        <p:txBody>
          <a:bodyPr wrap="none" numCol="2" anchor="t"/>
          <a:lstStyle>
            <a:lvl1pPr algn="ctr" defTabSz="685800" rtl="0" eaLnBrk="1" latinLnBrk="0" hangingPunct="1">
              <a:lnSpc>
                <a:spcPct val="90000"/>
              </a:lnSpc>
              <a:spcBef>
                <a:spcPct val="0"/>
              </a:spcBef>
              <a:buNone/>
              <a:defRPr sz="2800" b="1" kern="1200" spc="-45" baseline="0">
                <a:solidFill>
                  <a:schemeClr val="bg1"/>
                </a:solidFill>
                <a:latin typeface="+mj-lt"/>
                <a:ea typeface="+mj-ea"/>
                <a:cs typeface="+mj-cs"/>
              </a:defRPr>
            </a:lvl1pPr>
          </a:lstStyle>
          <a:p>
            <a:pPr>
              <a:lnSpc>
                <a:spcPct val="100000"/>
              </a:lnSpc>
              <a:spcBef>
                <a:spcPts val="0"/>
              </a:spcBef>
              <a:spcAft>
                <a:spcPts val="0"/>
              </a:spcAft>
            </a:pPr>
            <a:r>
              <a:rPr lang="es-ES" sz="2667" b="0" cap="none" baseline="0" dirty="0">
                <a:solidFill>
                  <a:schemeClr val="bg1"/>
                </a:solidFill>
                <a:latin typeface="Poppins" panose="00000500000000000000" pitchFamily="2" charset="0"/>
                <a:cs typeface="Poppins" panose="00000500000000000000" pitchFamily="2" charset="0"/>
              </a:rPr>
              <a:t>Eva Markvoort - </a:t>
            </a:r>
            <a:r>
              <a:rPr lang="es-ES" sz="2667" b="0" cap="none" baseline="0" dirty="0" err="1">
                <a:solidFill>
                  <a:schemeClr val="bg1"/>
                </a:solidFill>
                <a:latin typeface="Poppins" panose="00000500000000000000" pitchFamily="2" charset="0"/>
                <a:cs typeface="Poppins" panose="00000500000000000000" pitchFamily="2" charset="0"/>
              </a:rPr>
              <a:t>Membership</a:t>
            </a:r>
            <a:endParaRPr lang="es-ES" sz="2667" b="0" cap="none" baseline="0" dirty="0">
              <a:solidFill>
                <a:schemeClr val="bg1"/>
              </a:solidFill>
              <a:latin typeface="Poppins" panose="00000500000000000000" pitchFamily="2" charset="0"/>
              <a:cs typeface="Poppins" panose="00000500000000000000" pitchFamily="2" charset="0"/>
            </a:endParaRPr>
          </a:p>
          <a:p>
            <a:pPr>
              <a:lnSpc>
                <a:spcPct val="100000"/>
              </a:lnSpc>
              <a:spcBef>
                <a:spcPts val="0"/>
              </a:spcBef>
              <a:spcAft>
                <a:spcPts val="0"/>
              </a:spcAft>
            </a:pPr>
            <a:r>
              <a:rPr lang="es-ES" sz="2400" b="0" u="none" cap="none" baseline="0" dirty="0">
                <a:solidFill>
                  <a:schemeClr val="bg1"/>
                </a:solidFill>
                <a:latin typeface="Poppins ExtraLight" panose="00000300000000000000" pitchFamily="2" charset="0"/>
                <a:cs typeface="Poppins ExtraLight" panose="00000300000000000000" pitchFamily="2" charset="0"/>
                <a:hlinkClick r:id="rId2">
                  <a:extLst>
                    <a:ext uri="{A12FA001-AC4F-418D-AE19-62706E023703}">
                      <ahyp:hlinkClr xmlns:ahyp="http://schemas.microsoft.com/office/drawing/2018/hyperlinkcolor" val="tx"/>
                    </a:ext>
                  </a:extLst>
                </a:hlinkClick>
              </a:rPr>
              <a:t>markvoort@5g-mag.com</a:t>
            </a:r>
            <a:endParaRPr lang="es-ES" sz="2400" b="0" u="none" cap="none" baseline="0" dirty="0">
              <a:solidFill>
                <a:schemeClr val="bg1"/>
              </a:solidFill>
              <a:latin typeface="Poppins ExtraLight" panose="00000300000000000000" pitchFamily="2" charset="0"/>
              <a:cs typeface="Poppins ExtraLight" panose="00000300000000000000" pitchFamily="2" charset="0"/>
            </a:endParaRPr>
          </a:p>
          <a:p>
            <a:pPr>
              <a:lnSpc>
                <a:spcPct val="100000"/>
              </a:lnSpc>
              <a:spcBef>
                <a:spcPts val="0"/>
              </a:spcBef>
              <a:spcAft>
                <a:spcPts val="0"/>
              </a:spcAft>
            </a:pPr>
            <a:endParaRPr lang="es-ES" sz="2667" b="0" cap="small" baseline="0" dirty="0">
              <a:solidFill>
                <a:schemeClr val="bg1"/>
              </a:solidFill>
              <a:latin typeface="Poppins ExtraLight" panose="00000300000000000000" pitchFamily="2" charset="0"/>
              <a:cs typeface="Poppins ExtraLight" panose="00000300000000000000" pitchFamily="2" charset="0"/>
            </a:endParaRPr>
          </a:p>
          <a:p>
            <a:pPr algn="r">
              <a:lnSpc>
                <a:spcPct val="100000"/>
              </a:lnSpc>
              <a:spcBef>
                <a:spcPts val="0"/>
              </a:spcBef>
              <a:spcAft>
                <a:spcPts val="0"/>
              </a:spcAft>
            </a:pPr>
            <a:r>
              <a:rPr lang="es-ES" sz="2667" b="0" kern="1200" cap="none" spc="-60" baseline="0" dirty="0">
                <a:solidFill>
                  <a:schemeClr val="bg1"/>
                </a:solidFill>
                <a:latin typeface="Poppins" panose="00000500000000000000" pitchFamily="2" charset="0"/>
                <a:ea typeface="+mj-ea"/>
                <a:cs typeface="Poppins" panose="00000500000000000000" pitchFamily="2" charset="0"/>
              </a:rPr>
              <a:t>Jordi J. Gimenez - Technology</a:t>
            </a:r>
          </a:p>
          <a:p>
            <a:pPr marL="0" algn="ctr" defTabSz="914377" rtl="0" eaLnBrk="1" latinLnBrk="0" hangingPunct="1">
              <a:lnSpc>
                <a:spcPct val="100000"/>
              </a:lnSpc>
              <a:spcBef>
                <a:spcPts val="0"/>
              </a:spcBef>
              <a:spcAft>
                <a:spcPts val="0"/>
              </a:spcAft>
              <a:buNone/>
            </a:pPr>
            <a:r>
              <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hlinkClick r:id="rId3">
                  <a:extLst>
                    <a:ext uri="{A12FA001-AC4F-418D-AE19-62706E023703}">
                      <ahyp:hlinkClr xmlns:ahyp="http://schemas.microsoft.com/office/drawing/2018/hyperlinkcolor" val="tx"/>
                    </a:ext>
                  </a:extLst>
                </a:hlinkClick>
              </a:rPr>
              <a:t>gimenez@5g-mag.com</a:t>
            </a:r>
            <a:endParaRPr lang="es-ES" sz="2400" b="0" u="none" kern="1200" cap="none" spc="-60" baseline="0" dirty="0">
              <a:solidFill>
                <a:schemeClr val="bg1"/>
              </a:solidFill>
              <a:latin typeface="Poppins ExtraLight" panose="00000300000000000000" pitchFamily="2" charset="0"/>
              <a:ea typeface="+mj-ea"/>
              <a:cs typeface="Poppins ExtraLight" panose="00000300000000000000" pitchFamily="2" charset="0"/>
            </a:endParaRPr>
          </a:p>
        </p:txBody>
      </p:sp>
      <p:sp>
        <p:nvSpPr>
          <p:cNvPr id="2" name="TextBox 26">
            <a:extLst>
              <a:ext uri="{FF2B5EF4-FFF2-40B4-BE49-F238E27FC236}">
                <a16:creationId xmlns:a16="http://schemas.microsoft.com/office/drawing/2014/main" id="{1AA07B98-2480-8FE0-63A0-B5B3A46E9D80}"/>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4">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5">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FC34887D-F5E2-645A-9971-A9752D9998C1}"/>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6" name="Graphic 5">
            <a:extLst>
              <a:ext uri="{FF2B5EF4-FFF2-40B4-BE49-F238E27FC236}">
                <a16:creationId xmlns:a16="http://schemas.microsoft.com/office/drawing/2014/main" id="{2BC323AA-02FC-88C2-0603-B759265B6F6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3194981672"/>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3" name="Rectángulo 20">
            <a:extLst>
              <a:ext uri="{FF2B5EF4-FFF2-40B4-BE49-F238E27FC236}">
                <a16:creationId xmlns:a16="http://schemas.microsoft.com/office/drawing/2014/main" id="{1D614446-C5DC-56A5-5F20-016BFF7D0A98}"/>
              </a:ext>
            </a:extLst>
          </p:cNvPr>
          <p:cNvSpPr/>
          <p:nvPr userDrawn="1"/>
        </p:nvSpPr>
        <p:spPr>
          <a:xfrm>
            <a:off x="-9913" y="0"/>
            <a:ext cx="1226138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70"/>
            <a:endParaRPr lang="en-GB" sz="1867">
              <a:solidFill>
                <a:schemeClr val="bg1"/>
              </a:solidFill>
              <a:latin typeface="Poppins" panose="00000500000000000000" pitchFamily="2" charset="0"/>
            </a:endParaRPr>
          </a:p>
        </p:txBody>
      </p:sp>
      <p:sp>
        <p:nvSpPr>
          <p:cNvPr id="5" name="Title 1">
            <a:extLst>
              <a:ext uri="{FF2B5EF4-FFF2-40B4-BE49-F238E27FC236}">
                <a16:creationId xmlns:a16="http://schemas.microsoft.com/office/drawing/2014/main" id="{E31AEC4B-BB85-BBD0-EE86-94EE6F9C826B}"/>
              </a:ext>
            </a:extLst>
          </p:cNvPr>
          <p:cNvSpPr>
            <a:spLocks noGrp="1"/>
          </p:cNvSpPr>
          <p:nvPr>
            <p:ph type="ctrTitle" hasCustomPrompt="1"/>
          </p:nvPr>
        </p:nvSpPr>
        <p:spPr>
          <a:xfrm>
            <a:off x="2300050" y="2294275"/>
            <a:ext cx="9252087" cy="1556428"/>
          </a:xfrm>
          <a:prstGeom prst="rect">
            <a:avLst/>
          </a:prstGeom>
        </p:spPr>
        <p:txBody>
          <a:bodyPr anchor="ctr">
            <a:normAutofit/>
          </a:bodyPr>
          <a:lstStyle>
            <a:lvl1pPr algn="r">
              <a:defRPr sz="4267" spc="-100" baseline="0">
                <a:solidFill>
                  <a:schemeClr val="bg1"/>
                </a:solidFill>
                <a:latin typeface="Poppins SemiBold" panose="02000000000000000000" pitchFamily="2" charset="0"/>
                <a:cs typeface="Poppins SemiBold" panose="02000000000000000000" pitchFamily="2" charset="0"/>
              </a:defRPr>
            </a:lvl1pPr>
          </a:lstStyle>
          <a:p>
            <a:r>
              <a:rPr lang="en-US" dirty="0"/>
              <a:t>Thank you!</a:t>
            </a:r>
          </a:p>
        </p:txBody>
      </p:sp>
      <p:sp>
        <p:nvSpPr>
          <p:cNvPr id="6" name="Subtitle 2">
            <a:extLst>
              <a:ext uri="{FF2B5EF4-FFF2-40B4-BE49-F238E27FC236}">
                <a16:creationId xmlns:a16="http://schemas.microsoft.com/office/drawing/2014/main" id="{0EF4F3BE-A197-B91D-9BE3-7306CFA34CCE}"/>
              </a:ext>
            </a:extLst>
          </p:cNvPr>
          <p:cNvSpPr>
            <a:spLocks noGrp="1"/>
          </p:cNvSpPr>
          <p:nvPr>
            <p:ph type="subTitle" idx="1" hasCustomPrompt="1"/>
          </p:nvPr>
        </p:nvSpPr>
        <p:spPr>
          <a:xfrm>
            <a:off x="912620" y="5758569"/>
            <a:ext cx="10639515" cy="512507"/>
          </a:xfrm>
          <a:prstGeom prst="rect">
            <a:avLst/>
          </a:prstGeom>
        </p:spPr>
        <p:txBody>
          <a:bodyPr anchor="ctr">
            <a:noAutofit/>
          </a:bodyPr>
          <a:lstStyle>
            <a:lvl1pPr marL="0" indent="0" algn="r">
              <a:buNone/>
              <a:defRPr sz="1867" b="0" cap="none" spc="0" baseline="0">
                <a:solidFill>
                  <a:schemeClr val="bg1"/>
                </a:solidFill>
                <a:latin typeface="Poppins" panose="00000500000000000000" pitchFamily="2" charset="0"/>
                <a:cs typeface="Poppins" panose="00000500000000000000" pitchFamily="2" charset="0"/>
              </a:defRPr>
            </a:lvl1pPr>
            <a:lvl2pPr marL="457189" indent="0" algn="ctr">
              <a:buNone/>
              <a:defRPr sz="2200"/>
            </a:lvl2pPr>
            <a:lvl3pPr marL="914377" indent="0" algn="ctr">
              <a:buNone/>
              <a:defRPr sz="22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s-ES" dirty="0" err="1"/>
              <a:t>Name</a:t>
            </a:r>
            <a:r>
              <a:rPr lang="es-ES" dirty="0"/>
              <a:t> of the Event</a:t>
            </a:r>
          </a:p>
        </p:txBody>
      </p:sp>
      <p:sp>
        <p:nvSpPr>
          <p:cNvPr id="7" name="Text Placeholder 2">
            <a:extLst>
              <a:ext uri="{FF2B5EF4-FFF2-40B4-BE49-F238E27FC236}">
                <a16:creationId xmlns:a16="http://schemas.microsoft.com/office/drawing/2014/main" id="{B5A4EEB4-8A44-A32A-314C-DDEF43973BE2}"/>
              </a:ext>
            </a:extLst>
          </p:cNvPr>
          <p:cNvSpPr>
            <a:spLocks noGrp="1"/>
          </p:cNvSpPr>
          <p:nvPr>
            <p:ph type="body" sz="quarter" idx="11" hasCustomPrompt="1"/>
          </p:nvPr>
        </p:nvSpPr>
        <p:spPr>
          <a:xfrm>
            <a:off x="912621" y="4120021"/>
            <a:ext cx="10639516"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667" b="0" kern="1200" cap="none" spc="0" baseline="0" dirty="0" smtClean="0">
                <a:solidFill>
                  <a:schemeClr val="bg1"/>
                </a:solidFill>
                <a:latin typeface="Poppins" panose="00000500000000000000" pitchFamily="2" charset="0"/>
                <a:ea typeface="+mn-ea"/>
                <a:cs typeface="Poppins" panose="00000500000000000000" pitchFamily="2" charset="0"/>
              </a:defRPr>
            </a:lvl1pPr>
            <a:lvl2pPr marL="502907" indent="0">
              <a:buNone/>
              <a:defRPr/>
            </a:lvl2pPr>
            <a:lvl5pPr marL="1874473" indent="0">
              <a:buNone/>
              <a:defRPr/>
            </a:lvl5pPr>
          </a:lstStyle>
          <a:p>
            <a:r>
              <a:rPr lang="es-ES" dirty="0" err="1"/>
              <a:t>Author</a:t>
            </a:r>
            <a:endParaRPr lang="es-ES" dirty="0"/>
          </a:p>
        </p:txBody>
      </p:sp>
      <p:sp>
        <p:nvSpPr>
          <p:cNvPr id="8" name="Text Placeholder 2">
            <a:extLst>
              <a:ext uri="{FF2B5EF4-FFF2-40B4-BE49-F238E27FC236}">
                <a16:creationId xmlns:a16="http://schemas.microsoft.com/office/drawing/2014/main" id="{F89DD906-2044-2C11-F263-E56FD4C13288}"/>
              </a:ext>
            </a:extLst>
          </p:cNvPr>
          <p:cNvSpPr>
            <a:spLocks noGrp="1"/>
          </p:cNvSpPr>
          <p:nvPr>
            <p:ph type="body" sz="quarter" idx="12" hasCustomPrompt="1"/>
          </p:nvPr>
        </p:nvSpPr>
        <p:spPr>
          <a:xfrm>
            <a:off x="912621" y="4681217"/>
            <a:ext cx="10639515" cy="507673"/>
          </a:xfrm>
          <a:prstGeom prst="rect">
            <a:avLst/>
          </a:prstGeom>
        </p:spPr>
        <p:txBody>
          <a:bodyPr anchor="ctr"/>
          <a:lstStyle>
            <a:lvl1pPr marL="0" indent="0" algn="r" defTabSz="914377" rtl="0" eaLnBrk="1" latinLnBrk="0" hangingPunct="1">
              <a:lnSpc>
                <a:spcPct val="90000"/>
              </a:lnSpc>
              <a:spcBef>
                <a:spcPts val="1200"/>
              </a:spcBef>
              <a:buClr>
                <a:srgbClr val="1E4395"/>
              </a:buClr>
              <a:buFont typeface="Wingdings 2" pitchFamily="18" charset="2"/>
              <a:buNone/>
              <a:defRPr lang="en-US" sz="2400" b="0" kern="1200" cap="none" spc="0" baseline="0" dirty="0" smtClean="0">
                <a:solidFill>
                  <a:schemeClr val="bg1"/>
                </a:solidFill>
                <a:latin typeface="Poppins ExtraLight" panose="00000300000000000000" pitchFamily="2" charset="0"/>
                <a:ea typeface="+mn-ea"/>
                <a:cs typeface="Poppins ExtraLight" panose="00000300000000000000" pitchFamily="2" charset="0"/>
              </a:defRPr>
            </a:lvl1pPr>
            <a:lvl2pPr marL="502907" indent="0">
              <a:buNone/>
              <a:defRPr/>
            </a:lvl2pPr>
            <a:lvl5pPr marL="1874473" indent="0">
              <a:buNone/>
              <a:defRPr/>
            </a:lvl5pPr>
          </a:lstStyle>
          <a:p>
            <a:r>
              <a:rPr lang="es-ES" dirty="0" err="1"/>
              <a:t>Afiliation</a:t>
            </a:r>
            <a:endParaRPr lang="es-ES" dirty="0"/>
          </a:p>
        </p:txBody>
      </p:sp>
      <p:sp>
        <p:nvSpPr>
          <p:cNvPr id="12" name="Rectangle 5">
            <a:extLst>
              <a:ext uri="{FF2B5EF4-FFF2-40B4-BE49-F238E27FC236}">
                <a16:creationId xmlns:a16="http://schemas.microsoft.com/office/drawing/2014/main" id="{B77838EF-F908-1E52-8DC3-4D88BF99E8CC}"/>
              </a:ext>
            </a:extLst>
          </p:cNvPr>
          <p:cNvSpPr/>
          <p:nvPr userDrawn="1"/>
        </p:nvSpPr>
        <p:spPr>
          <a:xfrm rot="16200000">
            <a:off x="9880888" y="4444435"/>
            <a:ext cx="44620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70">
              <a:defRPr/>
            </a:pPr>
            <a:r>
              <a:rPr lang="en-US" sz="800" noProof="0" dirty="0">
                <a:solidFill>
                  <a:schemeClr val="bg1"/>
                </a:solidFill>
                <a:latin typeface="Poppins" panose="00000500000000000000" pitchFamily="2" charset="0"/>
                <a:cs typeface="Poppins" panose="00000500000000000000" pitchFamily="2" charset="0"/>
              </a:rPr>
              <a:t>This presentation uses images from flaticon.com, oixabay.com and unsplash.com</a:t>
            </a:r>
          </a:p>
        </p:txBody>
      </p:sp>
      <p:sp>
        <p:nvSpPr>
          <p:cNvPr id="2" name="TextBox 26">
            <a:extLst>
              <a:ext uri="{FF2B5EF4-FFF2-40B4-BE49-F238E27FC236}">
                <a16:creationId xmlns:a16="http://schemas.microsoft.com/office/drawing/2014/main" id="{089E5FD2-62D3-E1CC-07E1-5EF329C878DF}"/>
              </a:ext>
            </a:extLst>
          </p:cNvPr>
          <p:cNvSpPr txBox="1"/>
          <p:nvPr userDrawn="1"/>
        </p:nvSpPr>
        <p:spPr>
          <a:xfrm>
            <a:off x="-9914" y="6478138"/>
            <a:ext cx="12261385" cy="338554"/>
          </a:xfrm>
          <a:prstGeom prst="rect">
            <a:avLst/>
          </a:prstGeom>
          <a:noFill/>
        </p:spPr>
        <p:txBody>
          <a:bodyPr wrap="square">
            <a:spAutoFit/>
          </a:bodyPr>
          <a:lstStyle/>
          <a:p>
            <a:pPr marL="0" marR="0" lvl="1" indent="0" algn="l" defTabSz="609585" rtl="0" eaLnBrk="1" fontAlgn="auto" latinLnBrk="0" hangingPunct="1">
              <a:lnSpc>
                <a:spcPct val="100000"/>
              </a:lnSpc>
              <a:spcBef>
                <a:spcPts val="0"/>
              </a:spcBef>
              <a:spcAft>
                <a:spcPts val="0"/>
              </a:spcAft>
              <a:buClr>
                <a:srgbClr val="00A0D2"/>
              </a:buClr>
              <a:buSzTx/>
              <a:buFont typeface="Wingdings" panose="05000000000000000000" pitchFamily="2" charset="2"/>
              <a:buNone/>
              <a:tabLst/>
              <a:defRPr/>
            </a:pP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2">
                  <a:extLst>
                    <a:ext uri="{A12FA001-AC4F-418D-AE19-62706E023703}">
                      <ahyp:hlinkClr xmlns:ahyp="http://schemas.microsoft.com/office/drawing/2018/hyperlinkcolor" val="tx"/>
                    </a:ext>
                  </a:extLst>
                </a:hlinkClick>
              </a:rPr>
              <a:t>www.5g-mag.com</a:t>
            </a:r>
            <a:r>
              <a:rPr lang="en-US" sz="1600" kern="1200" noProof="0" dirty="0">
                <a:solidFill>
                  <a:schemeClr val="bg1"/>
                </a:solidFill>
                <a:latin typeface="Poppins ExtraLight" panose="00000300000000000000" pitchFamily="2" charset="0"/>
                <a:ea typeface="+mn-ea"/>
                <a:cs typeface="Poppins ExtraLight" panose="00000300000000000000" pitchFamily="2" charset="0"/>
              </a:rPr>
              <a:t> - </a:t>
            </a:r>
            <a:r>
              <a:rPr lang="en-US" sz="1600" kern="1200" noProof="0" dirty="0">
                <a:solidFill>
                  <a:schemeClr val="bg1"/>
                </a:solidFill>
                <a:latin typeface="Poppins ExtraLight" panose="00000300000000000000" pitchFamily="2" charset="0"/>
                <a:ea typeface="+mn-ea"/>
                <a:cs typeface="Poppins ExtraLight" panose="00000300000000000000" pitchFamily="2" charset="0"/>
                <a:hlinkClick r:id="rId3">
                  <a:extLst>
                    <a:ext uri="{A12FA001-AC4F-418D-AE19-62706E023703}">
                      <ahyp:hlinkClr xmlns:ahyp="http://schemas.microsoft.com/office/drawing/2018/hyperlinkcolor" val="tx"/>
                    </a:ext>
                  </a:extLst>
                </a:hlinkClick>
              </a:rPr>
              <a:t>5g-mag.github.io</a:t>
            </a:r>
            <a:endParaRPr lang="en-US" sz="1600" kern="1200" noProof="0" dirty="0">
              <a:solidFill>
                <a:schemeClr val="bg1"/>
              </a:solidFill>
              <a:latin typeface="Poppins ExtraLight" panose="00000300000000000000" pitchFamily="2" charset="0"/>
              <a:ea typeface="+mn-ea"/>
              <a:cs typeface="Poppins ExtraLight" panose="00000300000000000000" pitchFamily="2" charset="0"/>
            </a:endParaRPr>
          </a:p>
        </p:txBody>
      </p:sp>
      <p:sp>
        <p:nvSpPr>
          <p:cNvPr id="4" name="Rectangle: Rounded Corners 3">
            <a:extLst>
              <a:ext uri="{FF2B5EF4-FFF2-40B4-BE49-F238E27FC236}">
                <a16:creationId xmlns:a16="http://schemas.microsoft.com/office/drawing/2014/main" id="{E883A968-DD5E-1B8A-4F33-99119137D757}"/>
              </a:ext>
            </a:extLst>
          </p:cNvPr>
          <p:cNvSpPr/>
          <p:nvPr userDrawn="1"/>
        </p:nvSpPr>
        <p:spPr>
          <a:xfrm>
            <a:off x="-1171899" y="600503"/>
            <a:ext cx="4392772" cy="134256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en-GB" sz="4267" dirty="0">
              <a:solidFill>
                <a:srgbClr val="00A0D2"/>
              </a:solidFill>
              <a:latin typeface="+mj-lt"/>
            </a:endParaRPr>
          </a:p>
        </p:txBody>
      </p:sp>
      <p:pic>
        <p:nvPicPr>
          <p:cNvPr id="9" name="Graphic 8">
            <a:extLst>
              <a:ext uri="{FF2B5EF4-FFF2-40B4-BE49-F238E27FC236}">
                <a16:creationId xmlns:a16="http://schemas.microsoft.com/office/drawing/2014/main" id="{00E399B1-6220-2F0C-A173-C8432F3D93E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1800" y="720001"/>
            <a:ext cx="2640000" cy="1103575"/>
          </a:xfrm>
          <a:prstGeom prst="rect">
            <a:avLst/>
          </a:prstGeom>
        </p:spPr>
      </p:pic>
    </p:spTree>
    <p:extLst>
      <p:ext uri="{BB962C8B-B14F-4D97-AF65-F5344CB8AC3E}">
        <p14:creationId xmlns:p14="http://schemas.microsoft.com/office/powerpoint/2010/main" val="608098012"/>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A6FBAE8-3CD7-7084-C26C-E1A4BFFA29BB}"/>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5" name="Date Placeholder 3">
            <a:extLst>
              <a:ext uri="{FF2B5EF4-FFF2-40B4-BE49-F238E27FC236}">
                <a16:creationId xmlns:a16="http://schemas.microsoft.com/office/drawing/2014/main" id="{E8539564-B64B-9A96-CFF6-043BDD08E030}"/>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spTree>
    <p:extLst>
      <p:ext uri="{BB962C8B-B14F-4D97-AF65-F5344CB8AC3E}">
        <p14:creationId xmlns:p14="http://schemas.microsoft.com/office/powerpoint/2010/main" val="37391947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398646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61943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214ACD"/>
                </a:solidFill>
                <a:effectLst>
                  <a:innerShdw blurRad="38100" dist="25400" dir="8100000">
                    <a:prstClr val="black">
                      <a:alpha val="50000"/>
                    </a:prstClr>
                  </a:innerShdw>
                </a:effectLst>
              </a:rPr>
              <a:t>Agenda</a:t>
            </a:r>
          </a:p>
        </p:txBody>
      </p:sp>
    </p:spTree>
    <p:extLst>
      <p:ext uri="{BB962C8B-B14F-4D97-AF65-F5344CB8AC3E}">
        <p14:creationId xmlns:p14="http://schemas.microsoft.com/office/powerpoint/2010/main" val="399831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77965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230622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Tree>
    <p:extLst>
      <p:ext uri="{BB962C8B-B14F-4D97-AF65-F5344CB8AC3E}">
        <p14:creationId xmlns:p14="http://schemas.microsoft.com/office/powerpoint/2010/main" val="60032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3" name="TextBox 2">
            <a:extLst>
              <a:ext uri="{FF2B5EF4-FFF2-40B4-BE49-F238E27FC236}">
                <a16:creationId xmlns:a16="http://schemas.microsoft.com/office/drawing/2014/main" id="{091E9095-698B-0FCE-B311-BA02E4AAD35D}"/>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FE136760-A84B-7DDD-A409-1DB6E5638862}"/>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27521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2" name="TextBox 1">
            <a:extLst>
              <a:ext uri="{FF2B5EF4-FFF2-40B4-BE49-F238E27FC236}">
                <a16:creationId xmlns:a16="http://schemas.microsoft.com/office/drawing/2014/main" id="{612D00FC-BA28-634A-6914-600460CEC862}"/>
              </a:ext>
            </a:extLst>
          </p:cNvPr>
          <p:cNvSpPr txBox="1"/>
          <p:nvPr userDrawn="1"/>
        </p:nvSpPr>
        <p:spPr bwMode="gray">
          <a:xfrm>
            <a:off x="4313239" y="5330321"/>
            <a:ext cx="2958892"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registered trademarks of their respective owners.</a:t>
            </a:r>
          </a:p>
        </p:txBody>
      </p:sp>
      <p:sp>
        <p:nvSpPr>
          <p:cNvPr id="4" name="TextBox 3">
            <a:extLst>
              <a:ext uri="{FF2B5EF4-FFF2-40B4-BE49-F238E27FC236}">
                <a16:creationId xmlns:a16="http://schemas.microsoft.com/office/drawing/2014/main" id="{30BC86D6-3C04-6E03-2BFC-749B0C71329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167794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053A03F9-C01F-4015-574F-E35E7BF4A727}"/>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D3245786-770B-F1A6-CCDE-18D0534D955D}"/>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747457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BAC9F69D-F705-B66D-7552-C0DC6C6F8F0C}"/>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6" name="TextBox 5">
            <a:extLst>
              <a:ext uri="{FF2B5EF4-FFF2-40B4-BE49-F238E27FC236}">
                <a16:creationId xmlns:a16="http://schemas.microsoft.com/office/drawing/2014/main" id="{6551B1DF-2FCE-5E8A-7F80-8DA31197AEF0}"/>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30679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 name="TextBox 3">
            <a:extLst>
              <a:ext uri="{FF2B5EF4-FFF2-40B4-BE49-F238E27FC236}">
                <a16:creationId xmlns:a16="http://schemas.microsoft.com/office/drawing/2014/main" id="{DC299A15-61E6-C7DD-AF0D-3ABDDDD7D916}"/>
              </a:ext>
            </a:extLst>
          </p:cNvPr>
          <p:cNvSpPr txBox="1"/>
          <p:nvPr userDrawn="1"/>
        </p:nvSpPr>
        <p:spPr bwMode="gray">
          <a:xfrm>
            <a:off x="4313239" y="5330321"/>
            <a:ext cx="2984388" cy="856645"/>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Nothing in these materials is an offer to sell any of the component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3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ll Rights Reserve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registered trademarks of their respective owners.</a:t>
            </a:r>
          </a:p>
        </p:txBody>
      </p:sp>
      <p:sp>
        <p:nvSpPr>
          <p:cNvPr id="5" name="TextBox 4">
            <a:extLst>
              <a:ext uri="{FF2B5EF4-FFF2-40B4-BE49-F238E27FC236}">
                <a16:creationId xmlns:a16="http://schemas.microsoft.com/office/drawing/2014/main" id="{6805A64E-DF6F-F24E-1FF0-BB9DAC53A3CB}"/>
              </a:ext>
            </a:extLst>
          </p:cNvPr>
          <p:cNvSpPr txBox="1"/>
          <p:nvPr userDrawn="1"/>
        </p:nvSpPr>
        <p:spPr bwMode="gray">
          <a:xfrm>
            <a:off x="7653679" y="5330321"/>
            <a:ext cx="3341423"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Snapdragon and Qualcomm branded products are products of Qualcomm Technologies, Inc. and/or its subsidiaries. Qualcomm patented technologies are licensed by Qualcomm Incorporated. </a:t>
            </a:r>
          </a:p>
        </p:txBody>
      </p:sp>
    </p:spTree>
    <p:extLst>
      <p:ext uri="{BB962C8B-B14F-4D97-AF65-F5344CB8AC3E}">
        <p14:creationId xmlns:p14="http://schemas.microsoft.com/office/powerpoint/2010/main" val="294461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6851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563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798.xml"/><Relationship Id="rId18" Type="http://schemas.openxmlformats.org/officeDocument/2006/relationships/slideLayout" Target="../slideLayouts/slideLayout803.xml"/><Relationship Id="rId26" Type="http://schemas.openxmlformats.org/officeDocument/2006/relationships/slideLayout" Target="../slideLayouts/slideLayout811.xml"/><Relationship Id="rId39" Type="http://schemas.openxmlformats.org/officeDocument/2006/relationships/slideLayout" Target="../slideLayouts/slideLayout824.xml"/><Relationship Id="rId21" Type="http://schemas.openxmlformats.org/officeDocument/2006/relationships/slideLayout" Target="../slideLayouts/slideLayout806.xml"/><Relationship Id="rId34" Type="http://schemas.openxmlformats.org/officeDocument/2006/relationships/slideLayout" Target="../slideLayouts/slideLayout819.xml"/><Relationship Id="rId42" Type="http://schemas.openxmlformats.org/officeDocument/2006/relationships/slideLayout" Target="../slideLayouts/slideLayout827.xml"/><Relationship Id="rId47" Type="http://schemas.openxmlformats.org/officeDocument/2006/relationships/slideLayout" Target="../slideLayouts/slideLayout832.xml"/><Relationship Id="rId50" Type="http://schemas.openxmlformats.org/officeDocument/2006/relationships/slideLayout" Target="../slideLayouts/slideLayout835.xml"/><Relationship Id="rId55" Type="http://schemas.openxmlformats.org/officeDocument/2006/relationships/slideLayout" Target="../slideLayouts/slideLayout840.xml"/><Relationship Id="rId7" Type="http://schemas.openxmlformats.org/officeDocument/2006/relationships/slideLayout" Target="../slideLayouts/slideLayout792.xml"/><Relationship Id="rId2" Type="http://schemas.openxmlformats.org/officeDocument/2006/relationships/slideLayout" Target="../slideLayouts/slideLayout787.xml"/><Relationship Id="rId16" Type="http://schemas.openxmlformats.org/officeDocument/2006/relationships/slideLayout" Target="../slideLayouts/slideLayout801.xml"/><Relationship Id="rId29" Type="http://schemas.openxmlformats.org/officeDocument/2006/relationships/slideLayout" Target="../slideLayouts/slideLayout814.xml"/><Relationship Id="rId11" Type="http://schemas.openxmlformats.org/officeDocument/2006/relationships/slideLayout" Target="../slideLayouts/slideLayout796.xml"/><Relationship Id="rId24" Type="http://schemas.openxmlformats.org/officeDocument/2006/relationships/slideLayout" Target="../slideLayouts/slideLayout809.xml"/><Relationship Id="rId32" Type="http://schemas.openxmlformats.org/officeDocument/2006/relationships/slideLayout" Target="../slideLayouts/slideLayout817.xml"/><Relationship Id="rId37" Type="http://schemas.openxmlformats.org/officeDocument/2006/relationships/slideLayout" Target="../slideLayouts/slideLayout822.xml"/><Relationship Id="rId40" Type="http://schemas.openxmlformats.org/officeDocument/2006/relationships/slideLayout" Target="../slideLayouts/slideLayout825.xml"/><Relationship Id="rId45" Type="http://schemas.openxmlformats.org/officeDocument/2006/relationships/slideLayout" Target="../slideLayouts/slideLayout830.xml"/><Relationship Id="rId53" Type="http://schemas.openxmlformats.org/officeDocument/2006/relationships/slideLayout" Target="../slideLayouts/slideLayout838.xml"/><Relationship Id="rId5" Type="http://schemas.openxmlformats.org/officeDocument/2006/relationships/slideLayout" Target="../slideLayouts/slideLayout790.xml"/><Relationship Id="rId10" Type="http://schemas.openxmlformats.org/officeDocument/2006/relationships/slideLayout" Target="../slideLayouts/slideLayout795.xml"/><Relationship Id="rId19" Type="http://schemas.openxmlformats.org/officeDocument/2006/relationships/slideLayout" Target="../slideLayouts/slideLayout804.xml"/><Relationship Id="rId31" Type="http://schemas.openxmlformats.org/officeDocument/2006/relationships/slideLayout" Target="../slideLayouts/slideLayout816.xml"/><Relationship Id="rId44" Type="http://schemas.openxmlformats.org/officeDocument/2006/relationships/slideLayout" Target="../slideLayouts/slideLayout829.xml"/><Relationship Id="rId52" Type="http://schemas.openxmlformats.org/officeDocument/2006/relationships/slideLayout" Target="../slideLayouts/slideLayout837.xml"/><Relationship Id="rId4" Type="http://schemas.openxmlformats.org/officeDocument/2006/relationships/slideLayout" Target="../slideLayouts/slideLayout789.xml"/><Relationship Id="rId9" Type="http://schemas.openxmlformats.org/officeDocument/2006/relationships/slideLayout" Target="../slideLayouts/slideLayout794.xml"/><Relationship Id="rId14" Type="http://schemas.openxmlformats.org/officeDocument/2006/relationships/slideLayout" Target="../slideLayouts/slideLayout799.xml"/><Relationship Id="rId22" Type="http://schemas.openxmlformats.org/officeDocument/2006/relationships/slideLayout" Target="../slideLayouts/slideLayout807.xml"/><Relationship Id="rId27" Type="http://schemas.openxmlformats.org/officeDocument/2006/relationships/slideLayout" Target="../slideLayouts/slideLayout812.xml"/><Relationship Id="rId30" Type="http://schemas.openxmlformats.org/officeDocument/2006/relationships/slideLayout" Target="../slideLayouts/slideLayout815.xml"/><Relationship Id="rId35" Type="http://schemas.openxmlformats.org/officeDocument/2006/relationships/slideLayout" Target="../slideLayouts/slideLayout820.xml"/><Relationship Id="rId43" Type="http://schemas.openxmlformats.org/officeDocument/2006/relationships/slideLayout" Target="../slideLayouts/slideLayout828.xml"/><Relationship Id="rId48" Type="http://schemas.openxmlformats.org/officeDocument/2006/relationships/slideLayout" Target="../slideLayouts/slideLayout833.xml"/><Relationship Id="rId56" Type="http://schemas.openxmlformats.org/officeDocument/2006/relationships/theme" Target="../theme/theme10.xml"/><Relationship Id="rId8" Type="http://schemas.openxmlformats.org/officeDocument/2006/relationships/slideLayout" Target="../slideLayouts/slideLayout793.xml"/><Relationship Id="rId51" Type="http://schemas.openxmlformats.org/officeDocument/2006/relationships/slideLayout" Target="../slideLayouts/slideLayout836.xml"/><Relationship Id="rId3" Type="http://schemas.openxmlformats.org/officeDocument/2006/relationships/slideLayout" Target="../slideLayouts/slideLayout788.xml"/><Relationship Id="rId12" Type="http://schemas.openxmlformats.org/officeDocument/2006/relationships/slideLayout" Target="../slideLayouts/slideLayout797.xml"/><Relationship Id="rId17" Type="http://schemas.openxmlformats.org/officeDocument/2006/relationships/slideLayout" Target="../slideLayouts/slideLayout802.xml"/><Relationship Id="rId25" Type="http://schemas.openxmlformats.org/officeDocument/2006/relationships/slideLayout" Target="../slideLayouts/slideLayout810.xml"/><Relationship Id="rId33" Type="http://schemas.openxmlformats.org/officeDocument/2006/relationships/slideLayout" Target="../slideLayouts/slideLayout818.xml"/><Relationship Id="rId38" Type="http://schemas.openxmlformats.org/officeDocument/2006/relationships/slideLayout" Target="../slideLayouts/slideLayout823.xml"/><Relationship Id="rId46" Type="http://schemas.openxmlformats.org/officeDocument/2006/relationships/slideLayout" Target="../slideLayouts/slideLayout831.xml"/><Relationship Id="rId20" Type="http://schemas.openxmlformats.org/officeDocument/2006/relationships/slideLayout" Target="../slideLayouts/slideLayout805.xml"/><Relationship Id="rId41" Type="http://schemas.openxmlformats.org/officeDocument/2006/relationships/slideLayout" Target="../slideLayouts/slideLayout826.xml"/><Relationship Id="rId54" Type="http://schemas.openxmlformats.org/officeDocument/2006/relationships/slideLayout" Target="../slideLayouts/slideLayout839.xml"/><Relationship Id="rId1" Type="http://schemas.openxmlformats.org/officeDocument/2006/relationships/slideLayout" Target="../slideLayouts/slideLayout786.xml"/><Relationship Id="rId6" Type="http://schemas.openxmlformats.org/officeDocument/2006/relationships/slideLayout" Target="../slideLayouts/slideLayout791.xml"/><Relationship Id="rId15" Type="http://schemas.openxmlformats.org/officeDocument/2006/relationships/slideLayout" Target="../slideLayouts/slideLayout800.xml"/><Relationship Id="rId23" Type="http://schemas.openxmlformats.org/officeDocument/2006/relationships/slideLayout" Target="../slideLayouts/slideLayout808.xml"/><Relationship Id="rId28" Type="http://schemas.openxmlformats.org/officeDocument/2006/relationships/slideLayout" Target="../slideLayouts/slideLayout813.xml"/><Relationship Id="rId36" Type="http://schemas.openxmlformats.org/officeDocument/2006/relationships/slideLayout" Target="../slideLayouts/slideLayout821.xml"/><Relationship Id="rId49" Type="http://schemas.openxmlformats.org/officeDocument/2006/relationships/slideLayout" Target="../slideLayouts/slideLayout83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843.xml"/><Relationship Id="rId7" Type="http://schemas.openxmlformats.org/officeDocument/2006/relationships/slideLayout" Target="../slideLayouts/slideLayout847.xml"/><Relationship Id="rId2" Type="http://schemas.openxmlformats.org/officeDocument/2006/relationships/slideLayout" Target="../slideLayouts/slideLayout842.xml"/><Relationship Id="rId1" Type="http://schemas.openxmlformats.org/officeDocument/2006/relationships/slideLayout" Target="../slideLayouts/slideLayout841.xml"/><Relationship Id="rId6" Type="http://schemas.openxmlformats.org/officeDocument/2006/relationships/slideLayout" Target="../slideLayouts/slideLayout846.xml"/><Relationship Id="rId5" Type="http://schemas.openxmlformats.org/officeDocument/2006/relationships/slideLayout" Target="../slideLayouts/slideLayout845.xml"/><Relationship Id="rId4" Type="http://schemas.openxmlformats.org/officeDocument/2006/relationships/slideLayout" Target="../slideLayouts/slideLayout844.xml"/><Relationship Id="rId9" Type="http://schemas.openxmlformats.org/officeDocument/2006/relationships/image" Target="../media/image49.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55.xml"/><Relationship Id="rId13" Type="http://schemas.openxmlformats.org/officeDocument/2006/relationships/slideLayout" Target="../slideLayouts/slideLayout860.xml"/><Relationship Id="rId18" Type="http://schemas.openxmlformats.org/officeDocument/2006/relationships/slideLayout" Target="../slideLayouts/slideLayout865.xml"/><Relationship Id="rId26" Type="http://schemas.openxmlformats.org/officeDocument/2006/relationships/oleObject" Target="../embeddings/oleObject1.bin"/><Relationship Id="rId3" Type="http://schemas.openxmlformats.org/officeDocument/2006/relationships/slideLayout" Target="../slideLayouts/slideLayout850.xml"/><Relationship Id="rId21" Type="http://schemas.openxmlformats.org/officeDocument/2006/relationships/slideLayout" Target="../slideLayouts/slideLayout868.xml"/><Relationship Id="rId7" Type="http://schemas.openxmlformats.org/officeDocument/2006/relationships/slideLayout" Target="../slideLayouts/slideLayout854.xml"/><Relationship Id="rId12" Type="http://schemas.openxmlformats.org/officeDocument/2006/relationships/slideLayout" Target="../slideLayouts/slideLayout859.xml"/><Relationship Id="rId17" Type="http://schemas.openxmlformats.org/officeDocument/2006/relationships/slideLayout" Target="../slideLayouts/slideLayout864.xml"/><Relationship Id="rId25" Type="http://schemas.openxmlformats.org/officeDocument/2006/relationships/tags" Target="../tags/tag1.xml"/><Relationship Id="rId2" Type="http://schemas.openxmlformats.org/officeDocument/2006/relationships/slideLayout" Target="../slideLayouts/slideLayout849.xml"/><Relationship Id="rId16" Type="http://schemas.openxmlformats.org/officeDocument/2006/relationships/slideLayout" Target="../slideLayouts/slideLayout863.xml"/><Relationship Id="rId20" Type="http://schemas.openxmlformats.org/officeDocument/2006/relationships/slideLayout" Target="../slideLayouts/slideLayout867.xml"/><Relationship Id="rId1" Type="http://schemas.openxmlformats.org/officeDocument/2006/relationships/slideLayout" Target="../slideLayouts/slideLayout848.xml"/><Relationship Id="rId6" Type="http://schemas.openxmlformats.org/officeDocument/2006/relationships/slideLayout" Target="../slideLayouts/slideLayout853.xml"/><Relationship Id="rId11" Type="http://schemas.openxmlformats.org/officeDocument/2006/relationships/slideLayout" Target="../slideLayouts/slideLayout858.xml"/><Relationship Id="rId24" Type="http://schemas.openxmlformats.org/officeDocument/2006/relationships/theme" Target="../theme/theme12.xml"/><Relationship Id="rId5" Type="http://schemas.openxmlformats.org/officeDocument/2006/relationships/slideLayout" Target="../slideLayouts/slideLayout852.xml"/><Relationship Id="rId15" Type="http://schemas.openxmlformats.org/officeDocument/2006/relationships/slideLayout" Target="../slideLayouts/slideLayout862.xml"/><Relationship Id="rId23" Type="http://schemas.openxmlformats.org/officeDocument/2006/relationships/slideLayout" Target="../slideLayouts/slideLayout870.xml"/><Relationship Id="rId10" Type="http://schemas.openxmlformats.org/officeDocument/2006/relationships/slideLayout" Target="../slideLayouts/slideLayout857.xml"/><Relationship Id="rId19" Type="http://schemas.openxmlformats.org/officeDocument/2006/relationships/slideLayout" Target="../slideLayouts/slideLayout866.xml"/><Relationship Id="rId4" Type="http://schemas.openxmlformats.org/officeDocument/2006/relationships/slideLayout" Target="../slideLayouts/slideLayout851.xml"/><Relationship Id="rId9" Type="http://schemas.openxmlformats.org/officeDocument/2006/relationships/slideLayout" Target="../slideLayouts/slideLayout856.xml"/><Relationship Id="rId14" Type="http://schemas.openxmlformats.org/officeDocument/2006/relationships/slideLayout" Target="../slideLayouts/slideLayout861.xml"/><Relationship Id="rId22" Type="http://schemas.openxmlformats.org/officeDocument/2006/relationships/slideLayout" Target="../slideLayouts/slideLayout869.xml"/><Relationship Id="rId27" Type="http://schemas.openxmlformats.org/officeDocument/2006/relationships/image" Target="../media/image52.emf"/></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873.xml"/><Relationship Id="rId7" Type="http://schemas.openxmlformats.org/officeDocument/2006/relationships/slideLayout" Target="../slideLayouts/slideLayout877.xml"/><Relationship Id="rId2" Type="http://schemas.openxmlformats.org/officeDocument/2006/relationships/slideLayout" Target="../slideLayouts/slideLayout872.xml"/><Relationship Id="rId1" Type="http://schemas.openxmlformats.org/officeDocument/2006/relationships/slideLayout" Target="../slideLayouts/slideLayout871.xml"/><Relationship Id="rId6" Type="http://schemas.openxmlformats.org/officeDocument/2006/relationships/slideLayout" Target="../slideLayouts/slideLayout876.xml"/><Relationship Id="rId5" Type="http://schemas.openxmlformats.org/officeDocument/2006/relationships/slideLayout" Target="../slideLayouts/slideLayout875.xml"/><Relationship Id="rId4" Type="http://schemas.openxmlformats.org/officeDocument/2006/relationships/slideLayout" Target="../slideLayouts/slideLayout874.xml"/><Relationship Id="rId9" Type="http://schemas.openxmlformats.org/officeDocument/2006/relationships/image" Target="../media/image49.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30.xml"/><Relationship Id="rId21" Type="http://schemas.openxmlformats.org/officeDocument/2006/relationships/slideLayout" Target="../slideLayouts/slideLayout125.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63" Type="http://schemas.openxmlformats.org/officeDocument/2006/relationships/slideLayout" Target="../slideLayouts/slideLayout167.xml"/><Relationship Id="rId68" Type="http://schemas.openxmlformats.org/officeDocument/2006/relationships/slideLayout" Target="../slideLayouts/slideLayout172.xml"/><Relationship Id="rId84" Type="http://schemas.openxmlformats.org/officeDocument/2006/relationships/slideLayout" Target="../slideLayouts/slideLayout188.xml"/><Relationship Id="rId89" Type="http://schemas.openxmlformats.org/officeDocument/2006/relationships/slideLayout" Target="../slideLayouts/slideLayout193.xml"/><Relationship Id="rId16" Type="http://schemas.openxmlformats.org/officeDocument/2006/relationships/slideLayout" Target="../slideLayouts/slideLayout120.xml"/><Relationship Id="rId11" Type="http://schemas.openxmlformats.org/officeDocument/2006/relationships/slideLayout" Target="../slideLayouts/slideLayout115.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53" Type="http://schemas.openxmlformats.org/officeDocument/2006/relationships/slideLayout" Target="../slideLayouts/slideLayout157.xml"/><Relationship Id="rId58" Type="http://schemas.openxmlformats.org/officeDocument/2006/relationships/slideLayout" Target="../slideLayouts/slideLayout162.xml"/><Relationship Id="rId74" Type="http://schemas.openxmlformats.org/officeDocument/2006/relationships/slideLayout" Target="../slideLayouts/slideLayout178.xml"/><Relationship Id="rId79" Type="http://schemas.openxmlformats.org/officeDocument/2006/relationships/slideLayout" Target="../slideLayouts/slideLayout183.xml"/><Relationship Id="rId5" Type="http://schemas.openxmlformats.org/officeDocument/2006/relationships/slideLayout" Target="../slideLayouts/slideLayout109.xml"/><Relationship Id="rId90" Type="http://schemas.openxmlformats.org/officeDocument/2006/relationships/slideLayout" Target="../slideLayouts/slideLayout194.xml"/><Relationship Id="rId95" Type="http://schemas.openxmlformats.org/officeDocument/2006/relationships/theme" Target="../theme/theme2.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64" Type="http://schemas.openxmlformats.org/officeDocument/2006/relationships/slideLayout" Target="../slideLayouts/slideLayout168.xml"/><Relationship Id="rId69" Type="http://schemas.openxmlformats.org/officeDocument/2006/relationships/slideLayout" Target="../slideLayouts/slideLayout173.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72" Type="http://schemas.openxmlformats.org/officeDocument/2006/relationships/slideLayout" Target="../slideLayouts/slideLayout176.xml"/><Relationship Id="rId80" Type="http://schemas.openxmlformats.org/officeDocument/2006/relationships/slideLayout" Target="../slideLayouts/slideLayout184.xml"/><Relationship Id="rId85" Type="http://schemas.openxmlformats.org/officeDocument/2006/relationships/slideLayout" Target="../slideLayouts/slideLayout189.xml"/><Relationship Id="rId93" Type="http://schemas.openxmlformats.org/officeDocument/2006/relationships/slideLayout" Target="../slideLayouts/slideLayout197.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59" Type="http://schemas.openxmlformats.org/officeDocument/2006/relationships/slideLayout" Target="../slideLayouts/slideLayout163.xml"/><Relationship Id="rId67" Type="http://schemas.openxmlformats.org/officeDocument/2006/relationships/slideLayout" Target="../slideLayouts/slideLayout171.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slideLayout" Target="../slideLayouts/slideLayout158.xml"/><Relationship Id="rId62" Type="http://schemas.openxmlformats.org/officeDocument/2006/relationships/slideLayout" Target="../slideLayouts/slideLayout166.xml"/><Relationship Id="rId70" Type="http://schemas.openxmlformats.org/officeDocument/2006/relationships/slideLayout" Target="../slideLayouts/slideLayout174.xml"/><Relationship Id="rId75" Type="http://schemas.openxmlformats.org/officeDocument/2006/relationships/slideLayout" Target="../slideLayouts/slideLayout179.xml"/><Relationship Id="rId83" Type="http://schemas.openxmlformats.org/officeDocument/2006/relationships/slideLayout" Target="../slideLayouts/slideLayout187.xml"/><Relationship Id="rId88" Type="http://schemas.openxmlformats.org/officeDocument/2006/relationships/slideLayout" Target="../slideLayouts/slideLayout192.xml"/><Relationship Id="rId91" Type="http://schemas.openxmlformats.org/officeDocument/2006/relationships/slideLayout" Target="../slideLayouts/slideLayout19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57" Type="http://schemas.openxmlformats.org/officeDocument/2006/relationships/slideLayout" Target="../slideLayouts/slideLayout161.xml"/><Relationship Id="rId10" Type="http://schemas.openxmlformats.org/officeDocument/2006/relationships/slideLayout" Target="../slideLayouts/slideLayout114.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slideLayout" Target="../slideLayouts/slideLayout156.xml"/><Relationship Id="rId60" Type="http://schemas.openxmlformats.org/officeDocument/2006/relationships/slideLayout" Target="../slideLayouts/slideLayout164.xml"/><Relationship Id="rId65" Type="http://schemas.openxmlformats.org/officeDocument/2006/relationships/slideLayout" Target="../slideLayouts/slideLayout169.xml"/><Relationship Id="rId73" Type="http://schemas.openxmlformats.org/officeDocument/2006/relationships/slideLayout" Target="../slideLayouts/slideLayout177.xml"/><Relationship Id="rId78" Type="http://schemas.openxmlformats.org/officeDocument/2006/relationships/slideLayout" Target="../slideLayouts/slideLayout182.xml"/><Relationship Id="rId81" Type="http://schemas.openxmlformats.org/officeDocument/2006/relationships/slideLayout" Target="../slideLayouts/slideLayout185.xml"/><Relationship Id="rId86" Type="http://schemas.openxmlformats.org/officeDocument/2006/relationships/slideLayout" Target="../slideLayouts/slideLayout190.xml"/><Relationship Id="rId94" Type="http://schemas.openxmlformats.org/officeDocument/2006/relationships/slideLayout" Target="../slideLayouts/slideLayout198.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9" Type="http://schemas.openxmlformats.org/officeDocument/2006/relationships/slideLayout" Target="../slideLayouts/slideLayout143.xml"/><Relationship Id="rId34" Type="http://schemas.openxmlformats.org/officeDocument/2006/relationships/slideLayout" Target="../slideLayouts/slideLayout138.xml"/><Relationship Id="rId50" Type="http://schemas.openxmlformats.org/officeDocument/2006/relationships/slideLayout" Target="../slideLayouts/slideLayout154.xml"/><Relationship Id="rId55" Type="http://schemas.openxmlformats.org/officeDocument/2006/relationships/slideLayout" Target="../slideLayouts/slideLayout159.xml"/><Relationship Id="rId76" Type="http://schemas.openxmlformats.org/officeDocument/2006/relationships/slideLayout" Target="../slideLayouts/slideLayout180.xml"/><Relationship Id="rId7" Type="http://schemas.openxmlformats.org/officeDocument/2006/relationships/slideLayout" Target="../slideLayouts/slideLayout111.xml"/><Relationship Id="rId71" Type="http://schemas.openxmlformats.org/officeDocument/2006/relationships/slideLayout" Target="../slideLayouts/slideLayout175.xml"/><Relationship Id="rId92" Type="http://schemas.openxmlformats.org/officeDocument/2006/relationships/slideLayout" Target="../slideLayouts/slideLayout196.xml"/><Relationship Id="rId2" Type="http://schemas.openxmlformats.org/officeDocument/2006/relationships/slideLayout" Target="../slideLayouts/slideLayout106.xml"/><Relationship Id="rId29" Type="http://schemas.openxmlformats.org/officeDocument/2006/relationships/slideLayout" Target="../slideLayouts/slideLayout133.xml"/><Relationship Id="rId24" Type="http://schemas.openxmlformats.org/officeDocument/2006/relationships/slideLayout" Target="../slideLayouts/slideLayout128.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66" Type="http://schemas.openxmlformats.org/officeDocument/2006/relationships/slideLayout" Target="../slideLayouts/slideLayout170.xml"/><Relationship Id="rId87" Type="http://schemas.openxmlformats.org/officeDocument/2006/relationships/slideLayout" Target="../slideLayouts/slideLayout191.xml"/><Relationship Id="rId61" Type="http://schemas.openxmlformats.org/officeDocument/2006/relationships/slideLayout" Target="../slideLayouts/slideLayout165.xml"/><Relationship Id="rId82" Type="http://schemas.openxmlformats.org/officeDocument/2006/relationships/slideLayout" Target="../slideLayouts/slideLayout186.xml"/><Relationship Id="rId19" Type="http://schemas.openxmlformats.org/officeDocument/2006/relationships/slideLayout" Target="../slideLayouts/slideLayout123.xml"/><Relationship Id="rId14" Type="http://schemas.openxmlformats.org/officeDocument/2006/relationships/slideLayout" Target="../slideLayouts/slideLayout118.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56" Type="http://schemas.openxmlformats.org/officeDocument/2006/relationships/slideLayout" Target="../slideLayouts/slideLayout160.xml"/><Relationship Id="rId77" Type="http://schemas.openxmlformats.org/officeDocument/2006/relationships/slideLayout" Target="../slideLayouts/slideLayout181.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315.xml"/><Relationship Id="rId21" Type="http://schemas.openxmlformats.org/officeDocument/2006/relationships/slideLayout" Target="../slideLayouts/slideLayout219.xml"/><Relationship Id="rId42" Type="http://schemas.openxmlformats.org/officeDocument/2006/relationships/slideLayout" Target="../slideLayouts/slideLayout240.xml"/><Relationship Id="rId63" Type="http://schemas.openxmlformats.org/officeDocument/2006/relationships/slideLayout" Target="../slideLayouts/slideLayout261.xml"/><Relationship Id="rId84" Type="http://schemas.openxmlformats.org/officeDocument/2006/relationships/slideLayout" Target="../slideLayouts/slideLayout282.xml"/><Relationship Id="rId16" Type="http://schemas.openxmlformats.org/officeDocument/2006/relationships/slideLayout" Target="../slideLayouts/slideLayout214.xml"/><Relationship Id="rId107" Type="http://schemas.openxmlformats.org/officeDocument/2006/relationships/slideLayout" Target="../slideLayouts/slideLayout305.xml"/><Relationship Id="rId11" Type="http://schemas.openxmlformats.org/officeDocument/2006/relationships/slideLayout" Target="../slideLayouts/slideLayout209.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53" Type="http://schemas.openxmlformats.org/officeDocument/2006/relationships/slideLayout" Target="../slideLayouts/slideLayout251.xml"/><Relationship Id="rId58" Type="http://schemas.openxmlformats.org/officeDocument/2006/relationships/slideLayout" Target="../slideLayouts/slideLayout256.xml"/><Relationship Id="rId74" Type="http://schemas.openxmlformats.org/officeDocument/2006/relationships/slideLayout" Target="../slideLayouts/slideLayout272.xml"/><Relationship Id="rId79" Type="http://schemas.openxmlformats.org/officeDocument/2006/relationships/slideLayout" Target="../slideLayouts/slideLayout277.xml"/><Relationship Id="rId102" Type="http://schemas.openxmlformats.org/officeDocument/2006/relationships/slideLayout" Target="../slideLayouts/slideLayout300.xml"/><Relationship Id="rId123" Type="http://schemas.openxmlformats.org/officeDocument/2006/relationships/slideLayout" Target="../slideLayouts/slideLayout321.xml"/><Relationship Id="rId128" Type="http://schemas.openxmlformats.org/officeDocument/2006/relationships/slideLayout" Target="../slideLayouts/slideLayout326.xml"/><Relationship Id="rId5" Type="http://schemas.openxmlformats.org/officeDocument/2006/relationships/slideLayout" Target="../slideLayouts/slideLayout203.xml"/><Relationship Id="rId90" Type="http://schemas.openxmlformats.org/officeDocument/2006/relationships/slideLayout" Target="../slideLayouts/slideLayout288.xml"/><Relationship Id="rId95" Type="http://schemas.openxmlformats.org/officeDocument/2006/relationships/slideLayout" Target="../slideLayouts/slideLayout293.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43" Type="http://schemas.openxmlformats.org/officeDocument/2006/relationships/slideLayout" Target="../slideLayouts/slideLayout241.xml"/><Relationship Id="rId48" Type="http://schemas.openxmlformats.org/officeDocument/2006/relationships/slideLayout" Target="../slideLayouts/slideLayout246.xml"/><Relationship Id="rId64" Type="http://schemas.openxmlformats.org/officeDocument/2006/relationships/slideLayout" Target="../slideLayouts/slideLayout262.xml"/><Relationship Id="rId69" Type="http://schemas.openxmlformats.org/officeDocument/2006/relationships/slideLayout" Target="../slideLayouts/slideLayout267.xml"/><Relationship Id="rId113" Type="http://schemas.openxmlformats.org/officeDocument/2006/relationships/slideLayout" Target="../slideLayouts/slideLayout311.xml"/><Relationship Id="rId118" Type="http://schemas.openxmlformats.org/officeDocument/2006/relationships/slideLayout" Target="../slideLayouts/slideLayout316.xml"/><Relationship Id="rId134" Type="http://schemas.openxmlformats.org/officeDocument/2006/relationships/theme" Target="../theme/theme3.xml"/><Relationship Id="rId80" Type="http://schemas.openxmlformats.org/officeDocument/2006/relationships/slideLayout" Target="../slideLayouts/slideLayout278.xml"/><Relationship Id="rId85" Type="http://schemas.openxmlformats.org/officeDocument/2006/relationships/slideLayout" Target="../slideLayouts/slideLayout283.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33" Type="http://schemas.openxmlformats.org/officeDocument/2006/relationships/slideLayout" Target="../slideLayouts/slideLayout231.xml"/><Relationship Id="rId38" Type="http://schemas.openxmlformats.org/officeDocument/2006/relationships/slideLayout" Target="../slideLayouts/slideLayout236.xml"/><Relationship Id="rId59" Type="http://schemas.openxmlformats.org/officeDocument/2006/relationships/slideLayout" Target="../slideLayouts/slideLayout257.xml"/><Relationship Id="rId103" Type="http://schemas.openxmlformats.org/officeDocument/2006/relationships/slideLayout" Target="../slideLayouts/slideLayout301.xml"/><Relationship Id="rId108" Type="http://schemas.openxmlformats.org/officeDocument/2006/relationships/slideLayout" Target="../slideLayouts/slideLayout306.xml"/><Relationship Id="rId124" Type="http://schemas.openxmlformats.org/officeDocument/2006/relationships/slideLayout" Target="../slideLayouts/slideLayout322.xml"/><Relationship Id="rId129" Type="http://schemas.openxmlformats.org/officeDocument/2006/relationships/slideLayout" Target="../slideLayouts/slideLayout327.xml"/><Relationship Id="rId54" Type="http://schemas.openxmlformats.org/officeDocument/2006/relationships/slideLayout" Target="../slideLayouts/slideLayout252.xml"/><Relationship Id="rId70" Type="http://schemas.openxmlformats.org/officeDocument/2006/relationships/slideLayout" Target="../slideLayouts/slideLayout268.xml"/><Relationship Id="rId75" Type="http://schemas.openxmlformats.org/officeDocument/2006/relationships/slideLayout" Target="../slideLayouts/slideLayout273.xml"/><Relationship Id="rId91" Type="http://schemas.openxmlformats.org/officeDocument/2006/relationships/slideLayout" Target="../slideLayouts/slideLayout289.xml"/><Relationship Id="rId96" Type="http://schemas.openxmlformats.org/officeDocument/2006/relationships/slideLayout" Target="../slideLayouts/slideLayout2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49" Type="http://schemas.openxmlformats.org/officeDocument/2006/relationships/slideLayout" Target="../slideLayouts/slideLayout247.xml"/><Relationship Id="rId114" Type="http://schemas.openxmlformats.org/officeDocument/2006/relationships/slideLayout" Target="../slideLayouts/slideLayout312.xml"/><Relationship Id="rId119" Type="http://schemas.openxmlformats.org/officeDocument/2006/relationships/slideLayout" Target="../slideLayouts/slideLayout317.xml"/><Relationship Id="rId44" Type="http://schemas.openxmlformats.org/officeDocument/2006/relationships/slideLayout" Target="../slideLayouts/slideLayout242.xml"/><Relationship Id="rId60" Type="http://schemas.openxmlformats.org/officeDocument/2006/relationships/slideLayout" Target="../slideLayouts/slideLayout258.xml"/><Relationship Id="rId65" Type="http://schemas.openxmlformats.org/officeDocument/2006/relationships/slideLayout" Target="../slideLayouts/slideLayout263.xml"/><Relationship Id="rId81" Type="http://schemas.openxmlformats.org/officeDocument/2006/relationships/slideLayout" Target="../slideLayouts/slideLayout279.xml"/><Relationship Id="rId86" Type="http://schemas.openxmlformats.org/officeDocument/2006/relationships/slideLayout" Target="../slideLayouts/slideLayout284.xml"/><Relationship Id="rId130" Type="http://schemas.openxmlformats.org/officeDocument/2006/relationships/slideLayout" Target="../slideLayouts/slideLayout328.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9" Type="http://schemas.openxmlformats.org/officeDocument/2006/relationships/slideLayout" Target="../slideLayouts/slideLayout237.xml"/><Relationship Id="rId109" Type="http://schemas.openxmlformats.org/officeDocument/2006/relationships/slideLayout" Target="../slideLayouts/slideLayout307.xml"/><Relationship Id="rId34" Type="http://schemas.openxmlformats.org/officeDocument/2006/relationships/slideLayout" Target="../slideLayouts/slideLayout232.xml"/><Relationship Id="rId50" Type="http://schemas.openxmlformats.org/officeDocument/2006/relationships/slideLayout" Target="../slideLayouts/slideLayout248.xml"/><Relationship Id="rId55" Type="http://schemas.openxmlformats.org/officeDocument/2006/relationships/slideLayout" Target="../slideLayouts/slideLayout253.xml"/><Relationship Id="rId76" Type="http://schemas.openxmlformats.org/officeDocument/2006/relationships/slideLayout" Target="../slideLayouts/slideLayout274.xml"/><Relationship Id="rId97" Type="http://schemas.openxmlformats.org/officeDocument/2006/relationships/slideLayout" Target="../slideLayouts/slideLayout295.xml"/><Relationship Id="rId104" Type="http://schemas.openxmlformats.org/officeDocument/2006/relationships/slideLayout" Target="../slideLayouts/slideLayout302.xml"/><Relationship Id="rId120" Type="http://schemas.openxmlformats.org/officeDocument/2006/relationships/slideLayout" Target="../slideLayouts/slideLayout318.xml"/><Relationship Id="rId125" Type="http://schemas.openxmlformats.org/officeDocument/2006/relationships/slideLayout" Target="../slideLayouts/slideLayout323.xml"/><Relationship Id="rId7" Type="http://schemas.openxmlformats.org/officeDocument/2006/relationships/slideLayout" Target="../slideLayouts/slideLayout205.xml"/><Relationship Id="rId71" Type="http://schemas.openxmlformats.org/officeDocument/2006/relationships/slideLayout" Target="../slideLayouts/slideLayout269.xml"/><Relationship Id="rId92" Type="http://schemas.openxmlformats.org/officeDocument/2006/relationships/slideLayout" Target="../slideLayouts/slideLayout290.xml"/><Relationship Id="rId2" Type="http://schemas.openxmlformats.org/officeDocument/2006/relationships/slideLayout" Target="../slideLayouts/slideLayout200.xml"/><Relationship Id="rId29" Type="http://schemas.openxmlformats.org/officeDocument/2006/relationships/slideLayout" Target="../slideLayouts/slideLayout227.xml"/><Relationship Id="rId24" Type="http://schemas.openxmlformats.org/officeDocument/2006/relationships/slideLayout" Target="../slideLayouts/slideLayout222.xml"/><Relationship Id="rId40" Type="http://schemas.openxmlformats.org/officeDocument/2006/relationships/slideLayout" Target="../slideLayouts/slideLayout238.xml"/><Relationship Id="rId45" Type="http://schemas.openxmlformats.org/officeDocument/2006/relationships/slideLayout" Target="../slideLayouts/slideLayout243.xml"/><Relationship Id="rId66" Type="http://schemas.openxmlformats.org/officeDocument/2006/relationships/slideLayout" Target="../slideLayouts/slideLayout264.xml"/><Relationship Id="rId87" Type="http://schemas.openxmlformats.org/officeDocument/2006/relationships/slideLayout" Target="../slideLayouts/slideLayout285.xml"/><Relationship Id="rId110" Type="http://schemas.openxmlformats.org/officeDocument/2006/relationships/slideLayout" Target="../slideLayouts/slideLayout308.xml"/><Relationship Id="rId115" Type="http://schemas.openxmlformats.org/officeDocument/2006/relationships/slideLayout" Target="../slideLayouts/slideLayout313.xml"/><Relationship Id="rId131" Type="http://schemas.openxmlformats.org/officeDocument/2006/relationships/slideLayout" Target="../slideLayouts/slideLayout329.xml"/><Relationship Id="rId61" Type="http://schemas.openxmlformats.org/officeDocument/2006/relationships/slideLayout" Target="../slideLayouts/slideLayout259.xml"/><Relationship Id="rId82" Type="http://schemas.openxmlformats.org/officeDocument/2006/relationships/slideLayout" Target="../slideLayouts/slideLayout280.xml"/><Relationship Id="rId19" Type="http://schemas.openxmlformats.org/officeDocument/2006/relationships/slideLayout" Target="../slideLayouts/slideLayout217.xml"/><Relationship Id="rId14" Type="http://schemas.openxmlformats.org/officeDocument/2006/relationships/slideLayout" Target="../slideLayouts/slideLayout212.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56" Type="http://schemas.openxmlformats.org/officeDocument/2006/relationships/slideLayout" Target="../slideLayouts/slideLayout254.xml"/><Relationship Id="rId77" Type="http://schemas.openxmlformats.org/officeDocument/2006/relationships/slideLayout" Target="../slideLayouts/slideLayout275.xml"/><Relationship Id="rId100" Type="http://schemas.openxmlformats.org/officeDocument/2006/relationships/slideLayout" Target="../slideLayouts/slideLayout298.xml"/><Relationship Id="rId105" Type="http://schemas.openxmlformats.org/officeDocument/2006/relationships/slideLayout" Target="../slideLayouts/slideLayout303.xml"/><Relationship Id="rId126" Type="http://schemas.openxmlformats.org/officeDocument/2006/relationships/slideLayout" Target="../slideLayouts/slideLayout324.xml"/><Relationship Id="rId8" Type="http://schemas.openxmlformats.org/officeDocument/2006/relationships/slideLayout" Target="../slideLayouts/slideLayout206.xml"/><Relationship Id="rId51" Type="http://schemas.openxmlformats.org/officeDocument/2006/relationships/slideLayout" Target="../slideLayouts/slideLayout249.xml"/><Relationship Id="rId72" Type="http://schemas.openxmlformats.org/officeDocument/2006/relationships/slideLayout" Target="../slideLayouts/slideLayout270.xml"/><Relationship Id="rId93" Type="http://schemas.openxmlformats.org/officeDocument/2006/relationships/slideLayout" Target="../slideLayouts/slideLayout291.xml"/><Relationship Id="rId98" Type="http://schemas.openxmlformats.org/officeDocument/2006/relationships/slideLayout" Target="../slideLayouts/slideLayout296.xml"/><Relationship Id="rId121" Type="http://schemas.openxmlformats.org/officeDocument/2006/relationships/slideLayout" Target="../slideLayouts/slideLayout319.xml"/><Relationship Id="rId3" Type="http://schemas.openxmlformats.org/officeDocument/2006/relationships/slideLayout" Target="../slideLayouts/slideLayout201.xml"/><Relationship Id="rId25" Type="http://schemas.openxmlformats.org/officeDocument/2006/relationships/slideLayout" Target="../slideLayouts/slideLayout223.xml"/><Relationship Id="rId46" Type="http://schemas.openxmlformats.org/officeDocument/2006/relationships/slideLayout" Target="../slideLayouts/slideLayout244.xml"/><Relationship Id="rId67" Type="http://schemas.openxmlformats.org/officeDocument/2006/relationships/slideLayout" Target="../slideLayouts/slideLayout265.xml"/><Relationship Id="rId116" Type="http://schemas.openxmlformats.org/officeDocument/2006/relationships/slideLayout" Target="../slideLayouts/slideLayout314.xml"/><Relationship Id="rId20" Type="http://schemas.openxmlformats.org/officeDocument/2006/relationships/slideLayout" Target="../slideLayouts/slideLayout218.xml"/><Relationship Id="rId41" Type="http://schemas.openxmlformats.org/officeDocument/2006/relationships/slideLayout" Target="../slideLayouts/slideLayout239.xml"/><Relationship Id="rId62" Type="http://schemas.openxmlformats.org/officeDocument/2006/relationships/slideLayout" Target="../slideLayouts/slideLayout260.xml"/><Relationship Id="rId83" Type="http://schemas.openxmlformats.org/officeDocument/2006/relationships/slideLayout" Target="../slideLayouts/slideLayout281.xml"/><Relationship Id="rId88" Type="http://schemas.openxmlformats.org/officeDocument/2006/relationships/slideLayout" Target="../slideLayouts/slideLayout286.xml"/><Relationship Id="rId111" Type="http://schemas.openxmlformats.org/officeDocument/2006/relationships/slideLayout" Target="../slideLayouts/slideLayout309.xml"/><Relationship Id="rId132" Type="http://schemas.openxmlformats.org/officeDocument/2006/relationships/slideLayout" Target="../slideLayouts/slideLayout330.xml"/><Relationship Id="rId15" Type="http://schemas.openxmlformats.org/officeDocument/2006/relationships/slideLayout" Target="../slideLayouts/slideLayout213.xml"/><Relationship Id="rId36" Type="http://schemas.openxmlformats.org/officeDocument/2006/relationships/slideLayout" Target="../slideLayouts/slideLayout234.xml"/><Relationship Id="rId57" Type="http://schemas.openxmlformats.org/officeDocument/2006/relationships/slideLayout" Target="../slideLayouts/slideLayout255.xml"/><Relationship Id="rId106" Type="http://schemas.openxmlformats.org/officeDocument/2006/relationships/slideLayout" Target="../slideLayouts/slideLayout304.xml"/><Relationship Id="rId127" Type="http://schemas.openxmlformats.org/officeDocument/2006/relationships/slideLayout" Target="../slideLayouts/slideLayout325.xml"/><Relationship Id="rId10" Type="http://schemas.openxmlformats.org/officeDocument/2006/relationships/slideLayout" Target="../slideLayouts/slideLayout208.xml"/><Relationship Id="rId31" Type="http://schemas.openxmlformats.org/officeDocument/2006/relationships/slideLayout" Target="../slideLayouts/slideLayout229.xml"/><Relationship Id="rId52" Type="http://schemas.openxmlformats.org/officeDocument/2006/relationships/slideLayout" Target="../slideLayouts/slideLayout250.xml"/><Relationship Id="rId73" Type="http://schemas.openxmlformats.org/officeDocument/2006/relationships/slideLayout" Target="../slideLayouts/slideLayout271.xml"/><Relationship Id="rId78" Type="http://schemas.openxmlformats.org/officeDocument/2006/relationships/slideLayout" Target="../slideLayouts/slideLayout276.xml"/><Relationship Id="rId94" Type="http://schemas.openxmlformats.org/officeDocument/2006/relationships/slideLayout" Target="../slideLayouts/slideLayout292.xml"/><Relationship Id="rId99" Type="http://schemas.openxmlformats.org/officeDocument/2006/relationships/slideLayout" Target="../slideLayouts/slideLayout297.xml"/><Relationship Id="rId101" Type="http://schemas.openxmlformats.org/officeDocument/2006/relationships/slideLayout" Target="../slideLayouts/slideLayout299.xml"/><Relationship Id="rId122" Type="http://schemas.openxmlformats.org/officeDocument/2006/relationships/slideLayout" Target="../slideLayouts/slideLayout320.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26" Type="http://schemas.openxmlformats.org/officeDocument/2006/relationships/slideLayout" Target="../slideLayouts/slideLayout224.xml"/><Relationship Id="rId47" Type="http://schemas.openxmlformats.org/officeDocument/2006/relationships/slideLayout" Target="../slideLayouts/slideLayout245.xml"/><Relationship Id="rId68" Type="http://schemas.openxmlformats.org/officeDocument/2006/relationships/slideLayout" Target="../slideLayouts/slideLayout266.xml"/><Relationship Id="rId89" Type="http://schemas.openxmlformats.org/officeDocument/2006/relationships/slideLayout" Target="../slideLayouts/slideLayout287.xml"/><Relationship Id="rId112" Type="http://schemas.openxmlformats.org/officeDocument/2006/relationships/slideLayout" Target="../slideLayouts/slideLayout310.xml"/><Relationship Id="rId133" Type="http://schemas.openxmlformats.org/officeDocument/2006/relationships/slideLayout" Target="../slideLayouts/slideLayout33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357.xml"/><Relationship Id="rId21" Type="http://schemas.openxmlformats.org/officeDocument/2006/relationships/slideLayout" Target="../slideLayouts/slideLayout352.xml"/><Relationship Id="rId42" Type="http://schemas.openxmlformats.org/officeDocument/2006/relationships/slideLayout" Target="../slideLayouts/slideLayout373.xml"/><Relationship Id="rId47" Type="http://schemas.openxmlformats.org/officeDocument/2006/relationships/slideLayout" Target="../slideLayouts/slideLayout378.xml"/><Relationship Id="rId63" Type="http://schemas.openxmlformats.org/officeDocument/2006/relationships/slideLayout" Target="../slideLayouts/slideLayout394.xml"/><Relationship Id="rId68" Type="http://schemas.openxmlformats.org/officeDocument/2006/relationships/slideLayout" Target="../slideLayouts/slideLayout399.xml"/><Relationship Id="rId84" Type="http://schemas.openxmlformats.org/officeDocument/2006/relationships/slideLayout" Target="../slideLayouts/slideLayout415.xml"/><Relationship Id="rId89" Type="http://schemas.openxmlformats.org/officeDocument/2006/relationships/theme" Target="../theme/theme4.xml"/><Relationship Id="rId16" Type="http://schemas.openxmlformats.org/officeDocument/2006/relationships/slideLayout" Target="../slideLayouts/slideLayout347.xml"/><Relationship Id="rId11" Type="http://schemas.openxmlformats.org/officeDocument/2006/relationships/slideLayout" Target="../slideLayouts/slideLayout342.xml"/><Relationship Id="rId32" Type="http://schemas.openxmlformats.org/officeDocument/2006/relationships/slideLayout" Target="../slideLayouts/slideLayout363.xml"/><Relationship Id="rId37" Type="http://schemas.openxmlformats.org/officeDocument/2006/relationships/slideLayout" Target="../slideLayouts/slideLayout368.xml"/><Relationship Id="rId53" Type="http://schemas.openxmlformats.org/officeDocument/2006/relationships/slideLayout" Target="../slideLayouts/slideLayout384.xml"/><Relationship Id="rId58" Type="http://schemas.openxmlformats.org/officeDocument/2006/relationships/slideLayout" Target="../slideLayouts/slideLayout389.xml"/><Relationship Id="rId74" Type="http://schemas.openxmlformats.org/officeDocument/2006/relationships/slideLayout" Target="../slideLayouts/slideLayout405.xml"/><Relationship Id="rId79" Type="http://schemas.openxmlformats.org/officeDocument/2006/relationships/slideLayout" Target="../slideLayouts/slideLayout410.xml"/><Relationship Id="rId5" Type="http://schemas.openxmlformats.org/officeDocument/2006/relationships/slideLayout" Target="../slideLayouts/slideLayout336.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 Id="rId35" Type="http://schemas.openxmlformats.org/officeDocument/2006/relationships/slideLayout" Target="../slideLayouts/slideLayout366.xml"/><Relationship Id="rId43" Type="http://schemas.openxmlformats.org/officeDocument/2006/relationships/slideLayout" Target="../slideLayouts/slideLayout374.xml"/><Relationship Id="rId48" Type="http://schemas.openxmlformats.org/officeDocument/2006/relationships/slideLayout" Target="../slideLayouts/slideLayout379.xml"/><Relationship Id="rId56" Type="http://schemas.openxmlformats.org/officeDocument/2006/relationships/slideLayout" Target="../slideLayouts/slideLayout387.xml"/><Relationship Id="rId64" Type="http://schemas.openxmlformats.org/officeDocument/2006/relationships/slideLayout" Target="../slideLayouts/slideLayout395.xml"/><Relationship Id="rId69" Type="http://schemas.openxmlformats.org/officeDocument/2006/relationships/slideLayout" Target="../slideLayouts/slideLayout400.xml"/><Relationship Id="rId77" Type="http://schemas.openxmlformats.org/officeDocument/2006/relationships/slideLayout" Target="../slideLayouts/slideLayout408.xml"/><Relationship Id="rId8" Type="http://schemas.openxmlformats.org/officeDocument/2006/relationships/slideLayout" Target="../slideLayouts/slideLayout339.xml"/><Relationship Id="rId51" Type="http://schemas.openxmlformats.org/officeDocument/2006/relationships/slideLayout" Target="../slideLayouts/slideLayout382.xml"/><Relationship Id="rId72" Type="http://schemas.openxmlformats.org/officeDocument/2006/relationships/slideLayout" Target="../slideLayouts/slideLayout403.xml"/><Relationship Id="rId80" Type="http://schemas.openxmlformats.org/officeDocument/2006/relationships/slideLayout" Target="../slideLayouts/slideLayout411.xml"/><Relationship Id="rId85" Type="http://schemas.openxmlformats.org/officeDocument/2006/relationships/slideLayout" Target="../slideLayouts/slideLayout416.xml"/><Relationship Id="rId3" Type="http://schemas.openxmlformats.org/officeDocument/2006/relationships/slideLayout" Target="../slideLayouts/slideLayout334.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slideLayout" Target="../slideLayouts/slideLayout364.xml"/><Relationship Id="rId38" Type="http://schemas.openxmlformats.org/officeDocument/2006/relationships/slideLayout" Target="../slideLayouts/slideLayout369.xml"/><Relationship Id="rId46" Type="http://schemas.openxmlformats.org/officeDocument/2006/relationships/slideLayout" Target="../slideLayouts/slideLayout377.xml"/><Relationship Id="rId59" Type="http://schemas.openxmlformats.org/officeDocument/2006/relationships/slideLayout" Target="../slideLayouts/slideLayout390.xml"/><Relationship Id="rId67" Type="http://schemas.openxmlformats.org/officeDocument/2006/relationships/slideLayout" Target="../slideLayouts/slideLayout398.xml"/><Relationship Id="rId20" Type="http://schemas.openxmlformats.org/officeDocument/2006/relationships/slideLayout" Target="../slideLayouts/slideLayout351.xml"/><Relationship Id="rId41" Type="http://schemas.openxmlformats.org/officeDocument/2006/relationships/slideLayout" Target="../slideLayouts/slideLayout372.xml"/><Relationship Id="rId54" Type="http://schemas.openxmlformats.org/officeDocument/2006/relationships/slideLayout" Target="../slideLayouts/slideLayout385.xml"/><Relationship Id="rId62" Type="http://schemas.openxmlformats.org/officeDocument/2006/relationships/slideLayout" Target="../slideLayouts/slideLayout393.xml"/><Relationship Id="rId70" Type="http://schemas.openxmlformats.org/officeDocument/2006/relationships/slideLayout" Target="../slideLayouts/slideLayout401.xml"/><Relationship Id="rId75" Type="http://schemas.openxmlformats.org/officeDocument/2006/relationships/slideLayout" Target="../slideLayouts/slideLayout406.xml"/><Relationship Id="rId83" Type="http://schemas.openxmlformats.org/officeDocument/2006/relationships/slideLayout" Target="../slideLayouts/slideLayout414.xml"/><Relationship Id="rId88" Type="http://schemas.openxmlformats.org/officeDocument/2006/relationships/slideLayout" Target="../slideLayouts/slideLayout419.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36" Type="http://schemas.openxmlformats.org/officeDocument/2006/relationships/slideLayout" Target="../slideLayouts/slideLayout367.xml"/><Relationship Id="rId49" Type="http://schemas.openxmlformats.org/officeDocument/2006/relationships/slideLayout" Target="../slideLayouts/slideLayout380.xml"/><Relationship Id="rId57" Type="http://schemas.openxmlformats.org/officeDocument/2006/relationships/slideLayout" Target="../slideLayouts/slideLayout388.xml"/><Relationship Id="rId10" Type="http://schemas.openxmlformats.org/officeDocument/2006/relationships/slideLayout" Target="../slideLayouts/slideLayout341.xml"/><Relationship Id="rId31" Type="http://schemas.openxmlformats.org/officeDocument/2006/relationships/slideLayout" Target="../slideLayouts/slideLayout362.xml"/><Relationship Id="rId44" Type="http://schemas.openxmlformats.org/officeDocument/2006/relationships/slideLayout" Target="../slideLayouts/slideLayout375.xml"/><Relationship Id="rId52" Type="http://schemas.openxmlformats.org/officeDocument/2006/relationships/slideLayout" Target="../slideLayouts/slideLayout383.xml"/><Relationship Id="rId60" Type="http://schemas.openxmlformats.org/officeDocument/2006/relationships/slideLayout" Target="../slideLayouts/slideLayout391.xml"/><Relationship Id="rId65" Type="http://schemas.openxmlformats.org/officeDocument/2006/relationships/slideLayout" Target="../slideLayouts/slideLayout396.xml"/><Relationship Id="rId73" Type="http://schemas.openxmlformats.org/officeDocument/2006/relationships/slideLayout" Target="../slideLayouts/slideLayout404.xml"/><Relationship Id="rId78" Type="http://schemas.openxmlformats.org/officeDocument/2006/relationships/slideLayout" Target="../slideLayouts/slideLayout409.xml"/><Relationship Id="rId81" Type="http://schemas.openxmlformats.org/officeDocument/2006/relationships/slideLayout" Target="../slideLayouts/slideLayout412.xml"/><Relationship Id="rId86" Type="http://schemas.openxmlformats.org/officeDocument/2006/relationships/slideLayout" Target="../slideLayouts/slideLayout417.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9" Type="http://schemas.openxmlformats.org/officeDocument/2006/relationships/slideLayout" Target="../slideLayouts/slideLayout370.xml"/><Relationship Id="rId34" Type="http://schemas.openxmlformats.org/officeDocument/2006/relationships/slideLayout" Target="../slideLayouts/slideLayout365.xml"/><Relationship Id="rId50" Type="http://schemas.openxmlformats.org/officeDocument/2006/relationships/slideLayout" Target="../slideLayouts/slideLayout381.xml"/><Relationship Id="rId55" Type="http://schemas.openxmlformats.org/officeDocument/2006/relationships/slideLayout" Target="../slideLayouts/slideLayout386.xml"/><Relationship Id="rId76" Type="http://schemas.openxmlformats.org/officeDocument/2006/relationships/slideLayout" Target="../slideLayouts/slideLayout407.xml"/><Relationship Id="rId7" Type="http://schemas.openxmlformats.org/officeDocument/2006/relationships/slideLayout" Target="../slideLayouts/slideLayout338.xml"/><Relationship Id="rId71" Type="http://schemas.openxmlformats.org/officeDocument/2006/relationships/slideLayout" Target="../slideLayouts/slideLayout402.xml"/><Relationship Id="rId2" Type="http://schemas.openxmlformats.org/officeDocument/2006/relationships/slideLayout" Target="../slideLayouts/slideLayout333.xml"/><Relationship Id="rId29" Type="http://schemas.openxmlformats.org/officeDocument/2006/relationships/slideLayout" Target="../slideLayouts/slideLayout360.xml"/><Relationship Id="rId24" Type="http://schemas.openxmlformats.org/officeDocument/2006/relationships/slideLayout" Target="../slideLayouts/slideLayout355.xml"/><Relationship Id="rId40" Type="http://schemas.openxmlformats.org/officeDocument/2006/relationships/slideLayout" Target="../slideLayouts/slideLayout371.xml"/><Relationship Id="rId45" Type="http://schemas.openxmlformats.org/officeDocument/2006/relationships/slideLayout" Target="../slideLayouts/slideLayout376.xml"/><Relationship Id="rId66" Type="http://schemas.openxmlformats.org/officeDocument/2006/relationships/slideLayout" Target="../slideLayouts/slideLayout397.xml"/><Relationship Id="rId87" Type="http://schemas.openxmlformats.org/officeDocument/2006/relationships/slideLayout" Target="../slideLayouts/slideLayout418.xml"/><Relationship Id="rId61" Type="http://schemas.openxmlformats.org/officeDocument/2006/relationships/slideLayout" Target="../slideLayouts/slideLayout392.xml"/><Relationship Id="rId82" Type="http://schemas.openxmlformats.org/officeDocument/2006/relationships/slideLayout" Target="../slideLayouts/slideLayout413.xml"/><Relationship Id="rId19" Type="http://schemas.openxmlformats.org/officeDocument/2006/relationships/slideLayout" Target="../slideLayouts/slideLayout35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445.xml"/><Relationship Id="rId21" Type="http://schemas.openxmlformats.org/officeDocument/2006/relationships/slideLayout" Target="../slideLayouts/slideLayout440.xml"/><Relationship Id="rId42" Type="http://schemas.openxmlformats.org/officeDocument/2006/relationships/slideLayout" Target="../slideLayouts/slideLayout461.xml"/><Relationship Id="rId47" Type="http://schemas.openxmlformats.org/officeDocument/2006/relationships/slideLayout" Target="../slideLayouts/slideLayout466.xml"/><Relationship Id="rId63" Type="http://schemas.openxmlformats.org/officeDocument/2006/relationships/slideLayout" Target="../slideLayouts/slideLayout482.xml"/><Relationship Id="rId68" Type="http://schemas.openxmlformats.org/officeDocument/2006/relationships/slideLayout" Target="../slideLayouts/slideLayout487.xml"/><Relationship Id="rId84" Type="http://schemas.openxmlformats.org/officeDocument/2006/relationships/slideLayout" Target="../slideLayouts/slideLayout503.xml"/><Relationship Id="rId89" Type="http://schemas.openxmlformats.org/officeDocument/2006/relationships/slideLayout" Target="../slideLayouts/slideLayout508.xml"/><Relationship Id="rId16" Type="http://schemas.openxmlformats.org/officeDocument/2006/relationships/slideLayout" Target="../slideLayouts/slideLayout435.xml"/><Relationship Id="rId11" Type="http://schemas.openxmlformats.org/officeDocument/2006/relationships/slideLayout" Target="../slideLayouts/slideLayout430.xml"/><Relationship Id="rId32" Type="http://schemas.openxmlformats.org/officeDocument/2006/relationships/slideLayout" Target="../slideLayouts/slideLayout451.xml"/><Relationship Id="rId37" Type="http://schemas.openxmlformats.org/officeDocument/2006/relationships/slideLayout" Target="../slideLayouts/slideLayout456.xml"/><Relationship Id="rId53" Type="http://schemas.openxmlformats.org/officeDocument/2006/relationships/slideLayout" Target="../slideLayouts/slideLayout472.xml"/><Relationship Id="rId58" Type="http://schemas.openxmlformats.org/officeDocument/2006/relationships/slideLayout" Target="../slideLayouts/slideLayout477.xml"/><Relationship Id="rId74" Type="http://schemas.openxmlformats.org/officeDocument/2006/relationships/slideLayout" Target="../slideLayouts/slideLayout493.xml"/><Relationship Id="rId79" Type="http://schemas.openxmlformats.org/officeDocument/2006/relationships/slideLayout" Target="../slideLayouts/slideLayout498.xml"/><Relationship Id="rId102" Type="http://schemas.openxmlformats.org/officeDocument/2006/relationships/theme" Target="../theme/theme5.xml"/><Relationship Id="rId5" Type="http://schemas.openxmlformats.org/officeDocument/2006/relationships/slideLayout" Target="../slideLayouts/slideLayout424.xml"/><Relationship Id="rId90" Type="http://schemas.openxmlformats.org/officeDocument/2006/relationships/slideLayout" Target="../slideLayouts/slideLayout509.xml"/><Relationship Id="rId95" Type="http://schemas.openxmlformats.org/officeDocument/2006/relationships/slideLayout" Target="../slideLayouts/slideLayout514.xml"/><Relationship Id="rId22" Type="http://schemas.openxmlformats.org/officeDocument/2006/relationships/slideLayout" Target="../slideLayouts/slideLayout441.xml"/><Relationship Id="rId27" Type="http://schemas.openxmlformats.org/officeDocument/2006/relationships/slideLayout" Target="../slideLayouts/slideLayout446.xml"/><Relationship Id="rId43" Type="http://schemas.openxmlformats.org/officeDocument/2006/relationships/slideLayout" Target="../slideLayouts/slideLayout462.xml"/><Relationship Id="rId48" Type="http://schemas.openxmlformats.org/officeDocument/2006/relationships/slideLayout" Target="../slideLayouts/slideLayout467.xml"/><Relationship Id="rId64" Type="http://schemas.openxmlformats.org/officeDocument/2006/relationships/slideLayout" Target="../slideLayouts/slideLayout483.xml"/><Relationship Id="rId69" Type="http://schemas.openxmlformats.org/officeDocument/2006/relationships/slideLayout" Target="../slideLayouts/slideLayout488.xml"/><Relationship Id="rId80" Type="http://schemas.openxmlformats.org/officeDocument/2006/relationships/slideLayout" Target="../slideLayouts/slideLayout499.xml"/><Relationship Id="rId85" Type="http://schemas.openxmlformats.org/officeDocument/2006/relationships/slideLayout" Target="../slideLayouts/slideLayout504.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33" Type="http://schemas.openxmlformats.org/officeDocument/2006/relationships/slideLayout" Target="../slideLayouts/slideLayout452.xml"/><Relationship Id="rId38" Type="http://schemas.openxmlformats.org/officeDocument/2006/relationships/slideLayout" Target="../slideLayouts/slideLayout457.xml"/><Relationship Id="rId46" Type="http://schemas.openxmlformats.org/officeDocument/2006/relationships/slideLayout" Target="../slideLayouts/slideLayout465.xml"/><Relationship Id="rId59" Type="http://schemas.openxmlformats.org/officeDocument/2006/relationships/slideLayout" Target="../slideLayouts/slideLayout478.xml"/><Relationship Id="rId67" Type="http://schemas.openxmlformats.org/officeDocument/2006/relationships/slideLayout" Target="../slideLayouts/slideLayout486.xml"/><Relationship Id="rId20" Type="http://schemas.openxmlformats.org/officeDocument/2006/relationships/slideLayout" Target="../slideLayouts/slideLayout439.xml"/><Relationship Id="rId41" Type="http://schemas.openxmlformats.org/officeDocument/2006/relationships/slideLayout" Target="../slideLayouts/slideLayout460.xml"/><Relationship Id="rId54" Type="http://schemas.openxmlformats.org/officeDocument/2006/relationships/slideLayout" Target="../slideLayouts/slideLayout473.xml"/><Relationship Id="rId62" Type="http://schemas.openxmlformats.org/officeDocument/2006/relationships/slideLayout" Target="../slideLayouts/slideLayout481.xml"/><Relationship Id="rId70" Type="http://schemas.openxmlformats.org/officeDocument/2006/relationships/slideLayout" Target="../slideLayouts/slideLayout489.xml"/><Relationship Id="rId75" Type="http://schemas.openxmlformats.org/officeDocument/2006/relationships/slideLayout" Target="../slideLayouts/slideLayout494.xml"/><Relationship Id="rId83" Type="http://schemas.openxmlformats.org/officeDocument/2006/relationships/slideLayout" Target="../slideLayouts/slideLayout502.xml"/><Relationship Id="rId88" Type="http://schemas.openxmlformats.org/officeDocument/2006/relationships/slideLayout" Target="../slideLayouts/slideLayout507.xml"/><Relationship Id="rId91" Type="http://schemas.openxmlformats.org/officeDocument/2006/relationships/slideLayout" Target="../slideLayouts/slideLayout510.xml"/><Relationship Id="rId96" Type="http://schemas.openxmlformats.org/officeDocument/2006/relationships/slideLayout" Target="../slideLayouts/slideLayout515.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28" Type="http://schemas.openxmlformats.org/officeDocument/2006/relationships/slideLayout" Target="../slideLayouts/slideLayout447.xml"/><Relationship Id="rId36" Type="http://schemas.openxmlformats.org/officeDocument/2006/relationships/slideLayout" Target="../slideLayouts/slideLayout455.xml"/><Relationship Id="rId49" Type="http://schemas.openxmlformats.org/officeDocument/2006/relationships/slideLayout" Target="../slideLayouts/slideLayout468.xml"/><Relationship Id="rId57" Type="http://schemas.openxmlformats.org/officeDocument/2006/relationships/slideLayout" Target="../slideLayouts/slideLayout476.xml"/><Relationship Id="rId10" Type="http://schemas.openxmlformats.org/officeDocument/2006/relationships/slideLayout" Target="../slideLayouts/slideLayout429.xml"/><Relationship Id="rId31" Type="http://schemas.openxmlformats.org/officeDocument/2006/relationships/slideLayout" Target="../slideLayouts/slideLayout450.xml"/><Relationship Id="rId44" Type="http://schemas.openxmlformats.org/officeDocument/2006/relationships/slideLayout" Target="../slideLayouts/slideLayout463.xml"/><Relationship Id="rId52" Type="http://schemas.openxmlformats.org/officeDocument/2006/relationships/slideLayout" Target="../slideLayouts/slideLayout471.xml"/><Relationship Id="rId60" Type="http://schemas.openxmlformats.org/officeDocument/2006/relationships/slideLayout" Target="../slideLayouts/slideLayout479.xml"/><Relationship Id="rId65" Type="http://schemas.openxmlformats.org/officeDocument/2006/relationships/slideLayout" Target="../slideLayouts/slideLayout484.xml"/><Relationship Id="rId73" Type="http://schemas.openxmlformats.org/officeDocument/2006/relationships/slideLayout" Target="../slideLayouts/slideLayout492.xml"/><Relationship Id="rId78" Type="http://schemas.openxmlformats.org/officeDocument/2006/relationships/slideLayout" Target="../slideLayouts/slideLayout497.xml"/><Relationship Id="rId81" Type="http://schemas.openxmlformats.org/officeDocument/2006/relationships/slideLayout" Target="../slideLayouts/slideLayout500.xml"/><Relationship Id="rId86" Type="http://schemas.openxmlformats.org/officeDocument/2006/relationships/slideLayout" Target="../slideLayouts/slideLayout505.xml"/><Relationship Id="rId94" Type="http://schemas.openxmlformats.org/officeDocument/2006/relationships/slideLayout" Target="../slideLayouts/slideLayout513.xml"/><Relationship Id="rId99" Type="http://schemas.openxmlformats.org/officeDocument/2006/relationships/slideLayout" Target="../slideLayouts/slideLayout518.xml"/><Relationship Id="rId101" Type="http://schemas.openxmlformats.org/officeDocument/2006/relationships/slideLayout" Target="../slideLayouts/slideLayout520.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9" Type="http://schemas.openxmlformats.org/officeDocument/2006/relationships/slideLayout" Target="../slideLayouts/slideLayout458.xml"/><Relationship Id="rId34" Type="http://schemas.openxmlformats.org/officeDocument/2006/relationships/slideLayout" Target="../slideLayouts/slideLayout453.xml"/><Relationship Id="rId50" Type="http://schemas.openxmlformats.org/officeDocument/2006/relationships/slideLayout" Target="../slideLayouts/slideLayout469.xml"/><Relationship Id="rId55" Type="http://schemas.openxmlformats.org/officeDocument/2006/relationships/slideLayout" Target="../slideLayouts/slideLayout474.xml"/><Relationship Id="rId76" Type="http://schemas.openxmlformats.org/officeDocument/2006/relationships/slideLayout" Target="../slideLayouts/slideLayout495.xml"/><Relationship Id="rId97" Type="http://schemas.openxmlformats.org/officeDocument/2006/relationships/slideLayout" Target="../slideLayouts/slideLayout516.xml"/><Relationship Id="rId7" Type="http://schemas.openxmlformats.org/officeDocument/2006/relationships/slideLayout" Target="../slideLayouts/slideLayout426.xml"/><Relationship Id="rId71" Type="http://schemas.openxmlformats.org/officeDocument/2006/relationships/slideLayout" Target="../slideLayouts/slideLayout490.xml"/><Relationship Id="rId92" Type="http://schemas.openxmlformats.org/officeDocument/2006/relationships/slideLayout" Target="../slideLayouts/slideLayout511.xml"/><Relationship Id="rId2" Type="http://schemas.openxmlformats.org/officeDocument/2006/relationships/slideLayout" Target="../slideLayouts/slideLayout421.xml"/><Relationship Id="rId29" Type="http://schemas.openxmlformats.org/officeDocument/2006/relationships/slideLayout" Target="../slideLayouts/slideLayout448.xml"/><Relationship Id="rId24" Type="http://schemas.openxmlformats.org/officeDocument/2006/relationships/slideLayout" Target="../slideLayouts/slideLayout443.xml"/><Relationship Id="rId40" Type="http://schemas.openxmlformats.org/officeDocument/2006/relationships/slideLayout" Target="../slideLayouts/slideLayout459.xml"/><Relationship Id="rId45" Type="http://schemas.openxmlformats.org/officeDocument/2006/relationships/slideLayout" Target="../slideLayouts/slideLayout464.xml"/><Relationship Id="rId66" Type="http://schemas.openxmlformats.org/officeDocument/2006/relationships/slideLayout" Target="../slideLayouts/slideLayout485.xml"/><Relationship Id="rId87" Type="http://schemas.openxmlformats.org/officeDocument/2006/relationships/slideLayout" Target="../slideLayouts/slideLayout506.xml"/><Relationship Id="rId61" Type="http://schemas.openxmlformats.org/officeDocument/2006/relationships/slideLayout" Target="../slideLayouts/slideLayout480.xml"/><Relationship Id="rId82" Type="http://schemas.openxmlformats.org/officeDocument/2006/relationships/slideLayout" Target="../slideLayouts/slideLayout501.xml"/><Relationship Id="rId19" Type="http://schemas.openxmlformats.org/officeDocument/2006/relationships/slideLayout" Target="../slideLayouts/slideLayout438.xml"/><Relationship Id="rId14" Type="http://schemas.openxmlformats.org/officeDocument/2006/relationships/slideLayout" Target="../slideLayouts/slideLayout433.xml"/><Relationship Id="rId30" Type="http://schemas.openxmlformats.org/officeDocument/2006/relationships/slideLayout" Target="../slideLayouts/slideLayout449.xml"/><Relationship Id="rId35" Type="http://schemas.openxmlformats.org/officeDocument/2006/relationships/slideLayout" Target="../slideLayouts/slideLayout454.xml"/><Relationship Id="rId56" Type="http://schemas.openxmlformats.org/officeDocument/2006/relationships/slideLayout" Target="../slideLayouts/slideLayout475.xml"/><Relationship Id="rId77" Type="http://schemas.openxmlformats.org/officeDocument/2006/relationships/slideLayout" Target="../slideLayouts/slideLayout496.xml"/><Relationship Id="rId100" Type="http://schemas.openxmlformats.org/officeDocument/2006/relationships/slideLayout" Target="../slideLayouts/slideLayout519.xml"/><Relationship Id="rId8" Type="http://schemas.openxmlformats.org/officeDocument/2006/relationships/slideLayout" Target="../slideLayouts/slideLayout427.xml"/><Relationship Id="rId51" Type="http://schemas.openxmlformats.org/officeDocument/2006/relationships/slideLayout" Target="../slideLayouts/slideLayout470.xml"/><Relationship Id="rId72" Type="http://schemas.openxmlformats.org/officeDocument/2006/relationships/slideLayout" Target="../slideLayouts/slideLayout491.xml"/><Relationship Id="rId93" Type="http://schemas.openxmlformats.org/officeDocument/2006/relationships/slideLayout" Target="../slideLayouts/slideLayout512.xml"/><Relationship Id="rId98" Type="http://schemas.openxmlformats.org/officeDocument/2006/relationships/slideLayout" Target="../slideLayouts/slideLayout517.xml"/><Relationship Id="rId3" Type="http://schemas.openxmlformats.org/officeDocument/2006/relationships/slideLayout" Target="../slideLayouts/slideLayout42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533.xml"/><Relationship Id="rId18" Type="http://schemas.openxmlformats.org/officeDocument/2006/relationships/slideLayout" Target="../slideLayouts/slideLayout538.xml"/><Relationship Id="rId26" Type="http://schemas.openxmlformats.org/officeDocument/2006/relationships/slideLayout" Target="../slideLayouts/slideLayout546.xml"/><Relationship Id="rId39" Type="http://schemas.openxmlformats.org/officeDocument/2006/relationships/slideLayout" Target="../slideLayouts/slideLayout559.xml"/><Relationship Id="rId21" Type="http://schemas.openxmlformats.org/officeDocument/2006/relationships/slideLayout" Target="../slideLayouts/slideLayout541.xml"/><Relationship Id="rId34" Type="http://schemas.openxmlformats.org/officeDocument/2006/relationships/slideLayout" Target="../slideLayouts/slideLayout554.xml"/><Relationship Id="rId42" Type="http://schemas.openxmlformats.org/officeDocument/2006/relationships/slideLayout" Target="../slideLayouts/slideLayout562.xml"/><Relationship Id="rId47" Type="http://schemas.openxmlformats.org/officeDocument/2006/relationships/theme" Target="../theme/theme6.xml"/><Relationship Id="rId7" Type="http://schemas.openxmlformats.org/officeDocument/2006/relationships/slideLayout" Target="../slideLayouts/slideLayout527.xml"/><Relationship Id="rId2" Type="http://schemas.openxmlformats.org/officeDocument/2006/relationships/slideLayout" Target="../slideLayouts/slideLayout522.xml"/><Relationship Id="rId16" Type="http://schemas.openxmlformats.org/officeDocument/2006/relationships/slideLayout" Target="../slideLayouts/slideLayout536.xml"/><Relationship Id="rId29" Type="http://schemas.openxmlformats.org/officeDocument/2006/relationships/slideLayout" Target="../slideLayouts/slideLayout549.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slideLayout" Target="../slideLayouts/slideLayout531.xml"/><Relationship Id="rId24" Type="http://schemas.openxmlformats.org/officeDocument/2006/relationships/slideLayout" Target="../slideLayouts/slideLayout544.xml"/><Relationship Id="rId32" Type="http://schemas.openxmlformats.org/officeDocument/2006/relationships/slideLayout" Target="../slideLayouts/slideLayout552.xml"/><Relationship Id="rId37" Type="http://schemas.openxmlformats.org/officeDocument/2006/relationships/slideLayout" Target="../slideLayouts/slideLayout557.xml"/><Relationship Id="rId40" Type="http://schemas.openxmlformats.org/officeDocument/2006/relationships/slideLayout" Target="../slideLayouts/slideLayout560.xml"/><Relationship Id="rId45" Type="http://schemas.openxmlformats.org/officeDocument/2006/relationships/slideLayout" Target="../slideLayouts/slideLayout565.xml"/><Relationship Id="rId5" Type="http://schemas.openxmlformats.org/officeDocument/2006/relationships/slideLayout" Target="../slideLayouts/slideLayout525.xml"/><Relationship Id="rId15" Type="http://schemas.openxmlformats.org/officeDocument/2006/relationships/slideLayout" Target="../slideLayouts/slideLayout535.xml"/><Relationship Id="rId23" Type="http://schemas.openxmlformats.org/officeDocument/2006/relationships/slideLayout" Target="../slideLayouts/slideLayout543.xml"/><Relationship Id="rId28" Type="http://schemas.openxmlformats.org/officeDocument/2006/relationships/slideLayout" Target="../slideLayouts/slideLayout548.xml"/><Relationship Id="rId36" Type="http://schemas.openxmlformats.org/officeDocument/2006/relationships/slideLayout" Target="../slideLayouts/slideLayout556.xml"/><Relationship Id="rId10" Type="http://schemas.openxmlformats.org/officeDocument/2006/relationships/slideLayout" Target="../slideLayouts/slideLayout530.xml"/><Relationship Id="rId19" Type="http://schemas.openxmlformats.org/officeDocument/2006/relationships/slideLayout" Target="../slideLayouts/slideLayout539.xml"/><Relationship Id="rId31" Type="http://schemas.openxmlformats.org/officeDocument/2006/relationships/slideLayout" Target="../slideLayouts/slideLayout551.xml"/><Relationship Id="rId44" Type="http://schemas.openxmlformats.org/officeDocument/2006/relationships/slideLayout" Target="../slideLayouts/slideLayout564.xml"/><Relationship Id="rId4" Type="http://schemas.openxmlformats.org/officeDocument/2006/relationships/slideLayout" Target="../slideLayouts/slideLayout524.xml"/><Relationship Id="rId9" Type="http://schemas.openxmlformats.org/officeDocument/2006/relationships/slideLayout" Target="../slideLayouts/slideLayout529.xml"/><Relationship Id="rId14" Type="http://schemas.openxmlformats.org/officeDocument/2006/relationships/slideLayout" Target="../slideLayouts/slideLayout534.xml"/><Relationship Id="rId22" Type="http://schemas.openxmlformats.org/officeDocument/2006/relationships/slideLayout" Target="../slideLayouts/slideLayout542.xml"/><Relationship Id="rId27" Type="http://schemas.openxmlformats.org/officeDocument/2006/relationships/slideLayout" Target="../slideLayouts/slideLayout547.xml"/><Relationship Id="rId30" Type="http://schemas.openxmlformats.org/officeDocument/2006/relationships/slideLayout" Target="../slideLayouts/slideLayout550.xml"/><Relationship Id="rId35" Type="http://schemas.openxmlformats.org/officeDocument/2006/relationships/slideLayout" Target="../slideLayouts/slideLayout555.xml"/><Relationship Id="rId43" Type="http://schemas.openxmlformats.org/officeDocument/2006/relationships/slideLayout" Target="../slideLayouts/slideLayout563.xml"/><Relationship Id="rId8" Type="http://schemas.openxmlformats.org/officeDocument/2006/relationships/slideLayout" Target="../slideLayouts/slideLayout528.xml"/><Relationship Id="rId3" Type="http://schemas.openxmlformats.org/officeDocument/2006/relationships/slideLayout" Target="../slideLayouts/slideLayout523.xml"/><Relationship Id="rId12" Type="http://schemas.openxmlformats.org/officeDocument/2006/relationships/slideLayout" Target="../slideLayouts/slideLayout532.xml"/><Relationship Id="rId17" Type="http://schemas.openxmlformats.org/officeDocument/2006/relationships/slideLayout" Target="../slideLayouts/slideLayout537.xml"/><Relationship Id="rId25" Type="http://schemas.openxmlformats.org/officeDocument/2006/relationships/slideLayout" Target="../slideLayouts/slideLayout545.xml"/><Relationship Id="rId33" Type="http://schemas.openxmlformats.org/officeDocument/2006/relationships/slideLayout" Target="../slideLayouts/slideLayout553.xml"/><Relationship Id="rId38" Type="http://schemas.openxmlformats.org/officeDocument/2006/relationships/slideLayout" Target="../slideLayouts/slideLayout558.xml"/><Relationship Id="rId46" Type="http://schemas.openxmlformats.org/officeDocument/2006/relationships/slideLayout" Target="../slideLayouts/slideLayout566.xml"/><Relationship Id="rId20" Type="http://schemas.openxmlformats.org/officeDocument/2006/relationships/slideLayout" Target="../slideLayouts/slideLayout540.xml"/><Relationship Id="rId41" Type="http://schemas.openxmlformats.org/officeDocument/2006/relationships/slideLayout" Target="../slideLayouts/slideLayout5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slideLayout" Target="../slideLayouts/slideLayout579.xml"/><Relationship Id="rId18" Type="http://schemas.openxmlformats.org/officeDocument/2006/relationships/theme" Target="../theme/theme7.xml"/><Relationship Id="rId3" Type="http://schemas.openxmlformats.org/officeDocument/2006/relationships/slideLayout" Target="../slideLayouts/slideLayout569.xml"/><Relationship Id="rId7" Type="http://schemas.openxmlformats.org/officeDocument/2006/relationships/slideLayout" Target="../slideLayouts/slideLayout573.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slideLayout" Target="../slideLayouts/slideLayout577.xml"/><Relationship Id="rId5" Type="http://schemas.openxmlformats.org/officeDocument/2006/relationships/slideLayout" Target="../slideLayouts/slideLayout571.xml"/><Relationship Id="rId15" Type="http://schemas.openxmlformats.org/officeDocument/2006/relationships/slideLayout" Target="../slideLayouts/slideLayout581.xml"/><Relationship Id="rId10" Type="http://schemas.openxmlformats.org/officeDocument/2006/relationships/slideLayout" Target="../slideLayouts/slideLayout576.xml"/><Relationship Id="rId19" Type="http://schemas.openxmlformats.org/officeDocument/2006/relationships/image" Target="../media/image19.png"/><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609.xml"/><Relationship Id="rId21" Type="http://schemas.openxmlformats.org/officeDocument/2006/relationships/slideLayout" Target="../slideLayouts/slideLayout604.xml"/><Relationship Id="rId42" Type="http://schemas.openxmlformats.org/officeDocument/2006/relationships/slideLayout" Target="../slideLayouts/slideLayout625.xml"/><Relationship Id="rId47" Type="http://schemas.openxmlformats.org/officeDocument/2006/relationships/slideLayout" Target="../slideLayouts/slideLayout630.xml"/><Relationship Id="rId63" Type="http://schemas.openxmlformats.org/officeDocument/2006/relationships/slideLayout" Target="../slideLayouts/slideLayout646.xml"/><Relationship Id="rId68" Type="http://schemas.openxmlformats.org/officeDocument/2006/relationships/slideLayout" Target="../slideLayouts/slideLayout651.xml"/><Relationship Id="rId84" Type="http://schemas.openxmlformats.org/officeDocument/2006/relationships/slideLayout" Target="../slideLayouts/slideLayout667.xml"/><Relationship Id="rId89" Type="http://schemas.openxmlformats.org/officeDocument/2006/relationships/slideLayout" Target="../slideLayouts/slideLayout672.xml"/><Relationship Id="rId16" Type="http://schemas.openxmlformats.org/officeDocument/2006/relationships/slideLayout" Target="../slideLayouts/slideLayout599.xml"/><Relationship Id="rId11" Type="http://schemas.openxmlformats.org/officeDocument/2006/relationships/slideLayout" Target="../slideLayouts/slideLayout594.xml"/><Relationship Id="rId32" Type="http://schemas.openxmlformats.org/officeDocument/2006/relationships/slideLayout" Target="../slideLayouts/slideLayout615.xml"/><Relationship Id="rId37" Type="http://schemas.openxmlformats.org/officeDocument/2006/relationships/slideLayout" Target="../slideLayouts/slideLayout620.xml"/><Relationship Id="rId53" Type="http://schemas.openxmlformats.org/officeDocument/2006/relationships/slideLayout" Target="../slideLayouts/slideLayout636.xml"/><Relationship Id="rId58" Type="http://schemas.openxmlformats.org/officeDocument/2006/relationships/slideLayout" Target="../slideLayouts/slideLayout641.xml"/><Relationship Id="rId74" Type="http://schemas.openxmlformats.org/officeDocument/2006/relationships/slideLayout" Target="../slideLayouts/slideLayout657.xml"/><Relationship Id="rId79" Type="http://schemas.openxmlformats.org/officeDocument/2006/relationships/slideLayout" Target="../slideLayouts/slideLayout662.xml"/><Relationship Id="rId102" Type="http://schemas.openxmlformats.org/officeDocument/2006/relationships/slideLayout" Target="../slideLayouts/slideLayout685.xml"/><Relationship Id="rId5" Type="http://schemas.openxmlformats.org/officeDocument/2006/relationships/slideLayout" Target="../slideLayouts/slideLayout588.xml"/><Relationship Id="rId90" Type="http://schemas.openxmlformats.org/officeDocument/2006/relationships/slideLayout" Target="../slideLayouts/slideLayout673.xml"/><Relationship Id="rId95" Type="http://schemas.openxmlformats.org/officeDocument/2006/relationships/slideLayout" Target="../slideLayouts/slideLayout678.xml"/><Relationship Id="rId22" Type="http://schemas.openxmlformats.org/officeDocument/2006/relationships/slideLayout" Target="../slideLayouts/slideLayout605.xml"/><Relationship Id="rId27" Type="http://schemas.openxmlformats.org/officeDocument/2006/relationships/slideLayout" Target="../slideLayouts/slideLayout610.xml"/><Relationship Id="rId43" Type="http://schemas.openxmlformats.org/officeDocument/2006/relationships/slideLayout" Target="../slideLayouts/slideLayout626.xml"/><Relationship Id="rId48" Type="http://schemas.openxmlformats.org/officeDocument/2006/relationships/slideLayout" Target="../slideLayouts/slideLayout631.xml"/><Relationship Id="rId64" Type="http://schemas.openxmlformats.org/officeDocument/2006/relationships/slideLayout" Target="../slideLayouts/slideLayout647.xml"/><Relationship Id="rId69" Type="http://schemas.openxmlformats.org/officeDocument/2006/relationships/slideLayout" Target="../slideLayouts/slideLayout652.xml"/><Relationship Id="rId80" Type="http://schemas.openxmlformats.org/officeDocument/2006/relationships/slideLayout" Target="../slideLayouts/slideLayout663.xml"/><Relationship Id="rId85" Type="http://schemas.openxmlformats.org/officeDocument/2006/relationships/slideLayout" Target="../slideLayouts/slideLayout668.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33" Type="http://schemas.openxmlformats.org/officeDocument/2006/relationships/slideLayout" Target="../slideLayouts/slideLayout616.xml"/><Relationship Id="rId38" Type="http://schemas.openxmlformats.org/officeDocument/2006/relationships/slideLayout" Target="../slideLayouts/slideLayout621.xml"/><Relationship Id="rId59" Type="http://schemas.openxmlformats.org/officeDocument/2006/relationships/slideLayout" Target="../slideLayouts/slideLayout642.xml"/><Relationship Id="rId103" Type="http://schemas.openxmlformats.org/officeDocument/2006/relationships/slideLayout" Target="../slideLayouts/slideLayout686.xml"/><Relationship Id="rId20" Type="http://schemas.openxmlformats.org/officeDocument/2006/relationships/slideLayout" Target="../slideLayouts/slideLayout603.xml"/><Relationship Id="rId41" Type="http://schemas.openxmlformats.org/officeDocument/2006/relationships/slideLayout" Target="../slideLayouts/slideLayout624.xml"/><Relationship Id="rId54" Type="http://schemas.openxmlformats.org/officeDocument/2006/relationships/slideLayout" Target="../slideLayouts/slideLayout637.xml"/><Relationship Id="rId62" Type="http://schemas.openxmlformats.org/officeDocument/2006/relationships/slideLayout" Target="../slideLayouts/slideLayout645.xml"/><Relationship Id="rId70" Type="http://schemas.openxmlformats.org/officeDocument/2006/relationships/slideLayout" Target="../slideLayouts/slideLayout653.xml"/><Relationship Id="rId75" Type="http://schemas.openxmlformats.org/officeDocument/2006/relationships/slideLayout" Target="../slideLayouts/slideLayout658.xml"/><Relationship Id="rId83" Type="http://schemas.openxmlformats.org/officeDocument/2006/relationships/slideLayout" Target="../slideLayouts/slideLayout666.xml"/><Relationship Id="rId88" Type="http://schemas.openxmlformats.org/officeDocument/2006/relationships/slideLayout" Target="../slideLayouts/slideLayout671.xml"/><Relationship Id="rId91" Type="http://schemas.openxmlformats.org/officeDocument/2006/relationships/slideLayout" Target="../slideLayouts/slideLayout674.xml"/><Relationship Id="rId96" Type="http://schemas.openxmlformats.org/officeDocument/2006/relationships/slideLayout" Target="../slideLayouts/slideLayout679.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5" Type="http://schemas.openxmlformats.org/officeDocument/2006/relationships/slideLayout" Target="../slideLayouts/slideLayout598.xml"/><Relationship Id="rId23" Type="http://schemas.openxmlformats.org/officeDocument/2006/relationships/slideLayout" Target="../slideLayouts/slideLayout606.xml"/><Relationship Id="rId28" Type="http://schemas.openxmlformats.org/officeDocument/2006/relationships/slideLayout" Target="../slideLayouts/slideLayout611.xml"/><Relationship Id="rId36" Type="http://schemas.openxmlformats.org/officeDocument/2006/relationships/slideLayout" Target="../slideLayouts/slideLayout619.xml"/><Relationship Id="rId49" Type="http://schemas.openxmlformats.org/officeDocument/2006/relationships/slideLayout" Target="../slideLayouts/slideLayout632.xml"/><Relationship Id="rId57" Type="http://schemas.openxmlformats.org/officeDocument/2006/relationships/slideLayout" Target="../slideLayouts/slideLayout640.xml"/><Relationship Id="rId106" Type="http://schemas.openxmlformats.org/officeDocument/2006/relationships/theme" Target="../theme/theme8.xml"/><Relationship Id="rId10" Type="http://schemas.openxmlformats.org/officeDocument/2006/relationships/slideLayout" Target="../slideLayouts/slideLayout593.xml"/><Relationship Id="rId31" Type="http://schemas.openxmlformats.org/officeDocument/2006/relationships/slideLayout" Target="../slideLayouts/slideLayout614.xml"/><Relationship Id="rId44" Type="http://schemas.openxmlformats.org/officeDocument/2006/relationships/slideLayout" Target="../slideLayouts/slideLayout627.xml"/><Relationship Id="rId52" Type="http://schemas.openxmlformats.org/officeDocument/2006/relationships/slideLayout" Target="../slideLayouts/slideLayout635.xml"/><Relationship Id="rId60" Type="http://schemas.openxmlformats.org/officeDocument/2006/relationships/slideLayout" Target="../slideLayouts/slideLayout643.xml"/><Relationship Id="rId65" Type="http://schemas.openxmlformats.org/officeDocument/2006/relationships/slideLayout" Target="../slideLayouts/slideLayout648.xml"/><Relationship Id="rId73" Type="http://schemas.openxmlformats.org/officeDocument/2006/relationships/slideLayout" Target="../slideLayouts/slideLayout656.xml"/><Relationship Id="rId78" Type="http://schemas.openxmlformats.org/officeDocument/2006/relationships/slideLayout" Target="../slideLayouts/slideLayout661.xml"/><Relationship Id="rId81" Type="http://schemas.openxmlformats.org/officeDocument/2006/relationships/slideLayout" Target="../slideLayouts/slideLayout664.xml"/><Relationship Id="rId86" Type="http://schemas.openxmlformats.org/officeDocument/2006/relationships/slideLayout" Target="../slideLayouts/slideLayout669.xml"/><Relationship Id="rId94" Type="http://schemas.openxmlformats.org/officeDocument/2006/relationships/slideLayout" Target="../slideLayouts/slideLayout677.xml"/><Relationship Id="rId99" Type="http://schemas.openxmlformats.org/officeDocument/2006/relationships/slideLayout" Target="../slideLayouts/slideLayout682.xml"/><Relationship Id="rId101" Type="http://schemas.openxmlformats.org/officeDocument/2006/relationships/slideLayout" Target="../slideLayouts/slideLayout684.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9" Type="http://schemas.openxmlformats.org/officeDocument/2006/relationships/slideLayout" Target="../slideLayouts/slideLayout622.xml"/><Relationship Id="rId34" Type="http://schemas.openxmlformats.org/officeDocument/2006/relationships/slideLayout" Target="../slideLayouts/slideLayout617.xml"/><Relationship Id="rId50" Type="http://schemas.openxmlformats.org/officeDocument/2006/relationships/slideLayout" Target="../slideLayouts/slideLayout633.xml"/><Relationship Id="rId55" Type="http://schemas.openxmlformats.org/officeDocument/2006/relationships/slideLayout" Target="../slideLayouts/slideLayout638.xml"/><Relationship Id="rId76" Type="http://schemas.openxmlformats.org/officeDocument/2006/relationships/slideLayout" Target="../slideLayouts/slideLayout659.xml"/><Relationship Id="rId97" Type="http://schemas.openxmlformats.org/officeDocument/2006/relationships/slideLayout" Target="../slideLayouts/slideLayout680.xml"/><Relationship Id="rId104" Type="http://schemas.openxmlformats.org/officeDocument/2006/relationships/slideLayout" Target="../slideLayouts/slideLayout687.xml"/><Relationship Id="rId7" Type="http://schemas.openxmlformats.org/officeDocument/2006/relationships/slideLayout" Target="../slideLayouts/slideLayout590.xml"/><Relationship Id="rId71" Type="http://schemas.openxmlformats.org/officeDocument/2006/relationships/slideLayout" Target="../slideLayouts/slideLayout654.xml"/><Relationship Id="rId92" Type="http://schemas.openxmlformats.org/officeDocument/2006/relationships/slideLayout" Target="../slideLayouts/slideLayout675.xml"/><Relationship Id="rId2" Type="http://schemas.openxmlformats.org/officeDocument/2006/relationships/slideLayout" Target="../slideLayouts/slideLayout585.xml"/><Relationship Id="rId29" Type="http://schemas.openxmlformats.org/officeDocument/2006/relationships/slideLayout" Target="../slideLayouts/slideLayout612.xml"/><Relationship Id="rId24" Type="http://schemas.openxmlformats.org/officeDocument/2006/relationships/slideLayout" Target="../slideLayouts/slideLayout607.xml"/><Relationship Id="rId40" Type="http://schemas.openxmlformats.org/officeDocument/2006/relationships/slideLayout" Target="../slideLayouts/slideLayout623.xml"/><Relationship Id="rId45" Type="http://schemas.openxmlformats.org/officeDocument/2006/relationships/slideLayout" Target="../slideLayouts/slideLayout628.xml"/><Relationship Id="rId66" Type="http://schemas.openxmlformats.org/officeDocument/2006/relationships/slideLayout" Target="../slideLayouts/slideLayout649.xml"/><Relationship Id="rId87" Type="http://schemas.openxmlformats.org/officeDocument/2006/relationships/slideLayout" Target="../slideLayouts/slideLayout670.xml"/><Relationship Id="rId61" Type="http://schemas.openxmlformats.org/officeDocument/2006/relationships/slideLayout" Target="../slideLayouts/slideLayout644.xml"/><Relationship Id="rId82" Type="http://schemas.openxmlformats.org/officeDocument/2006/relationships/slideLayout" Target="../slideLayouts/slideLayout665.xml"/><Relationship Id="rId19" Type="http://schemas.openxmlformats.org/officeDocument/2006/relationships/slideLayout" Target="../slideLayouts/slideLayout602.xml"/><Relationship Id="rId14" Type="http://schemas.openxmlformats.org/officeDocument/2006/relationships/slideLayout" Target="../slideLayouts/slideLayout597.xml"/><Relationship Id="rId30" Type="http://schemas.openxmlformats.org/officeDocument/2006/relationships/slideLayout" Target="../slideLayouts/slideLayout613.xml"/><Relationship Id="rId35" Type="http://schemas.openxmlformats.org/officeDocument/2006/relationships/slideLayout" Target="../slideLayouts/slideLayout618.xml"/><Relationship Id="rId56" Type="http://schemas.openxmlformats.org/officeDocument/2006/relationships/slideLayout" Target="../slideLayouts/slideLayout639.xml"/><Relationship Id="rId77" Type="http://schemas.openxmlformats.org/officeDocument/2006/relationships/slideLayout" Target="../slideLayouts/slideLayout660.xml"/><Relationship Id="rId100" Type="http://schemas.openxmlformats.org/officeDocument/2006/relationships/slideLayout" Target="../slideLayouts/slideLayout683.xml"/><Relationship Id="rId105" Type="http://schemas.openxmlformats.org/officeDocument/2006/relationships/slideLayout" Target="../slideLayouts/slideLayout688.xml"/><Relationship Id="rId8" Type="http://schemas.openxmlformats.org/officeDocument/2006/relationships/slideLayout" Target="../slideLayouts/slideLayout591.xml"/><Relationship Id="rId51" Type="http://schemas.openxmlformats.org/officeDocument/2006/relationships/slideLayout" Target="../slideLayouts/slideLayout634.xml"/><Relationship Id="rId72" Type="http://schemas.openxmlformats.org/officeDocument/2006/relationships/slideLayout" Target="../slideLayouts/slideLayout655.xml"/><Relationship Id="rId93" Type="http://schemas.openxmlformats.org/officeDocument/2006/relationships/slideLayout" Target="../slideLayouts/slideLayout676.xml"/><Relationship Id="rId98" Type="http://schemas.openxmlformats.org/officeDocument/2006/relationships/slideLayout" Target="../slideLayouts/slideLayout681.xml"/><Relationship Id="rId3" Type="http://schemas.openxmlformats.org/officeDocument/2006/relationships/slideLayout" Target="../slideLayouts/slideLayout586.xml"/><Relationship Id="rId25" Type="http://schemas.openxmlformats.org/officeDocument/2006/relationships/slideLayout" Target="../slideLayouts/slideLayout608.xml"/><Relationship Id="rId46" Type="http://schemas.openxmlformats.org/officeDocument/2006/relationships/slideLayout" Target="../slideLayouts/slideLayout629.xml"/><Relationship Id="rId67" Type="http://schemas.openxmlformats.org/officeDocument/2006/relationships/slideLayout" Target="../slideLayouts/slideLayout650.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714.xml"/><Relationship Id="rId21" Type="http://schemas.openxmlformats.org/officeDocument/2006/relationships/slideLayout" Target="../slideLayouts/slideLayout709.xml"/><Relationship Id="rId42" Type="http://schemas.openxmlformats.org/officeDocument/2006/relationships/slideLayout" Target="../slideLayouts/slideLayout730.xml"/><Relationship Id="rId47" Type="http://schemas.openxmlformats.org/officeDocument/2006/relationships/slideLayout" Target="../slideLayouts/slideLayout735.xml"/><Relationship Id="rId63" Type="http://schemas.openxmlformats.org/officeDocument/2006/relationships/slideLayout" Target="../slideLayouts/slideLayout751.xml"/><Relationship Id="rId68" Type="http://schemas.openxmlformats.org/officeDocument/2006/relationships/slideLayout" Target="../slideLayouts/slideLayout756.xml"/><Relationship Id="rId84" Type="http://schemas.openxmlformats.org/officeDocument/2006/relationships/slideLayout" Target="../slideLayouts/slideLayout772.xml"/><Relationship Id="rId89" Type="http://schemas.openxmlformats.org/officeDocument/2006/relationships/slideLayout" Target="../slideLayouts/slideLayout777.xml"/><Relationship Id="rId16" Type="http://schemas.openxmlformats.org/officeDocument/2006/relationships/slideLayout" Target="../slideLayouts/slideLayout704.xml"/><Relationship Id="rId11" Type="http://schemas.openxmlformats.org/officeDocument/2006/relationships/slideLayout" Target="../slideLayouts/slideLayout699.xml"/><Relationship Id="rId32" Type="http://schemas.openxmlformats.org/officeDocument/2006/relationships/slideLayout" Target="../slideLayouts/slideLayout720.xml"/><Relationship Id="rId37" Type="http://schemas.openxmlformats.org/officeDocument/2006/relationships/slideLayout" Target="../slideLayouts/slideLayout725.xml"/><Relationship Id="rId53" Type="http://schemas.openxmlformats.org/officeDocument/2006/relationships/slideLayout" Target="../slideLayouts/slideLayout741.xml"/><Relationship Id="rId58" Type="http://schemas.openxmlformats.org/officeDocument/2006/relationships/slideLayout" Target="../slideLayouts/slideLayout746.xml"/><Relationship Id="rId74" Type="http://schemas.openxmlformats.org/officeDocument/2006/relationships/slideLayout" Target="../slideLayouts/slideLayout762.xml"/><Relationship Id="rId79" Type="http://schemas.openxmlformats.org/officeDocument/2006/relationships/slideLayout" Target="../slideLayouts/slideLayout767.xml"/><Relationship Id="rId5" Type="http://schemas.openxmlformats.org/officeDocument/2006/relationships/slideLayout" Target="../slideLayouts/slideLayout693.xml"/><Relationship Id="rId90" Type="http://schemas.openxmlformats.org/officeDocument/2006/relationships/slideLayout" Target="../slideLayouts/slideLayout778.xml"/><Relationship Id="rId95" Type="http://schemas.openxmlformats.org/officeDocument/2006/relationships/slideLayout" Target="../slideLayouts/slideLayout783.xml"/><Relationship Id="rId22" Type="http://schemas.openxmlformats.org/officeDocument/2006/relationships/slideLayout" Target="../slideLayouts/slideLayout710.xml"/><Relationship Id="rId27" Type="http://schemas.openxmlformats.org/officeDocument/2006/relationships/slideLayout" Target="../slideLayouts/slideLayout715.xml"/><Relationship Id="rId43" Type="http://schemas.openxmlformats.org/officeDocument/2006/relationships/slideLayout" Target="../slideLayouts/slideLayout731.xml"/><Relationship Id="rId48" Type="http://schemas.openxmlformats.org/officeDocument/2006/relationships/slideLayout" Target="../slideLayouts/slideLayout736.xml"/><Relationship Id="rId64" Type="http://schemas.openxmlformats.org/officeDocument/2006/relationships/slideLayout" Target="../slideLayouts/slideLayout752.xml"/><Relationship Id="rId69" Type="http://schemas.openxmlformats.org/officeDocument/2006/relationships/slideLayout" Target="../slideLayouts/slideLayout757.xml"/><Relationship Id="rId80" Type="http://schemas.openxmlformats.org/officeDocument/2006/relationships/slideLayout" Target="../slideLayouts/slideLayout768.xml"/><Relationship Id="rId85" Type="http://schemas.openxmlformats.org/officeDocument/2006/relationships/slideLayout" Target="../slideLayouts/slideLayout773.xml"/><Relationship Id="rId3" Type="http://schemas.openxmlformats.org/officeDocument/2006/relationships/slideLayout" Target="../slideLayouts/slideLayout691.xml"/><Relationship Id="rId12" Type="http://schemas.openxmlformats.org/officeDocument/2006/relationships/slideLayout" Target="../slideLayouts/slideLayout700.xml"/><Relationship Id="rId17" Type="http://schemas.openxmlformats.org/officeDocument/2006/relationships/slideLayout" Target="../slideLayouts/slideLayout705.xml"/><Relationship Id="rId25" Type="http://schemas.openxmlformats.org/officeDocument/2006/relationships/slideLayout" Target="../slideLayouts/slideLayout713.xml"/><Relationship Id="rId33" Type="http://schemas.openxmlformats.org/officeDocument/2006/relationships/slideLayout" Target="../slideLayouts/slideLayout721.xml"/><Relationship Id="rId38" Type="http://schemas.openxmlformats.org/officeDocument/2006/relationships/slideLayout" Target="../slideLayouts/slideLayout726.xml"/><Relationship Id="rId46" Type="http://schemas.openxmlformats.org/officeDocument/2006/relationships/slideLayout" Target="../slideLayouts/slideLayout734.xml"/><Relationship Id="rId59" Type="http://schemas.openxmlformats.org/officeDocument/2006/relationships/slideLayout" Target="../slideLayouts/slideLayout747.xml"/><Relationship Id="rId67" Type="http://schemas.openxmlformats.org/officeDocument/2006/relationships/slideLayout" Target="../slideLayouts/slideLayout755.xml"/><Relationship Id="rId20" Type="http://schemas.openxmlformats.org/officeDocument/2006/relationships/slideLayout" Target="../slideLayouts/slideLayout708.xml"/><Relationship Id="rId41" Type="http://schemas.openxmlformats.org/officeDocument/2006/relationships/slideLayout" Target="../slideLayouts/slideLayout729.xml"/><Relationship Id="rId54" Type="http://schemas.openxmlformats.org/officeDocument/2006/relationships/slideLayout" Target="../slideLayouts/slideLayout742.xml"/><Relationship Id="rId62" Type="http://schemas.openxmlformats.org/officeDocument/2006/relationships/slideLayout" Target="../slideLayouts/slideLayout750.xml"/><Relationship Id="rId70" Type="http://schemas.openxmlformats.org/officeDocument/2006/relationships/slideLayout" Target="../slideLayouts/slideLayout758.xml"/><Relationship Id="rId75" Type="http://schemas.openxmlformats.org/officeDocument/2006/relationships/slideLayout" Target="../slideLayouts/slideLayout763.xml"/><Relationship Id="rId83" Type="http://schemas.openxmlformats.org/officeDocument/2006/relationships/slideLayout" Target="../slideLayouts/slideLayout771.xml"/><Relationship Id="rId88" Type="http://schemas.openxmlformats.org/officeDocument/2006/relationships/slideLayout" Target="../slideLayouts/slideLayout776.xml"/><Relationship Id="rId91" Type="http://schemas.openxmlformats.org/officeDocument/2006/relationships/slideLayout" Target="../slideLayouts/slideLayout779.xml"/><Relationship Id="rId96" Type="http://schemas.openxmlformats.org/officeDocument/2006/relationships/slideLayout" Target="../slideLayouts/slideLayout784.xml"/><Relationship Id="rId1" Type="http://schemas.openxmlformats.org/officeDocument/2006/relationships/slideLayout" Target="../slideLayouts/slideLayout689.xml"/><Relationship Id="rId6" Type="http://schemas.openxmlformats.org/officeDocument/2006/relationships/slideLayout" Target="../slideLayouts/slideLayout694.xml"/><Relationship Id="rId15" Type="http://schemas.openxmlformats.org/officeDocument/2006/relationships/slideLayout" Target="../slideLayouts/slideLayout703.xml"/><Relationship Id="rId23" Type="http://schemas.openxmlformats.org/officeDocument/2006/relationships/slideLayout" Target="../slideLayouts/slideLayout711.xml"/><Relationship Id="rId28" Type="http://schemas.openxmlformats.org/officeDocument/2006/relationships/slideLayout" Target="../slideLayouts/slideLayout716.xml"/><Relationship Id="rId36" Type="http://schemas.openxmlformats.org/officeDocument/2006/relationships/slideLayout" Target="../slideLayouts/slideLayout724.xml"/><Relationship Id="rId49" Type="http://schemas.openxmlformats.org/officeDocument/2006/relationships/slideLayout" Target="../slideLayouts/slideLayout737.xml"/><Relationship Id="rId57" Type="http://schemas.openxmlformats.org/officeDocument/2006/relationships/slideLayout" Target="../slideLayouts/slideLayout745.xml"/><Relationship Id="rId10" Type="http://schemas.openxmlformats.org/officeDocument/2006/relationships/slideLayout" Target="../slideLayouts/slideLayout698.xml"/><Relationship Id="rId31" Type="http://schemas.openxmlformats.org/officeDocument/2006/relationships/slideLayout" Target="../slideLayouts/slideLayout719.xml"/><Relationship Id="rId44" Type="http://schemas.openxmlformats.org/officeDocument/2006/relationships/slideLayout" Target="../slideLayouts/slideLayout732.xml"/><Relationship Id="rId52" Type="http://schemas.openxmlformats.org/officeDocument/2006/relationships/slideLayout" Target="../slideLayouts/slideLayout740.xml"/><Relationship Id="rId60" Type="http://schemas.openxmlformats.org/officeDocument/2006/relationships/slideLayout" Target="../slideLayouts/slideLayout748.xml"/><Relationship Id="rId65" Type="http://schemas.openxmlformats.org/officeDocument/2006/relationships/slideLayout" Target="../slideLayouts/slideLayout753.xml"/><Relationship Id="rId73" Type="http://schemas.openxmlformats.org/officeDocument/2006/relationships/slideLayout" Target="../slideLayouts/slideLayout761.xml"/><Relationship Id="rId78" Type="http://schemas.openxmlformats.org/officeDocument/2006/relationships/slideLayout" Target="../slideLayouts/slideLayout766.xml"/><Relationship Id="rId81" Type="http://schemas.openxmlformats.org/officeDocument/2006/relationships/slideLayout" Target="../slideLayouts/slideLayout769.xml"/><Relationship Id="rId86" Type="http://schemas.openxmlformats.org/officeDocument/2006/relationships/slideLayout" Target="../slideLayouts/slideLayout774.xml"/><Relationship Id="rId94" Type="http://schemas.openxmlformats.org/officeDocument/2006/relationships/slideLayout" Target="../slideLayouts/slideLayout782.xml"/><Relationship Id="rId4" Type="http://schemas.openxmlformats.org/officeDocument/2006/relationships/slideLayout" Target="../slideLayouts/slideLayout692.xml"/><Relationship Id="rId9" Type="http://schemas.openxmlformats.org/officeDocument/2006/relationships/slideLayout" Target="../slideLayouts/slideLayout697.xml"/><Relationship Id="rId13" Type="http://schemas.openxmlformats.org/officeDocument/2006/relationships/slideLayout" Target="../slideLayouts/slideLayout701.xml"/><Relationship Id="rId18" Type="http://schemas.openxmlformats.org/officeDocument/2006/relationships/slideLayout" Target="../slideLayouts/slideLayout706.xml"/><Relationship Id="rId39" Type="http://schemas.openxmlformats.org/officeDocument/2006/relationships/slideLayout" Target="../slideLayouts/slideLayout727.xml"/><Relationship Id="rId34" Type="http://schemas.openxmlformats.org/officeDocument/2006/relationships/slideLayout" Target="../slideLayouts/slideLayout722.xml"/><Relationship Id="rId50" Type="http://schemas.openxmlformats.org/officeDocument/2006/relationships/slideLayout" Target="../slideLayouts/slideLayout738.xml"/><Relationship Id="rId55" Type="http://schemas.openxmlformats.org/officeDocument/2006/relationships/slideLayout" Target="../slideLayouts/slideLayout743.xml"/><Relationship Id="rId76" Type="http://schemas.openxmlformats.org/officeDocument/2006/relationships/slideLayout" Target="../slideLayouts/slideLayout764.xml"/><Relationship Id="rId97" Type="http://schemas.openxmlformats.org/officeDocument/2006/relationships/slideLayout" Target="../slideLayouts/slideLayout785.xml"/><Relationship Id="rId7" Type="http://schemas.openxmlformats.org/officeDocument/2006/relationships/slideLayout" Target="../slideLayouts/slideLayout695.xml"/><Relationship Id="rId71" Type="http://schemas.openxmlformats.org/officeDocument/2006/relationships/slideLayout" Target="../slideLayouts/slideLayout759.xml"/><Relationship Id="rId92" Type="http://schemas.openxmlformats.org/officeDocument/2006/relationships/slideLayout" Target="../slideLayouts/slideLayout780.xml"/><Relationship Id="rId2" Type="http://schemas.openxmlformats.org/officeDocument/2006/relationships/slideLayout" Target="../slideLayouts/slideLayout690.xml"/><Relationship Id="rId29" Type="http://schemas.openxmlformats.org/officeDocument/2006/relationships/slideLayout" Target="../slideLayouts/slideLayout717.xml"/><Relationship Id="rId24" Type="http://schemas.openxmlformats.org/officeDocument/2006/relationships/slideLayout" Target="../slideLayouts/slideLayout712.xml"/><Relationship Id="rId40" Type="http://schemas.openxmlformats.org/officeDocument/2006/relationships/slideLayout" Target="../slideLayouts/slideLayout728.xml"/><Relationship Id="rId45" Type="http://schemas.openxmlformats.org/officeDocument/2006/relationships/slideLayout" Target="../slideLayouts/slideLayout733.xml"/><Relationship Id="rId66" Type="http://schemas.openxmlformats.org/officeDocument/2006/relationships/slideLayout" Target="../slideLayouts/slideLayout754.xml"/><Relationship Id="rId87" Type="http://schemas.openxmlformats.org/officeDocument/2006/relationships/slideLayout" Target="../slideLayouts/slideLayout775.xml"/><Relationship Id="rId61" Type="http://schemas.openxmlformats.org/officeDocument/2006/relationships/slideLayout" Target="../slideLayouts/slideLayout749.xml"/><Relationship Id="rId82" Type="http://schemas.openxmlformats.org/officeDocument/2006/relationships/slideLayout" Target="../slideLayouts/slideLayout770.xml"/><Relationship Id="rId19" Type="http://schemas.openxmlformats.org/officeDocument/2006/relationships/slideLayout" Target="../slideLayouts/slideLayout707.xml"/><Relationship Id="rId14" Type="http://schemas.openxmlformats.org/officeDocument/2006/relationships/slideLayout" Target="../slideLayouts/slideLayout702.xml"/><Relationship Id="rId30" Type="http://schemas.openxmlformats.org/officeDocument/2006/relationships/slideLayout" Target="../slideLayouts/slideLayout718.xml"/><Relationship Id="rId35" Type="http://schemas.openxmlformats.org/officeDocument/2006/relationships/slideLayout" Target="../slideLayouts/slideLayout723.xml"/><Relationship Id="rId56" Type="http://schemas.openxmlformats.org/officeDocument/2006/relationships/slideLayout" Target="../slideLayouts/slideLayout744.xml"/><Relationship Id="rId77" Type="http://schemas.openxmlformats.org/officeDocument/2006/relationships/slideLayout" Target="../slideLayouts/slideLayout765.xml"/><Relationship Id="rId8" Type="http://schemas.openxmlformats.org/officeDocument/2006/relationships/slideLayout" Target="../slideLayouts/slideLayout696.xml"/><Relationship Id="rId51" Type="http://schemas.openxmlformats.org/officeDocument/2006/relationships/slideLayout" Target="../slideLayouts/slideLayout739.xml"/><Relationship Id="rId72" Type="http://schemas.openxmlformats.org/officeDocument/2006/relationships/slideLayout" Target="../slideLayouts/slideLayout760.xml"/><Relationship Id="rId93" Type="http://schemas.openxmlformats.org/officeDocument/2006/relationships/slideLayout" Target="../slideLayouts/slideLayout781.xml"/><Relationship Id="rId98"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06139523"/>
      </p:ext>
    </p:extLst>
  </p:cSld>
  <p:clrMap bg1="lt1" tx1="dk1" bg2="lt2" tx2="dk2" accent1="accent1" accent2="accent2" accent3="accent3" accent4="accent4" accent5="accent5" accent6="accent6" hlink="hlink" folHlink="folHlink"/>
  <p:sldLayoutIdLst>
    <p:sldLayoutId id="2147483834" r:id="rId1"/>
    <p:sldLayoutId id="2147484314" r:id="rId2"/>
    <p:sldLayoutId id="2147483838" r:id="rId3"/>
    <p:sldLayoutId id="2147483835" r:id="rId4"/>
    <p:sldLayoutId id="2147483839" r:id="rId5"/>
    <p:sldLayoutId id="2147483840" r:id="rId6"/>
    <p:sldLayoutId id="2147484315" r:id="rId7"/>
    <p:sldLayoutId id="2147483933" r:id="rId8"/>
    <p:sldLayoutId id="2147483930" r:id="rId9"/>
    <p:sldLayoutId id="2147483934" r:id="rId10"/>
    <p:sldLayoutId id="2147484023" r:id="rId11"/>
    <p:sldLayoutId id="2147483988" r:id="rId12"/>
    <p:sldLayoutId id="2147483844" r:id="rId13"/>
    <p:sldLayoutId id="2147483841" r:id="rId14"/>
    <p:sldLayoutId id="2147483842" r:id="rId15"/>
    <p:sldLayoutId id="2147483843" r:id="rId16"/>
    <p:sldLayoutId id="2147483845" r:id="rId17"/>
    <p:sldLayoutId id="2147483846" r:id="rId18"/>
    <p:sldLayoutId id="2147483853" r:id="rId19"/>
    <p:sldLayoutId id="2147483854" r:id="rId20"/>
    <p:sldLayoutId id="2147484336" r:id="rId21"/>
    <p:sldLayoutId id="2147484334" r:id="rId22"/>
    <p:sldLayoutId id="2147484113" r:id="rId23"/>
    <p:sldLayoutId id="2147484021" r:id="rId24"/>
    <p:sldLayoutId id="2147483855" r:id="rId25"/>
    <p:sldLayoutId id="2147483856" r:id="rId26"/>
    <p:sldLayoutId id="2147483857" r:id="rId27"/>
    <p:sldLayoutId id="2147483979" r:id="rId28"/>
    <p:sldLayoutId id="2147483861" r:id="rId29"/>
    <p:sldLayoutId id="2147483858" r:id="rId30"/>
    <p:sldLayoutId id="2147483859" r:id="rId31"/>
    <p:sldLayoutId id="2147483860" r:id="rId32"/>
    <p:sldLayoutId id="2147483862" r:id="rId33"/>
    <p:sldLayoutId id="2147483863" r:id="rId34"/>
    <p:sldLayoutId id="2147483978" r:id="rId35"/>
    <p:sldLayoutId id="2147483867" r:id="rId36"/>
    <p:sldLayoutId id="2147483864" r:id="rId37"/>
    <p:sldLayoutId id="2147483868" r:id="rId38"/>
    <p:sldLayoutId id="2147483869" r:id="rId39"/>
    <p:sldLayoutId id="2147483870" r:id="rId40"/>
    <p:sldLayoutId id="2147483977" r:id="rId41"/>
    <p:sldLayoutId id="2147483873" r:id="rId42"/>
    <p:sldLayoutId id="2147483874" r:id="rId43"/>
    <p:sldLayoutId id="2147483875" r:id="rId44"/>
    <p:sldLayoutId id="2147483877" r:id="rId45"/>
    <p:sldLayoutId id="2147483876" r:id="rId46"/>
    <p:sldLayoutId id="2147484004" r:id="rId47"/>
    <p:sldLayoutId id="2147483878" r:id="rId48"/>
    <p:sldLayoutId id="2147484339" r:id="rId49"/>
    <p:sldLayoutId id="2147484340" r:id="rId50"/>
    <p:sldLayoutId id="2147484338" r:id="rId51"/>
    <p:sldLayoutId id="2147484343" r:id="rId52"/>
    <p:sldLayoutId id="2147484344" r:id="rId53"/>
    <p:sldLayoutId id="2147484211" r:id="rId54"/>
    <p:sldLayoutId id="2147483943" r:id="rId55"/>
    <p:sldLayoutId id="2147483942" r:id="rId56"/>
    <p:sldLayoutId id="2147484212" r:id="rId57"/>
    <p:sldLayoutId id="2147483976" r:id="rId58"/>
    <p:sldLayoutId id="2147483882" r:id="rId59"/>
    <p:sldLayoutId id="2147483879" r:id="rId60"/>
    <p:sldLayoutId id="2147483883" r:id="rId61"/>
    <p:sldLayoutId id="2147483884" r:id="rId62"/>
    <p:sldLayoutId id="2147483975" r:id="rId63"/>
    <p:sldLayoutId id="2147483888" r:id="rId64"/>
    <p:sldLayoutId id="2147483885" r:id="rId65"/>
    <p:sldLayoutId id="2147483889" r:id="rId66"/>
    <p:sldLayoutId id="2147483890" r:id="rId67"/>
    <p:sldLayoutId id="2147483973" r:id="rId68"/>
    <p:sldLayoutId id="2147483894" r:id="rId69"/>
    <p:sldLayoutId id="2147483891" r:id="rId70"/>
    <p:sldLayoutId id="2147483895" r:id="rId71"/>
    <p:sldLayoutId id="2147483896" r:id="rId72"/>
    <p:sldLayoutId id="2147483972" r:id="rId73"/>
    <p:sldLayoutId id="2147483900" r:id="rId74"/>
    <p:sldLayoutId id="2147483897" r:id="rId75"/>
    <p:sldLayoutId id="2147483901" r:id="rId76"/>
    <p:sldLayoutId id="2147483902" r:id="rId77"/>
    <p:sldLayoutId id="2147483968" r:id="rId78"/>
    <p:sldLayoutId id="2147483912" r:id="rId79"/>
    <p:sldLayoutId id="2147483909" r:id="rId80"/>
    <p:sldLayoutId id="2147483913" r:id="rId81"/>
    <p:sldLayoutId id="2147483914" r:id="rId82"/>
    <p:sldLayoutId id="2147484076" r:id="rId83"/>
    <p:sldLayoutId id="2147484077" r:id="rId84"/>
    <p:sldLayoutId id="2147484073" r:id="rId85"/>
    <p:sldLayoutId id="2147484080" r:id="rId86"/>
    <p:sldLayoutId id="2147484081" r:id="rId87"/>
    <p:sldLayoutId id="2147483950" r:id="rId88"/>
    <p:sldLayoutId id="2147483947" r:id="rId89"/>
    <p:sldLayoutId id="2147483944" r:id="rId90"/>
    <p:sldLayoutId id="2147483948" r:id="rId91"/>
    <p:sldLayoutId id="2147483949" r:id="rId92"/>
    <p:sldLayoutId id="2147483958" r:id="rId93"/>
    <p:sldLayoutId id="2147483957" r:id="rId94"/>
    <p:sldLayoutId id="2147483954" r:id="rId95"/>
    <p:sldLayoutId id="2147483959" r:id="rId96"/>
    <p:sldLayoutId id="2147484027" r:id="rId97"/>
    <p:sldLayoutId id="2147484345" r:id="rId98"/>
    <p:sldLayoutId id="2147484347" r:id="rId99"/>
    <p:sldLayoutId id="2147484940" r:id="rId100"/>
    <p:sldLayoutId id="2147484942" r:id="rId101"/>
    <p:sldLayoutId id="2147485308" r:id="rId102"/>
    <p:sldLayoutId id="2147485309" r:id="rId103"/>
    <p:sldLayoutId id="2147485310" r:id="rId10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userDrawn="1">
          <p15:clr>
            <a:srgbClr val="F26B43"/>
          </p15:clr>
        </p15:guide>
        <p15:guide id="2" pos="303" userDrawn="1">
          <p15:clr>
            <a:srgbClr val="F26B43"/>
          </p15:clr>
        </p15:guide>
        <p15:guide id="3" orient="horz" pos="1076" userDrawn="1">
          <p15:clr>
            <a:srgbClr val="F26B43"/>
          </p15:clr>
        </p15:guide>
        <p15:guide id="4" orient="horz" pos="216" userDrawn="1">
          <p15:clr>
            <a:srgbClr val="F26B43"/>
          </p15:clr>
        </p15:guide>
        <p15:guide id="6" pos="7368">
          <p15:clr>
            <a:srgbClr val="F26B43"/>
          </p15:clr>
        </p15:guide>
        <p15:guide id="7" orient="horz" pos="4320" userDrawn="1">
          <p15:clr>
            <a:srgbClr val="F26B43"/>
          </p15:clr>
        </p15:guide>
        <p15:guide id="8" orient="horz" pos="648" userDrawn="1">
          <p15:clr>
            <a:srgbClr val="F26B43"/>
          </p15:clr>
        </p15:guide>
        <p15:guide id="9" pos="3912" userDrawn="1">
          <p15:clr>
            <a:srgbClr val="F26B43"/>
          </p15:clr>
        </p15:guide>
        <p15:guide id="10" pos="756" userDrawn="1">
          <p15:clr>
            <a:srgbClr val="F26B43"/>
          </p15:clr>
        </p15:guide>
        <p15:guide id="11" pos="908" userDrawn="1">
          <p15:clr>
            <a:srgbClr val="F26B43"/>
          </p15:clr>
        </p15:guide>
        <p15:guide id="12" pos="1361" userDrawn="1">
          <p15:clr>
            <a:srgbClr val="F26B43"/>
          </p15:clr>
        </p15:guide>
        <p15:guide id="13" pos="1513" userDrawn="1">
          <p15:clr>
            <a:srgbClr val="F26B43"/>
          </p15:clr>
        </p15:guide>
        <p15:guide id="14" pos="1955" userDrawn="1">
          <p15:clr>
            <a:srgbClr val="F26B43"/>
          </p15:clr>
        </p15:guide>
        <p15:guide id="15" pos="2106" userDrawn="1">
          <p15:clr>
            <a:srgbClr val="F26B43"/>
          </p15:clr>
        </p15:guide>
        <p15:guide id="16" pos="2554" userDrawn="1">
          <p15:clr>
            <a:srgbClr val="F26B43"/>
          </p15:clr>
        </p15:guide>
        <p15:guide id="17" pos="2717" userDrawn="1">
          <p15:clr>
            <a:srgbClr val="F26B43"/>
          </p15:clr>
        </p15:guide>
        <p15:guide id="18" pos="3159" userDrawn="1">
          <p15:clr>
            <a:srgbClr val="F26B43"/>
          </p15:clr>
        </p15:guide>
        <p15:guide id="19" pos="3316" userDrawn="1">
          <p15:clr>
            <a:srgbClr val="F26B43"/>
          </p15:clr>
        </p15:guide>
        <p15:guide id="20" pos="3759" userDrawn="1">
          <p15:clr>
            <a:srgbClr val="F26B43"/>
          </p15:clr>
        </p15:guide>
        <p15:guide id="21" pos="4364" userDrawn="1">
          <p15:clr>
            <a:srgbClr val="F26B43"/>
          </p15:clr>
        </p15:guide>
        <p15:guide id="22" pos="4509" userDrawn="1">
          <p15:clr>
            <a:srgbClr val="F26B43"/>
          </p15:clr>
        </p15:guide>
        <p15:guide id="23" pos="4968" userDrawn="1">
          <p15:clr>
            <a:srgbClr val="F26B43"/>
          </p15:clr>
        </p15:guide>
        <p15:guide id="24" pos="5114" userDrawn="1">
          <p15:clr>
            <a:srgbClr val="F26B43"/>
          </p15:clr>
        </p15:guide>
        <p15:guide id="25" pos="5562" userDrawn="1">
          <p15:clr>
            <a:srgbClr val="F26B43"/>
          </p15:clr>
        </p15:guide>
        <p15:guide id="26" pos="5713" userDrawn="1">
          <p15:clr>
            <a:srgbClr val="F26B43"/>
          </p15:clr>
        </p15:guide>
        <p15:guide id="27" pos="6161" userDrawn="1">
          <p15:clr>
            <a:srgbClr val="F26B43"/>
          </p15:clr>
        </p15:guide>
        <p15:guide id="28" pos="6319" userDrawn="1">
          <p15:clr>
            <a:srgbClr val="F26B43"/>
          </p15:clr>
        </p15:guide>
        <p15:guide id="29" pos="6761" userDrawn="1">
          <p15:clr>
            <a:srgbClr val="F26B43"/>
          </p15:clr>
        </p15:guide>
        <p15:guide id="30" pos="6918" userDrawn="1">
          <p15:clr>
            <a:srgbClr val="F26B43"/>
          </p15:clr>
        </p15:guide>
        <p15:guide id="32" pos="7680" userDrawn="1">
          <p15:clr>
            <a:srgbClr val="F26B43"/>
          </p15:clr>
        </p15:guide>
        <p15:guide id="33" userDrawn="1">
          <p15:clr>
            <a:srgbClr val="F26B43"/>
          </p15:clr>
        </p15:guide>
        <p15:guide id="34" orient="horz" pos="431" userDrawn="1">
          <p15:clr>
            <a:srgbClr val="F26B43"/>
          </p15:clr>
        </p15:guide>
        <p15:guide id="35" orient="horz" pos="861" userDrawn="1">
          <p15:clr>
            <a:srgbClr val="F26B43"/>
          </p15:clr>
        </p15:guide>
        <p15:guide id="36" orient="horz" pos="1297" userDrawn="1">
          <p15:clr>
            <a:srgbClr val="F26B43"/>
          </p15:clr>
        </p15:guide>
        <p15:guide id="37" orient="horz" pos="1513" userDrawn="1">
          <p15:clr>
            <a:srgbClr val="F26B43"/>
          </p15:clr>
        </p15:guide>
        <p15:guide id="38" orient="horz" pos="1728" userDrawn="1">
          <p15:clr>
            <a:srgbClr val="F26B43"/>
          </p15:clr>
        </p15:guide>
        <p15:guide id="39" orient="horz" pos="1943" userDrawn="1">
          <p15:clr>
            <a:srgbClr val="F26B43"/>
          </p15:clr>
        </p15:guide>
        <p15:guide id="40" orient="horz" pos="2159" userDrawn="1">
          <p15:clr>
            <a:srgbClr val="F26B43"/>
          </p15:clr>
        </p15:guide>
        <p15:guide id="41" orient="horz" userDrawn="1">
          <p15:clr>
            <a:srgbClr val="F26B43"/>
          </p15:clr>
        </p15:guide>
        <p15:guide id="42" orient="horz" pos="2374" userDrawn="1">
          <p15:clr>
            <a:srgbClr val="F26B43"/>
          </p15:clr>
        </p15:guide>
        <p15:guide id="43" orient="horz" pos="2589" userDrawn="1">
          <p15:clr>
            <a:srgbClr val="F26B43"/>
          </p15:clr>
        </p15:guide>
        <p15:guide id="44" orient="horz" pos="2804" userDrawn="1">
          <p15:clr>
            <a:srgbClr val="F26B43"/>
          </p15:clr>
        </p15:guide>
        <p15:guide id="45" orient="horz" pos="3025" userDrawn="1">
          <p15:clr>
            <a:srgbClr val="F26B43"/>
          </p15:clr>
        </p15:guide>
        <p15:guide id="46" orient="horz" pos="3241" userDrawn="1">
          <p15:clr>
            <a:srgbClr val="F26B43"/>
          </p15:clr>
        </p15:guide>
        <p15:guide id="47" orient="horz" pos="3456" userDrawn="1">
          <p15:clr>
            <a:srgbClr val="F26B43"/>
          </p15:clr>
        </p15:guide>
        <p15:guide id="48" orient="horz" pos="3671" userDrawn="1">
          <p15:clr>
            <a:srgbClr val="F26B43"/>
          </p15:clr>
        </p15:guide>
        <p15:guide id="49" orient="horz" pos="388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5938" y="628016"/>
            <a:ext cx="11160126" cy="647700"/>
          </a:xfrm>
          <a:prstGeom prst="rect">
            <a:avLst/>
          </a:prstGeom>
        </p:spPr>
        <p:txBody>
          <a:bodyPr vert="horz" wrap="square" lIns="0" tIns="0" rIns="0" bIns="0" rtlCol="0" anchor="t">
            <a:noAutofit/>
          </a:bodyPr>
          <a:lstStyle/>
          <a:p>
            <a:r>
              <a:rPr lang="en-US"/>
              <a:t>Click to edit Parent title style</a:t>
            </a:r>
          </a:p>
        </p:txBody>
      </p:sp>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515938" y="1493520"/>
            <a:ext cx="11160126" cy="4672330"/>
          </a:xfrm>
          <a:prstGeom prst="rect">
            <a:avLst/>
          </a:prstGeom>
        </p:spPr>
        <p:txBody>
          <a:bodyPr vert="horz" lIns="0" tIns="0" rIns="0" bIns="0" rtlCol="0">
            <a:noAutofit/>
          </a:bodyPr>
          <a:lstStyle/>
          <a:p>
            <a:pPr lvl="0"/>
            <a:r>
              <a:rPr lang="en-US"/>
              <a:t>Click to edit Parent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8"/>
            <a:r>
              <a:rPr lang="en-US"/>
              <a:t>Ninth</a:t>
            </a: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515938" y="6396925"/>
            <a:ext cx="6359648" cy="118174"/>
          </a:xfrm>
          <a:prstGeom prst="rect">
            <a:avLst/>
          </a:prstGeom>
        </p:spPr>
        <p:txBody>
          <a:bodyPr vert="horz" wrap="square" lIns="0" tIns="0" rIns="0" bIns="0" rtlCol="0" anchor="b">
            <a:no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90000"/>
                  </a:schemeClr>
                </a:solidFill>
                <a:latin typeface="+mn-lt"/>
                <a:ea typeface="+mn-ea"/>
                <a:cs typeface="+mn-cs"/>
              </a:defRPr>
            </a:lvl1pPr>
          </a:lstStyle>
          <a:p>
            <a:r>
              <a:rPr lang="en-CA"/>
              <a:t>5G Broadcast Conference</a:t>
            </a:r>
          </a:p>
        </p:txBody>
      </p:sp>
      <p:sp>
        <p:nvSpPr>
          <p:cNvPr id="98" name="TextBox 97"/>
          <p:cNvSpPr txBox="1"/>
          <p:nvPr userDrawn="1"/>
        </p:nvSpPr>
        <p:spPr>
          <a:xfrm>
            <a:off x="11676063" y="6371918"/>
            <a:ext cx="376236" cy="153055"/>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l" defTabSz="914400" rtl="0" eaLnBrk="1" latinLnBrk="0" hangingPunct="1">
              <a:lnSpc>
                <a:spcPct val="125000"/>
              </a:lnSpc>
            </a:pPr>
            <a:fld id="{B01BFD70-D99E-427C-A01B-19B2BB56A3C8}" type="slidenum">
              <a:rPr lang="en-US" sz="800" kern="1200" smtClean="0">
                <a:solidFill>
                  <a:schemeClr val="accent6">
                    <a:lumMod val="90000"/>
                  </a:schemeClr>
                </a:solidFill>
                <a:latin typeface="+mn-lt"/>
                <a:ea typeface="+mn-ea"/>
                <a:cs typeface="+mn-cs"/>
              </a:rPr>
              <a:pPr marL="0" lvl="0" algn="l" defTabSz="914400" rtl="0" eaLnBrk="1" latinLnBrk="0" hangingPunct="1">
                <a:lnSpc>
                  <a:spcPct val="125000"/>
                </a:lnSpc>
              </a:pPr>
              <a:t>‹#›</a:t>
            </a:fld>
            <a:endParaRPr lang="en-US" sz="800" kern="1200">
              <a:solidFill>
                <a:schemeClr val="accent6">
                  <a:lumMod val="90000"/>
                </a:schemeClr>
              </a:solidFill>
              <a:latin typeface="+mn-lt"/>
              <a:ea typeface="+mn-ea"/>
              <a:cs typeface="+mn-cs"/>
            </a:endParaRPr>
          </a:p>
        </p:txBody>
      </p:sp>
    </p:spTree>
    <p:extLst>
      <p:ext uri="{BB962C8B-B14F-4D97-AF65-F5344CB8AC3E}">
        <p14:creationId xmlns:p14="http://schemas.microsoft.com/office/powerpoint/2010/main" val="1066400168"/>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 id="2147485242" r:id="rId23"/>
    <p:sldLayoutId id="2147485243" r:id="rId24"/>
    <p:sldLayoutId id="2147485244" r:id="rId25"/>
    <p:sldLayoutId id="2147485245" r:id="rId26"/>
    <p:sldLayoutId id="2147485246" r:id="rId27"/>
    <p:sldLayoutId id="2147485247" r:id="rId28"/>
    <p:sldLayoutId id="2147485248" r:id="rId29"/>
    <p:sldLayoutId id="2147485249" r:id="rId30"/>
    <p:sldLayoutId id="2147485250" r:id="rId31"/>
    <p:sldLayoutId id="2147485251" r:id="rId32"/>
    <p:sldLayoutId id="2147485252" r:id="rId33"/>
    <p:sldLayoutId id="2147485253" r:id="rId34"/>
    <p:sldLayoutId id="2147485254" r:id="rId35"/>
    <p:sldLayoutId id="2147485255" r:id="rId36"/>
    <p:sldLayoutId id="2147485256" r:id="rId37"/>
    <p:sldLayoutId id="2147485257" r:id="rId38"/>
    <p:sldLayoutId id="2147485258" r:id="rId39"/>
    <p:sldLayoutId id="2147485259" r:id="rId40"/>
    <p:sldLayoutId id="2147485260" r:id="rId41"/>
    <p:sldLayoutId id="2147485261" r:id="rId42"/>
    <p:sldLayoutId id="2147485262" r:id="rId43"/>
    <p:sldLayoutId id="2147485263" r:id="rId44"/>
    <p:sldLayoutId id="2147485264" r:id="rId45"/>
    <p:sldLayoutId id="2147485265" r:id="rId46"/>
    <p:sldLayoutId id="2147485266" r:id="rId47"/>
    <p:sldLayoutId id="2147485267" r:id="rId48"/>
    <p:sldLayoutId id="2147485268" r:id="rId49"/>
    <p:sldLayoutId id="2147485269" r:id="rId50"/>
    <p:sldLayoutId id="2147485270" r:id="rId51"/>
    <p:sldLayoutId id="2147485271" r:id="rId52"/>
    <p:sldLayoutId id="2147485272" r:id="rId53"/>
    <p:sldLayoutId id="2147485273" r:id="rId54"/>
    <p:sldLayoutId id="2147485274"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4" orient="horz" pos="391">
          <p15:clr>
            <a:srgbClr val="F26B43"/>
          </p15:clr>
        </p15:guide>
        <p15:guide id="6" pos="7355">
          <p15:clr>
            <a:srgbClr val="F26B43"/>
          </p15:clr>
        </p15:guide>
        <p15:guide id="10" orient="horz" pos="4020">
          <p15:clr>
            <a:srgbClr val="F26B43"/>
          </p15:clr>
        </p15:guide>
        <p15:guide id="11" orient="horz" pos="388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0E9D57C-6C19-5B79-7914-B27471778145}"/>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4" name="Date Placeholder 3">
            <a:extLst>
              <a:ext uri="{FF2B5EF4-FFF2-40B4-BE49-F238E27FC236}">
                <a16:creationId xmlns:a16="http://schemas.microsoft.com/office/drawing/2014/main" id="{32C5AD8F-EDA0-B5C2-9020-1D843CB3EBD3}"/>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en-US">
                <a:solidFill>
                  <a:srgbClr val="2B6CA3"/>
                </a:solidFill>
              </a:rPr>
              <a:t>9/25/2025</a:t>
            </a:r>
            <a:endParaRPr lang="nl-NL" dirty="0">
              <a:solidFill>
                <a:srgbClr val="2B6CA3"/>
              </a:solidFill>
            </a:endParaRPr>
          </a:p>
        </p:txBody>
      </p:sp>
      <p:pic>
        <p:nvPicPr>
          <p:cNvPr id="5" name="Imagen 4" descr="Imagen que contiene plato, dibujo&#10;&#10;El contenido generado por IA puede ser incorrecto.">
            <a:extLst>
              <a:ext uri="{FF2B5EF4-FFF2-40B4-BE49-F238E27FC236}">
                <a16:creationId xmlns:a16="http://schemas.microsoft.com/office/drawing/2014/main" id="{5623AC11-93E0-E3F0-BD1A-8ECAC4B06319}"/>
              </a:ext>
            </a:extLst>
          </p:cNvPr>
          <p:cNvPicPr>
            <a:picLocks noChangeAspect="1"/>
          </p:cNvPicPr>
          <p:nvPr userDrawn="1"/>
        </p:nvPicPr>
        <p:blipFill>
          <a:blip r:embed="rId9"/>
          <a:stretch>
            <a:fillRect/>
          </a:stretch>
        </p:blipFill>
        <p:spPr>
          <a:xfrm>
            <a:off x="29743" y="6435845"/>
            <a:ext cx="942503" cy="393967"/>
          </a:xfrm>
          <a:prstGeom prst="rect">
            <a:avLst/>
          </a:prstGeom>
        </p:spPr>
      </p:pic>
    </p:spTree>
    <p:extLst>
      <p:ext uri="{BB962C8B-B14F-4D97-AF65-F5344CB8AC3E}">
        <p14:creationId xmlns:p14="http://schemas.microsoft.com/office/powerpoint/2010/main" val="426982274"/>
      </p:ext>
    </p:extLst>
  </p:cSld>
  <p:clrMap bg1="lt1" tx1="dk1" bg2="lt2" tx2="dk2" accent1="accent1" accent2="accent2" accent3="accent3" accent4="accent4" accent5="accent5" accent6="accent6" hlink="hlink" folHlink="folHlink"/>
  <p:sldLayoutIdLst>
    <p:sldLayoutId id="2147485277" r:id="rId1"/>
    <p:sldLayoutId id="2147485278" r:id="rId2"/>
    <p:sldLayoutId id="2147485279" r:id="rId3"/>
    <p:sldLayoutId id="2147485280" r:id="rId4"/>
    <p:sldLayoutId id="2147485281" r:id="rId5"/>
    <p:sldLayoutId id="2147485282" r:id="rId6"/>
    <p:sldLayoutId id="2147485283" r:id="rId7"/>
  </p:sldLayoutIdLst>
  <p:hf sldNum="0" hdr="0"/>
  <p:txStyles>
    <p:titleStyle>
      <a:lvl1pPr algn="l" defTabSz="914377" rtl="0" eaLnBrk="1" latinLnBrk="0" hangingPunct="1">
        <a:lnSpc>
          <a:spcPct val="90000"/>
        </a:lnSpc>
        <a:spcBef>
          <a:spcPct val="0"/>
        </a:spcBef>
        <a:buNone/>
        <a:defRPr sz="3600" b="1" kern="1200" spc="-60" baseline="0">
          <a:solidFill>
            <a:srgbClr val="15C0F2"/>
          </a:solidFill>
          <a:latin typeface="+mj-lt"/>
          <a:ea typeface="+mj-ea"/>
          <a:cs typeface="+mj-cs"/>
        </a:defRPr>
      </a:lvl1pPr>
    </p:titleStyle>
    <p:bodyStyle>
      <a:lvl1pPr marL="182875" indent="-182875" algn="l" defTabSz="914377" rtl="0" eaLnBrk="1" latinLnBrk="0" hangingPunct="1">
        <a:lnSpc>
          <a:spcPct val="90000"/>
        </a:lnSpc>
        <a:spcBef>
          <a:spcPts val="1200"/>
        </a:spcBef>
        <a:buClr>
          <a:srgbClr val="1E4395"/>
        </a:buClr>
        <a:buFont typeface="Wingdings 2" pitchFamily="18" charset="2"/>
        <a:buChar char=""/>
        <a:defRPr sz="2400" kern="1200">
          <a:solidFill>
            <a:schemeClr val="tx1">
              <a:lumMod val="65000"/>
              <a:lumOff val="35000"/>
            </a:schemeClr>
          </a:solidFill>
          <a:latin typeface="+mn-lt"/>
          <a:ea typeface="+mn-ea"/>
          <a:cs typeface="+mn-cs"/>
        </a:defRPr>
      </a:lvl1pPr>
      <a:lvl2pPr marL="685783" indent="-182875" algn="l" defTabSz="914377" rtl="0" eaLnBrk="1" latinLnBrk="0" hangingPunct="1">
        <a:lnSpc>
          <a:spcPct val="90000"/>
        </a:lnSpc>
        <a:spcBef>
          <a:spcPts val="251"/>
        </a:spcBef>
        <a:spcAft>
          <a:spcPts val="251"/>
        </a:spcAft>
        <a:buClr>
          <a:srgbClr val="1E4395"/>
        </a:buClr>
        <a:buFont typeface="Wingdings 2" pitchFamily="18" charset="2"/>
        <a:buChar char=""/>
        <a:defRPr sz="2000" kern="1200">
          <a:solidFill>
            <a:schemeClr val="tx1">
              <a:lumMod val="65000"/>
              <a:lumOff val="35000"/>
            </a:schemeClr>
          </a:solidFill>
          <a:latin typeface="+mn-lt"/>
          <a:ea typeface="+mn-ea"/>
          <a:cs typeface="+mn-cs"/>
        </a:defRPr>
      </a:lvl2pPr>
      <a:lvl3pPr marL="1142971" indent="-182875" algn="l" defTabSz="914377" rtl="0" eaLnBrk="1" latinLnBrk="0" hangingPunct="1">
        <a:lnSpc>
          <a:spcPct val="90000"/>
        </a:lnSpc>
        <a:spcBef>
          <a:spcPts val="251"/>
        </a:spcBef>
        <a:spcAft>
          <a:spcPts val="251"/>
        </a:spcAft>
        <a:buClr>
          <a:srgbClr val="1E4395"/>
        </a:buClr>
        <a:buFont typeface="Wingdings 2" pitchFamily="18" charset="2"/>
        <a:buChar char=""/>
        <a:defRPr sz="1800" kern="1200">
          <a:solidFill>
            <a:schemeClr val="tx1">
              <a:lumMod val="65000"/>
              <a:lumOff val="35000"/>
            </a:schemeClr>
          </a:solidFill>
          <a:latin typeface="+mn-lt"/>
          <a:ea typeface="+mn-ea"/>
          <a:cs typeface="+mn-cs"/>
        </a:defRPr>
      </a:lvl3pPr>
      <a:lvl4pPr marL="1600160"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4pPr>
      <a:lvl5pPr marL="2057349"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5pPr>
      <a:lvl6pPr marL="2514537"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726"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8914"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103"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5" y="609600"/>
            <a:ext cx="8596668" cy="1320800"/>
          </a:xfrm>
          <a:prstGeom prst="rect">
            <a:avLst/>
          </a:prstGeom>
        </p:spPr>
        <p:txBody>
          <a:bodyPr vert="horz" lIns="91440" tIns="45720" rIns="91440" bIns="45720" rtlCol="0" anchor="t">
            <a:normAutofit/>
          </a:bodyPr>
          <a:lstStyle/>
          <a:p>
            <a:r>
              <a:rPr lang="de-DE"/>
              <a:t>Mastertitelformat bearbeiten</a:t>
            </a:r>
            <a:endParaRPr lang="en-US" dirty="0"/>
          </a:p>
        </p:txBody>
      </p:sp>
      <p:sp>
        <p:nvSpPr>
          <p:cNvPr id="3" name="Text Placeholder 2"/>
          <p:cNvSpPr>
            <a:spLocks noGrp="1"/>
          </p:cNvSpPr>
          <p:nvPr>
            <p:ph type="body" idx="1"/>
          </p:nvPr>
        </p:nvSpPr>
        <p:spPr>
          <a:xfrm>
            <a:off x="677335" y="2160590"/>
            <a:ext cx="8596668" cy="388077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7205133" y="6041363"/>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lgn="ctr"/>
            <a:r>
              <a:rPr lang="en-US"/>
              <a:t>9/25/2025</a:t>
            </a:r>
            <a:endParaRPr lang="en-US" dirty="0"/>
          </a:p>
        </p:txBody>
      </p:sp>
      <p:sp>
        <p:nvSpPr>
          <p:cNvPr id="5" name="Footer Placeholder 4"/>
          <p:cNvSpPr>
            <a:spLocks noGrp="1"/>
          </p:cNvSpPr>
          <p:nvPr>
            <p:ph type="ftr" sz="quarter" idx="3"/>
          </p:nvPr>
        </p:nvSpPr>
        <p:spPr>
          <a:xfrm>
            <a:off x="677335" y="6041363"/>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5G Broadcast Conference</a:t>
            </a:r>
            <a:endParaRPr lang="en-US" dirty="0"/>
          </a:p>
        </p:txBody>
      </p:sp>
      <p:sp>
        <p:nvSpPr>
          <p:cNvPr id="6" name="Slide Number Placeholder 5"/>
          <p:cNvSpPr>
            <a:spLocks noGrp="1"/>
          </p:cNvSpPr>
          <p:nvPr>
            <p:ph type="sldNum" sz="quarter" idx="4"/>
          </p:nvPr>
        </p:nvSpPr>
        <p:spPr>
          <a:xfrm>
            <a:off x="8590664" y="6041363"/>
            <a:ext cx="683339" cy="365125"/>
          </a:xfrm>
          <a:prstGeom prst="rect">
            <a:avLst/>
          </a:prstGeom>
        </p:spPr>
        <p:txBody>
          <a:bodyPr vert="horz" lIns="91440" tIns="45720" rIns="91440" bIns="45720" rtlCol="0" anchor="ctr"/>
          <a:lstStyle>
            <a:lvl1pPr algn="r">
              <a:defRPr sz="900">
                <a:solidFill>
                  <a:schemeClr val="accent1"/>
                </a:solidFill>
              </a:defRPr>
            </a:lvl1pPr>
          </a:lstStyle>
          <a:p>
            <a:fld id="{57CB76AC-E5DF-427C-ABDC-2F4FBD8E4B69}" type="slidenum">
              <a:rPr lang="en-US" smtClean="0"/>
              <a:pPr/>
              <a:t>‹#›</a:t>
            </a:fld>
            <a:endParaRPr lang="en-US" dirty="0"/>
          </a:p>
        </p:txBody>
      </p:sp>
      <p:graphicFrame>
        <p:nvGraphicFramePr>
          <p:cNvPr id="8" name="think-cell data - do not delete" hidden="1">
            <a:extLst>
              <a:ext uri="{FF2B5EF4-FFF2-40B4-BE49-F238E27FC236}">
                <a16:creationId xmlns:a16="http://schemas.microsoft.com/office/drawing/2014/main" id="{3F992D3B-5F2E-ABD1-5EE9-53407517D419}"/>
              </a:ext>
            </a:extLst>
          </p:cNvPr>
          <p:cNvGraphicFramePr>
            <a:graphicFrameLocks noChangeAspect="1"/>
          </p:cNvGraphicFramePr>
          <p:nvPr userDrawn="1">
            <p:custDataLst>
              <p:tags r:id="rId25"/>
            </p:custDataLst>
            <p:extLst>
              <p:ext uri="{D42A27DB-BD31-4B8C-83A1-F6EECF244321}">
                <p14:modId xmlns:p14="http://schemas.microsoft.com/office/powerpoint/2010/main" val="20631469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6" imgW="410" imgH="409" progId="TCLayout.ActiveDocument.1">
                  <p:embed/>
                </p:oleObj>
              </mc:Choice>
              <mc:Fallback>
                <p:oleObj name="think-cell Folie" r:id="rId26" imgW="410" imgH="409" progId="TCLayout.ActiveDocument.1">
                  <p:embed/>
                  <p:pic>
                    <p:nvPicPr>
                      <p:cNvPr id="8" name="think-cell data - do not delete" hidden="1">
                        <a:extLst>
                          <a:ext uri="{FF2B5EF4-FFF2-40B4-BE49-F238E27FC236}">
                            <a16:creationId xmlns:a16="http://schemas.microsoft.com/office/drawing/2014/main" id="{3F992D3B-5F2E-ABD1-5EE9-53407517D419}"/>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9" name="RS">
            <a:extLst>
              <a:ext uri="{FF2B5EF4-FFF2-40B4-BE49-F238E27FC236}">
                <a16:creationId xmlns:a16="http://schemas.microsoft.com/office/drawing/2014/main" id="{43C583F6-3015-72A8-370C-80FF0E67D45A}"/>
              </a:ext>
            </a:extLst>
          </p:cNvPr>
          <p:cNvSpPr txBox="1"/>
          <p:nvPr userDrawn="1"/>
        </p:nvSpPr>
        <p:spPr>
          <a:xfrm>
            <a:off x="1224000" y="6456133"/>
            <a:ext cx="1485333" cy="204000"/>
          </a:xfrm>
          <a:prstGeom prst="rect">
            <a:avLst/>
          </a:prstGeom>
          <a:noFill/>
        </p:spPr>
        <p:txBody>
          <a:bodyPr wrap="square" lIns="0" tIns="0" rIns="0" bIns="0" rtlCol="0" anchor="ctr" anchorCtr="0">
            <a:noAutofit/>
          </a:bodyPr>
          <a:lstStyle/>
          <a:p>
            <a:pPr algn="ctr">
              <a:lnSpc>
                <a:spcPct val="120000"/>
              </a:lnSpc>
            </a:pPr>
            <a:r>
              <a:rPr lang="en-US" sz="1467" dirty="0">
                <a:solidFill>
                  <a:schemeClr val="tx1"/>
                </a:solidFill>
                <a:latin typeface="Linotype Univers 420 Condensed" panose="020B0506030202020203" pitchFamily="34" charset="0"/>
              </a:rPr>
              <a:t>Rohde &amp; Schwarz</a:t>
            </a:r>
          </a:p>
        </p:txBody>
      </p:sp>
    </p:spTree>
    <p:extLst>
      <p:ext uri="{BB962C8B-B14F-4D97-AF65-F5344CB8AC3E}">
        <p14:creationId xmlns:p14="http://schemas.microsoft.com/office/powerpoint/2010/main" val="3986757140"/>
      </p:ext>
    </p:extLst>
  </p:cSld>
  <p:clrMap bg1="lt1" tx1="dk1" bg2="lt2" tx2="dk2" accent1="accent1" accent2="accent2" accent3="accent3" accent4="accent4" accent5="accent5" accent6="accent6" hlink="hlink" folHlink="folHlink"/>
  <p:sldLayoutIdLst>
    <p:sldLayoutId id="2147485285" r:id="rId1"/>
    <p:sldLayoutId id="2147485286" r:id="rId2"/>
    <p:sldLayoutId id="2147485287" r:id="rId3"/>
    <p:sldLayoutId id="2147485288" r:id="rId4"/>
    <p:sldLayoutId id="2147485289" r:id="rId5"/>
    <p:sldLayoutId id="2147485290" r:id="rId6"/>
    <p:sldLayoutId id="2147485291" r:id="rId7"/>
    <p:sldLayoutId id="2147485292" r:id="rId8"/>
    <p:sldLayoutId id="2147485293" r:id="rId9"/>
    <p:sldLayoutId id="2147485294" r:id="rId10"/>
    <p:sldLayoutId id="2147485295" r:id="rId11"/>
    <p:sldLayoutId id="2147485296" r:id="rId12"/>
    <p:sldLayoutId id="2147485297" r:id="rId13"/>
    <p:sldLayoutId id="2147485298" r:id="rId14"/>
    <p:sldLayoutId id="2147485299" r:id="rId15"/>
    <p:sldLayoutId id="2147485300" r:id="rId16"/>
    <p:sldLayoutId id="2147485301" r:id="rId17"/>
    <p:sldLayoutId id="2147485302" r:id="rId18"/>
    <p:sldLayoutId id="2147485303" r:id="rId19"/>
    <p:sldLayoutId id="2147485304" r:id="rId20"/>
    <p:sldLayoutId id="2147485305" r:id="rId21"/>
    <p:sldLayoutId id="2147485306" r:id="rId22"/>
    <p:sldLayoutId id="2147485307" r:id="rId23"/>
  </p:sldLayoutIdLst>
  <p:hf sldNum="0" hdr="0"/>
  <p:txStyles>
    <p:titleStyle>
      <a:lvl1pPr algn="l" defTabSz="457189"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0E9D57C-6C19-5B79-7914-B27471778145}"/>
              </a:ext>
            </a:extLst>
          </p:cNvPr>
          <p:cNvSpPr>
            <a:spLocks noGrp="1"/>
          </p:cNvSpPr>
          <p:nvPr>
            <p:ph type="sldNum" sz="quarter" idx="4"/>
          </p:nvPr>
        </p:nvSpPr>
        <p:spPr>
          <a:xfrm>
            <a:off x="11612665" y="6571022"/>
            <a:ext cx="549593" cy="277065"/>
          </a:xfrm>
          <a:prstGeom prst="rect">
            <a:avLst/>
          </a:prstGeom>
        </p:spPr>
        <p:txBody>
          <a:bodyPr vert="horz" lIns="91440" tIns="45720" rIns="91440" bIns="45720" rtlCol="0" anchor="ctr"/>
          <a:lstStyle>
            <a:lvl1pPr algn="r">
              <a:defRPr lang="fr-CH" sz="933" smtClean="0">
                <a:solidFill>
                  <a:srgbClr val="2B6CA3"/>
                </a:solidFill>
                <a:latin typeface="Poppins" panose="00000500000000000000" pitchFamily="2" charset="0"/>
                <a:cs typeface="Poppins" panose="00000500000000000000" pitchFamily="2" charset="0"/>
              </a:defRPr>
            </a:lvl1pPr>
          </a:lstStyle>
          <a:p>
            <a:fld id="{4FAB73BC-B049-4115-A692-8D63A059BFB8}" type="slidenum">
              <a:rPr lang="es-ES" smtClean="0"/>
              <a:pPr/>
              <a:t>‹#›</a:t>
            </a:fld>
            <a:endParaRPr lang="es-ES" dirty="0"/>
          </a:p>
        </p:txBody>
      </p:sp>
      <p:sp>
        <p:nvSpPr>
          <p:cNvPr id="4" name="Date Placeholder 3">
            <a:extLst>
              <a:ext uri="{FF2B5EF4-FFF2-40B4-BE49-F238E27FC236}">
                <a16:creationId xmlns:a16="http://schemas.microsoft.com/office/drawing/2014/main" id="{32C5AD8F-EDA0-B5C2-9020-1D843CB3EBD3}"/>
              </a:ext>
            </a:extLst>
          </p:cNvPr>
          <p:cNvSpPr>
            <a:spLocks noGrp="1"/>
          </p:cNvSpPr>
          <p:nvPr>
            <p:ph type="dt" sz="half" idx="2"/>
          </p:nvPr>
        </p:nvSpPr>
        <p:spPr>
          <a:xfrm>
            <a:off x="10592339" y="6571021"/>
            <a:ext cx="1020324" cy="276084"/>
          </a:xfrm>
          <a:prstGeom prst="rect">
            <a:avLst/>
          </a:prstGeom>
        </p:spPr>
        <p:txBody>
          <a:bodyPr lIns="0" tIns="0" rIns="0" bIns="0" anchor="ctr"/>
          <a:lstStyle>
            <a:lvl1pPr marL="0" algn="r" defTabSz="609585" rtl="0" eaLnBrk="1" latinLnBrk="0" hangingPunct="1">
              <a:defRPr lang="en-US" sz="933" kern="1200" smtClean="0">
                <a:solidFill>
                  <a:srgbClr val="000000">
                    <a:lumMod val="65000"/>
                    <a:lumOff val="35000"/>
                  </a:srgbClr>
                </a:solidFill>
                <a:latin typeface="Poppins" panose="00000500000000000000" pitchFamily="2" charset="0"/>
                <a:ea typeface="+mn-ea"/>
                <a:cs typeface="Poppins" panose="00000500000000000000" pitchFamily="2" charset="0"/>
              </a:defRPr>
            </a:lvl1pPr>
          </a:lstStyle>
          <a:p>
            <a:pPr>
              <a:defRPr/>
            </a:pPr>
            <a:r>
              <a:rPr lang="nl-NL">
                <a:solidFill>
                  <a:srgbClr val="2B6CA3"/>
                </a:solidFill>
              </a:rPr>
              <a:t>5G-MAG © 2025</a:t>
            </a:r>
            <a:endParaRPr lang="nl-NL" dirty="0">
              <a:solidFill>
                <a:srgbClr val="2B6CA3"/>
              </a:solidFill>
            </a:endParaRPr>
          </a:p>
        </p:txBody>
      </p:sp>
      <p:pic>
        <p:nvPicPr>
          <p:cNvPr id="5" name="Imagen 4" descr="Imagen que contiene plato, dibujo&#10;&#10;El contenido generado por IA puede ser incorrecto.">
            <a:extLst>
              <a:ext uri="{FF2B5EF4-FFF2-40B4-BE49-F238E27FC236}">
                <a16:creationId xmlns:a16="http://schemas.microsoft.com/office/drawing/2014/main" id="{5623AC11-93E0-E3F0-BD1A-8ECAC4B06319}"/>
              </a:ext>
            </a:extLst>
          </p:cNvPr>
          <p:cNvPicPr>
            <a:picLocks noChangeAspect="1"/>
          </p:cNvPicPr>
          <p:nvPr userDrawn="1"/>
        </p:nvPicPr>
        <p:blipFill>
          <a:blip r:embed="rId9"/>
          <a:stretch>
            <a:fillRect/>
          </a:stretch>
        </p:blipFill>
        <p:spPr>
          <a:xfrm>
            <a:off x="29743" y="6435845"/>
            <a:ext cx="942503" cy="393967"/>
          </a:xfrm>
          <a:prstGeom prst="rect">
            <a:avLst/>
          </a:prstGeom>
        </p:spPr>
      </p:pic>
    </p:spTree>
    <p:extLst>
      <p:ext uri="{BB962C8B-B14F-4D97-AF65-F5344CB8AC3E}">
        <p14:creationId xmlns:p14="http://schemas.microsoft.com/office/powerpoint/2010/main" val="2947742269"/>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Lst>
  <p:hf hdr="0"/>
  <p:txStyles>
    <p:titleStyle>
      <a:lvl1pPr algn="l" defTabSz="914377" rtl="0" eaLnBrk="1" latinLnBrk="0" hangingPunct="1">
        <a:lnSpc>
          <a:spcPct val="90000"/>
        </a:lnSpc>
        <a:spcBef>
          <a:spcPct val="0"/>
        </a:spcBef>
        <a:buNone/>
        <a:defRPr sz="3600" b="1" kern="1200" spc="-60" baseline="0">
          <a:solidFill>
            <a:srgbClr val="15C0F2"/>
          </a:solidFill>
          <a:latin typeface="+mj-lt"/>
          <a:ea typeface="+mj-ea"/>
          <a:cs typeface="+mj-cs"/>
        </a:defRPr>
      </a:lvl1pPr>
    </p:titleStyle>
    <p:bodyStyle>
      <a:lvl1pPr marL="182875" indent="-182875" algn="l" defTabSz="914377" rtl="0" eaLnBrk="1" latinLnBrk="0" hangingPunct="1">
        <a:lnSpc>
          <a:spcPct val="90000"/>
        </a:lnSpc>
        <a:spcBef>
          <a:spcPts val="1200"/>
        </a:spcBef>
        <a:buClr>
          <a:srgbClr val="1E4395"/>
        </a:buClr>
        <a:buFont typeface="Wingdings 2" pitchFamily="18" charset="2"/>
        <a:buChar char=""/>
        <a:defRPr sz="2400" kern="1200">
          <a:solidFill>
            <a:schemeClr val="tx1">
              <a:lumMod val="65000"/>
              <a:lumOff val="35000"/>
            </a:schemeClr>
          </a:solidFill>
          <a:latin typeface="+mn-lt"/>
          <a:ea typeface="+mn-ea"/>
          <a:cs typeface="+mn-cs"/>
        </a:defRPr>
      </a:lvl1pPr>
      <a:lvl2pPr marL="685783" indent="-182875" algn="l" defTabSz="914377" rtl="0" eaLnBrk="1" latinLnBrk="0" hangingPunct="1">
        <a:lnSpc>
          <a:spcPct val="90000"/>
        </a:lnSpc>
        <a:spcBef>
          <a:spcPts val="251"/>
        </a:spcBef>
        <a:spcAft>
          <a:spcPts val="251"/>
        </a:spcAft>
        <a:buClr>
          <a:srgbClr val="1E4395"/>
        </a:buClr>
        <a:buFont typeface="Wingdings 2" pitchFamily="18" charset="2"/>
        <a:buChar char=""/>
        <a:defRPr sz="2000" kern="1200">
          <a:solidFill>
            <a:schemeClr val="tx1">
              <a:lumMod val="65000"/>
              <a:lumOff val="35000"/>
            </a:schemeClr>
          </a:solidFill>
          <a:latin typeface="+mn-lt"/>
          <a:ea typeface="+mn-ea"/>
          <a:cs typeface="+mn-cs"/>
        </a:defRPr>
      </a:lvl2pPr>
      <a:lvl3pPr marL="1142971" indent="-182875" algn="l" defTabSz="914377" rtl="0" eaLnBrk="1" latinLnBrk="0" hangingPunct="1">
        <a:lnSpc>
          <a:spcPct val="90000"/>
        </a:lnSpc>
        <a:spcBef>
          <a:spcPts val="251"/>
        </a:spcBef>
        <a:spcAft>
          <a:spcPts val="251"/>
        </a:spcAft>
        <a:buClr>
          <a:srgbClr val="1E4395"/>
        </a:buClr>
        <a:buFont typeface="Wingdings 2" pitchFamily="18" charset="2"/>
        <a:buChar char=""/>
        <a:defRPr sz="1800" kern="1200">
          <a:solidFill>
            <a:schemeClr val="tx1">
              <a:lumMod val="65000"/>
              <a:lumOff val="35000"/>
            </a:schemeClr>
          </a:solidFill>
          <a:latin typeface="+mn-lt"/>
          <a:ea typeface="+mn-ea"/>
          <a:cs typeface="+mn-cs"/>
        </a:defRPr>
      </a:lvl3pPr>
      <a:lvl4pPr marL="1600160"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4pPr>
      <a:lvl5pPr marL="2057349" indent="-182875" algn="l" defTabSz="914377" rtl="0" eaLnBrk="1" latinLnBrk="0" hangingPunct="1">
        <a:lnSpc>
          <a:spcPct val="90000"/>
        </a:lnSpc>
        <a:spcBef>
          <a:spcPts val="251"/>
        </a:spcBef>
        <a:spcAft>
          <a:spcPts val="251"/>
        </a:spcAft>
        <a:buClr>
          <a:srgbClr val="1E4395"/>
        </a:buClr>
        <a:buFont typeface="Wingdings 2" pitchFamily="18" charset="2"/>
        <a:buChar char=""/>
        <a:defRPr sz="1600" kern="1200">
          <a:solidFill>
            <a:schemeClr val="tx1">
              <a:lumMod val="65000"/>
              <a:lumOff val="35000"/>
            </a:schemeClr>
          </a:solidFill>
          <a:latin typeface="+mn-lt"/>
          <a:ea typeface="+mn-ea"/>
          <a:cs typeface="+mn-cs"/>
        </a:defRPr>
      </a:lvl5pPr>
      <a:lvl6pPr marL="2514537"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726"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8914"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103" indent="-228594" algn="l" defTabSz="914377" rtl="0" eaLnBrk="1" latinLnBrk="0" hangingPunct="1">
        <a:lnSpc>
          <a:spcPct val="90000"/>
        </a:lnSpc>
        <a:spcBef>
          <a:spcPts val="251"/>
        </a:spcBef>
        <a:spcAft>
          <a:spcPts val="251"/>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1624411132"/>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 id="2147484379" r:id="rId25"/>
    <p:sldLayoutId id="2147484380" r:id="rId26"/>
    <p:sldLayoutId id="2147484381" r:id="rId27"/>
    <p:sldLayoutId id="2147484382" r:id="rId28"/>
    <p:sldLayoutId id="2147484383" r:id="rId29"/>
    <p:sldLayoutId id="2147484384" r:id="rId30"/>
    <p:sldLayoutId id="2147484385" r:id="rId31"/>
    <p:sldLayoutId id="2147484386" r:id="rId32"/>
    <p:sldLayoutId id="2147484387" r:id="rId33"/>
    <p:sldLayoutId id="2147484388" r:id="rId34"/>
    <p:sldLayoutId id="2147484389" r:id="rId35"/>
    <p:sldLayoutId id="2147484390" r:id="rId36"/>
    <p:sldLayoutId id="2147484391" r:id="rId37"/>
    <p:sldLayoutId id="2147484392" r:id="rId38"/>
    <p:sldLayoutId id="2147484393" r:id="rId39"/>
    <p:sldLayoutId id="2147484394" r:id="rId40"/>
    <p:sldLayoutId id="2147484395" r:id="rId41"/>
    <p:sldLayoutId id="2147484396" r:id="rId42"/>
    <p:sldLayoutId id="2147484397" r:id="rId43"/>
    <p:sldLayoutId id="2147484398" r:id="rId44"/>
    <p:sldLayoutId id="2147484399" r:id="rId45"/>
    <p:sldLayoutId id="2147484400" r:id="rId46"/>
    <p:sldLayoutId id="2147484401" r:id="rId47"/>
    <p:sldLayoutId id="2147484402" r:id="rId48"/>
    <p:sldLayoutId id="2147484403" r:id="rId49"/>
    <p:sldLayoutId id="2147484404" r:id="rId50"/>
    <p:sldLayoutId id="2147484405" r:id="rId51"/>
    <p:sldLayoutId id="2147484406" r:id="rId52"/>
    <p:sldLayoutId id="2147484407" r:id="rId53"/>
    <p:sldLayoutId id="2147484408" r:id="rId54"/>
    <p:sldLayoutId id="2147484409" r:id="rId55"/>
    <p:sldLayoutId id="2147484410" r:id="rId56"/>
    <p:sldLayoutId id="2147484411" r:id="rId57"/>
    <p:sldLayoutId id="2147484412" r:id="rId58"/>
    <p:sldLayoutId id="2147484413" r:id="rId59"/>
    <p:sldLayoutId id="2147484414" r:id="rId60"/>
    <p:sldLayoutId id="2147484415" r:id="rId61"/>
    <p:sldLayoutId id="2147484416" r:id="rId62"/>
    <p:sldLayoutId id="2147484417" r:id="rId63"/>
    <p:sldLayoutId id="2147484418" r:id="rId64"/>
    <p:sldLayoutId id="2147484419" r:id="rId65"/>
    <p:sldLayoutId id="2147484420" r:id="rId66"/>
    <p:sldLayoutId id="2147484421" r:id="rId67"/>
    <p:sldLayoutId id="2147484422" r:id="rId68"/>
    <p:sldLayoutId id="2147484423" r:id="rId69"/>
    <p:sldLayoutId id="2147484424" r:id="rId70"/>
    <p:sldLayoutId id="2147484425" r:id="rId71"/>
    <p:sldLayoutId id="2147484426" r:id="rId72"/>
    <p:sldLayoutId id="2147484427" r:id="rId73"/>
    <p:sldLayoutId id="2147484428" r:id="rId74"/>
    <p:sldLayoutId id="2147484429" r:id="rId75"/>
    <p:sldLayoutId id="2147484430" r:id="rId76"/>
    <p:sldLayoutId id="2147484431" r:id="rId77"/>
    <p:sldLayoutId id="2147484432" r:id="rId78"/>
    <p:sldLayoutId id="2147484433" r:id="rId79"/>
    <p:sldLayoutId id="2147484434" r:id="rId80"/>
    <p:sldLayoutId id="2147484435" r:id="rId81"/>
    <p:sldLayoutId id="2147484436" r:id="rId82"/>
    <p:sldLayoutId id="2147484437" r:id="rId83"/>
    <p:sldLayoutId id="2147484438" r:id="rId84"/>
    <p:sldLayoutId id="2147484439" r:id="rId85"/>
    <p:sldLayoutId id="2147484440" r:id="rId86"/>
    <p:sldLayoutId id="2147484750" r:id="rId87"/>
    <p:sldLayoutId id="2147484751" r:id="rId88"/>
    <p:sldLayoutId id="2147484753" r:id="rId89"/>
    <p:sldLayoutId id="2147484754" r:id="rId90"/>
    <p:sldLayoutId id="2147484755" r:id="rId91"/>
    <p:sldLayoutId id="2147484756" r:id="rId92"/>
    <p:sldLayoutId id="2147484758" r:id="rId93"/>
    <p:sldLayoutId id="2147484759" r:id="rId9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4109421176"/>
      </p:ext>
    </p:extLst>
  </p:cSld>
  <p:clrMap bg1="lt1" tx1="dk1" bg2="lt2" tx2="dk2" accent1="accent1" accent2="accent2" accent3="accent3" accent4="accent4" accent5="accent5" accent6="accent6" hlink="hlink" folHlink="folHlink"/>
  <p:sldLayoutIdLst>
    <p:sldLayoutId id="2147484442" r:id="rId1"/>
    <p:sldLayoutId id="2147484443" r:id="rId2"/>
    <p:sldLayoutId id="2147484444" r:id="rId3"/>
    <p:sldLayoutId id="2147484445" r:id="rId4"/>
    <p:sldLayoutId id="2147484446" r:id="rId5"/>
    <p:sldLayoutId id="2147484447" r:id="rId6"/>
    <p:sldLayoutId id="2147484448" r:id="rId7"/>
    <p:sldLayoutId id="2147484449" r:id="rId8"/>
    <p:sldLayoutId id="2147484450" r:id="rId9"/>
    <p:sldLayoutId id="2147484451" r:id="rId10"/>
    <p:sldLayoutId id="2147484452" r:id="rId11"/>
    <p:sldLayoutId id="2147484453" r:id="rId12"/>
    <p:sldLayoutId id="2147484454" r:id="rId13"/>
    <p:sldLayoutId id="2147484455" r:id="rId14"/>
    <p:sldLayoutId id="2147484456" r:id="rId15"/>
    <p:sldLayoutId id="2147484457" r:id="rId16"/>
    <p:sldLayoutId id="2147484458" r:id="rId17"/>
    <p:sldLayoutId id="2147484459" r:id="rId18"/>
    <p:sldLayoutId id="2147484460" r:id="rId19"/>
    <p:sldLayoutId id="2147484461" r:id="rId20"/>
    <p:sldLayoutId id="2147484462" r:id="rId21"/>
    <p:sldLayoutId id="2147484463" r:id="rId22"/>
    <p:sldLayoutId id="2147484464" r:id="rId23"/>
    <p:sldLayoutId id="2147484465" r:id="rId24"/>
    <p:sldLayoutId id="2147484466" r:id="rId25"/>
    <p:sldLayoutId id="2147484467" r:id="rId26"/>
    <p:sldLayoutId id="2147484468" r:id="rId27"/>
    <p:sldLayoutId id="2147484469" r:id="rId28"/>
    <p:sldLayoutId id="2147484470" r:id="rId29"/>
    <p:sldLayoutId id="2147484471" r:id="rId30"/>
    <p:sldLayoutId id="2147484472" r:id="rId31"/>
    <p:sldLayoutId id="2147484473" r:id="rId32"/>
    <p:sldLayoutId id="2147484474" r:id="rId33"/>
    <p:sldLayoutId id="2147484475" r:id="rId34"/>
    <p:sldLayoutId id="2147484476" r:id="rId35"/>
    <p:sldLayoutId id="2147484477" r:id="rId36"/>
    <p:sldLayoutId id="2147484478" r:id="rId37"/>
    <p:sldLayoutId id="2147484479" r:id="rId38"/>
    <p:sldLayoutId id="2147484480" r:id="rId39"/>
    <p:sldLayoutId id="2147484481" r:id="rId40"/>
    <p:sldLayoutId id="2147484482" r:id="rId41"/>
    <p:sldLayoutId id="2147484483" r:id="rId42"/>
    <p:sldLayoutId id="2147484484" r:id="rId43"/>
    <p:sldLayoutId id="2147484485" r:id="rId44"/>
    <p:sldLayoutId id="2147484486" r:id="rId45"/>
    <p:sldLayoutId id="2147484487" r:id="rId46"/>
    <p:sldLayoutId id="2147484488" r:id="rId47"/>
    <p:sldLayoutId id="2147484489" r:id="rId48"/>
    <p:sldLayoutId id="2147484490" r:id="rId49"/>
    <p:sldLayoutId id="2147484491" r:id="rId50"/>
    <p:sldLayoutId id="2147484492" r:id="rId51"/>
    <p:sldLayoutId id="2147484493" r:id="rId52"/>
    <p:sldLayoutId id="2147484494" r:id="rId53"/>
    <p:sldLayoutId id="2147484495" r:id="rId54"/>
    <p:sldLayoutId id="2147484496" r:id="rId55"/>
    <p:sldLayoutId id="2147484497" r:id="rId56"/>
    <p:sldLayoutId id="2147484498" r:id="rId57"/>
    <p:sldLayoutId id="2147484499" r:id="rId58"/>
    <p:sldLayoutId id="2147484500" r:id="rId59"/>
    <p:sldLayoutId id="2147484501" r:id="rId60"/>
    <p:sldLayoutId id="2147484502" r:id="rId61"/>
    <p:sldLayoutId id="2147484503" r:id="rId62"/>
    <p:sldLayoutId id="2147484504" r:id="rId63"/>
    <p:sldLayoutId id="2147484505" r:id="rId64"/>
    <p:sldLayoutId id="2147484506" r:id="rId65"/>
    <p:sldLayoutId id="2147484507" r:id="rId66"/>
    <p:sldLayoutId id="2147484508" r:id="rId67"/>
    <p:sldLayoutId id="2147484509" r:id="rId68"/>
    <p:sldLayoutId id="2147484510" r:id="rId69"/>
    <p:sldLayoutId id="2147484511" r:id="rId70"/>
    <p:sldLayoutId id="2147484512" r:id="rId71"/>
    <p:sldLayoutId id="2147484513" r:id="rId72"/>
    <p:sldLayoutId id="2147484514" r:id="rId73"/>
    <p:sldLayoutId id="2147484515" r:id="rId74"/>
    <p:sldLayoutId id="2147484516" r:id="rId75"/>
    <p:sldLayoutId id="2147484517" r:id="rId76"/>
    <p:sldLayoutId id="2147484518" r:id="rId77"/>
    <p:sldLayoutId id="2147484519" r:id="rId78"/>
    <p:sldLayoutId id="2147484520" r:id="rId79"/>
    <p:sldLayoutId id="2147484521" r:id="rId80"/>
    <p:sldLayoutId id="2147484522" r:id="rId81"/>
    <p:sldLayoutId id="2147484523" r:id="rId82"/>
    <p:sldLayoutId id="2147484524" r:id="rId83"/>
    <p:sldLayoutId id="2147484525" r:id="rId84"/>
    <p:sldLayoutId id="2147484526" r:id="rId85"/>
    <p:sldLayoutId id="2147484527" r:id="rId86"/>
    <p:sldLayoutId id="2147484528" r:id="rId87"/>
    <p:sldLayoutId id="2147484529" r:id="rId88"/>
    <p:sldLayoutId id="2147484530" r:id="rId89"/>
    <p:sldLayoutId id="2147484531" r:id="rId90"/>
    <p:sldLayoutId id="2147484532" r:id="rId91"/>
    <p:sldLayoutId id="2147484533" r:id="rId92"/>
    <p:sldLayoutId id="2147484534" r:id="rId93"/>
    <p:sldLayoutId id="2147484535" r:id="rId94"/>
    <p:sldLayoutId id="2147484536" r:id="rId95"/>
    <p:sldLayoutId id="2147484537" r:id="rId96"/>
    <p:sldLayoutId id="2147484538" r:id="rId97"/>
    <p:sldLayoutId id="2147484539" r:id="rId98"/>
    <p:sldLayoutId id="2147484540" r:id="rId99"/>
    <p:sldLayoutId id="2147484541" r:id="rId100"/>
    <p:sldLayoutId id="2147484542" r:id="rId101"/>
    <p:sldLayoutId id="2147484543" r:id="rId102"/>
    <p:sldLayoutId id="2147484544" r:id="rId103"/>
    <p:sldLayoutId id="2147484545" r:id="rId104"/>
    <p:sldLayoutId id="2147484546" r:id="rId105"/>
    <p:sldLayoutId id="2147484547" r:id="rId106"/>
    <p:sldLayoutId id="2147484548" r:id="rId107"/>
    <p:sldLayoutId id="2147484549" r:id="rId108"/>
    <p:sldLayoutId id="2147484550" r:id="rId109"/>
    <p:sldLayoutId id="2147484551" r:id="rId110"/>
    <p:sldLayoutId id="2147484552" r:id="rId111"/>
    <p:sldLayoutId id="2147484553" r:id="rId112"/>
    <p:sldLayoutId id="2147484554" r:id="rId113"/>
    <p:sldLayoutId id="2147484555" r:id="rId114"/>
    <p:sldLayoutId id="2147484556" r:id="rId115"/>
    <p:sldLayoutId id="2147484557" r:id="rId116"/>
    <p:sldLayoutId id="2147484558" r:id="rId117"/>
    <p:sldLayoutId id="2147484559" r:id="rId118"/>
    <p:sldLayoutId id="2147484560" r:id="rId119"/>
    <p:sldLayoutId id="2147484561" r:id="rId120"/>
    <p:sldLayoutId id="2147484562" r:id="rId121"/>
    <p:sldLayoutId id="2147484563" r:id="rId122"/>
    <p:sldLayoutId id="2147484564" r:id="rId123"/>
    <p:sldLayoutId id="2147484565" r:id="rId124"/>
    <p:sldLayoutId id="2147484566" r:id="rId125"/>
    <p:sldLayoutId id="2147484567" r:id="rId126"/>
    <p:sldLayoutId id="2147484568" r:id="rId127"/>
    <p:sldLayoutId id="2147484569" r:id="rId128"/>
    <p:sldLayoutId id="2147484570" r:id="rId129"/>
    <p:sldLayoutId id="2147484571" r:id="rId130"/>
    <p:sldLayoutId id="2147484572" r:id="rId131"/>
    <p:sldLayoutId id="2147484573" r:id="rId132"/>
    <p:sldLayoutId id="2147484574" r:id="rId1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90500" indent="-190500"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98463"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69913" indent="-163513"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tabLst/>
        <a:defRPr lang="en-US" sz="1600" kern="1200" dirty="0" smtClean="0">
          <a:solidFill>
            <a:schemeClr val="tx1"/>
          </a:solidFill>
          <a:latin typeface="+mn-lt"/>
          <a:ea typeface="+mn-ea"/>
          <a:cs typeface="+mn-cs"/>
        </a:defRPr>
      </a:lvl3pPr>
      <a:lvl4pPr marL="742950"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1318458001"/>
      </p:ext>
    </p:extLst>
  </p:cSld>
  <p:clrMap bg1="lt1" tx1="dk1" bg2="lt2" tx2="dk2" accent1="accent1" accent2="accent2" accent3="accent3" accent4="accent4" accent5="accent5" accent6="accent6" hlink="hlink" folHlink="folHlink"/>
  <p:sldLayoutIdLst>
    <p:sldLayoutId id="2147484576" r:id="rId1"/>
    <p:sldLayoutId id="2147484577" r:id="rId2"/>
    <p:sldLayoutId id="2147484578" r:id="rId3"/>
    <p:sldLayoutId id="2147484579" r:id="rId4"/>
    <p:sldLayoutId id="2147484580" r:id="rId5"/>
    <p:sldLayoutId id="2147484581" r:id="rId6"/>
    <p:sldLayoutId id="2147484582" r:id="rId7"/>
    <p:sldLayoutId id="2147484583" r:id="rId8"/>
    <p:sldLayoutId id="2147484584" r:id="rId9"/>
    <p:sldLayoutId id="2147484585" r:id="rId10"/>
    <p:sldLayoutId id="2147484586" r:id="rId11"/>
    <p:sldLayoutId id="2147484587" r:id="rId12"/>
    <p:sldLayoutId id="2147484588" r:id="rId13"/>
    <p:sldLayoutId id="2147484589" r:id="rId14"/>
    <p:sldLayoutId id="2147484590" r:id="rId15"/>
    <p:sldLayoutId id="2147484591" r:id="rId16"/>
    <p:sldLayoutId id="2147484592" r:id="rId17"/>
    <p:sldLayoutId id="2147484593" r:id="rId18"/>
    <p:sldLayoutId id="2147484594" r:id="rId19"/>
    <p:sldLayoutId id="2147484595" r:id="rId20"/>
    <p:sldLayoutId id="2147484596" r:id="rId21"/>
    <p:sldLayoutId id="2147484597" r:id="rId22"/>
    <p:sldLayoutId id="2147484598" r:id="rId23"/>
    <p:sldLayoutId id="2147484599" r:id="rId24"/>
    <p:sldLayoutId id="2147484600" r:id="rId25"/>
    <p:sldLayoutId id="2147484601" r:id="rId26"/>
    <p:sldLayoutId id="2147484602" r:id="rId27"/>
    <p:sldLayoutId id="2147484603" r:id="rId28"/>
    <p:sldLayoutId id="2147484604" r:id="rId29"/>
    <p:sldLayoutId id="2147484605" r:id="rId30"/>
    <p:sldLayoutId id="2147484606" r:id="rId31"/>
    <p:sldLayoutId id="2147484607" r:id="rId32"/>
    <p:sldLayoutId id="2147484608" r:id="rId33"/>
    <p:sldLayoutId id="2147484609" r:id="rId34"/>
    <p:sldLayoutId id="2147484610" r:id="rId35"/>
    <p:sldLayoutId id="2147484611" r:id="rId36"/>
    <p:sldLayoutId id="2147484612" r:id="rId37"/>
    <p:sldLayoutId id="2147484613" r:id="rId38"/>
    <p:sldLayoutId id="2147484614" r:id="rId39"/>
    <p:sldLayoutId id="2147484615" r:id="rId40"/>
    <p:sldLayoutId id="2147484616" r:id="rId41"/>
    <p:sldLayoutId id="2147484617" r:id="rId42"/>
    <p:sldLayoutId id="2147484618" r:id="rId43"/>
    <p:sldLayoutId id="2147484619" r:id="rId44"/>
    <p:sldLayoutId id="2147484620" r:id="rId45"/>
    <p:sldLayoutId id="2147484621" r:id="rId46"/>
    <p:sldLayoutId id="2147484622" r:id="rId47"/>
    <p:sldLayoutId id="2147484623" r:id="rId48"/>
    <p:sldLayoutId id="2147484624" r:id="rId49"/>
    <p:sldLayoutId id="2147484625" r:id="rId50"/>
    <p:sldLayoutId id="2147484626" r:id="rId51"/>
    <p:sldLayoutId id="2147484627" r:id="rId52"/>
    <p:sldLayoutId id="2147484628" r:id="rId53"/>
    <p:sldLayoutId id="2147484629" r:id="rId54"/>
    <p:sldLayoutId id="2147484630" r:id="rId55"/>
    <p:sldLayoutId id="2147484631" r:id="rId56"/>
    <p:sldLayoutId id="2147484632" r:id="rId57"/>
    <p:sldLayoutId id="2147484633" r:id="rId58"/>
    <p:sldLayoutId id="2147484634" r:id="rId59"/>
    <p:sldLayoutId id="2147484635" r:id="rId60"/>
    <p:sldLayoutId id="2147484636" r:id="rId61"/>
    <p:sldLayoutId id="2147484637" r:id="rId62"/>
    <p:sldLayoutId id="2147484638" r:id="rId63"/>
    <p:sldLayoutId id="2147484639" r:id="rId64"/>
    <p:sldLayoutId id="2147484640" r:id="rId65"/>
    <p:sldLayoutId id="2147484641" r:id="rId66"/>
    <p:sldLayoutId id="2147484642" r:id="rId67"/>
    <p:sldLayoutId id="2147484643" r:id="rId68"/>
    <p:sldLayoutId id="2147484644" r:id="rId69"/>
    <p:sldLayoutId id="2147484645" r:id="rId70"/>
    <p:sldLayoutId id="2147484646" r:id="rId71"/>
    <p:sldLayoutId id="2147484647" r:id="rId72"/>
    <p:sldLayoutId id="2147484648" r:id="rId73"/>
    <p:sldLayoutId id="2147484649" r:id="rId74"/>
    <p:sldLayoutId id="2147484650" r:id="rId75"/>
    <p:sldLayoutId id="2147484651" r:id="rId76"/>
    <p:sldLayoutId id="2147484652" r:id="rId77"/>
    <p:sldLayoutId id="2147484653" r:id="rId78"/>
    <p:sldLayoutId id="2147484654" r:id="rId79"/>
    <p:sldLayoutId id="2147484655" r:id="rId80"/>
    <p:sldLayoutId id="2147484656" r:id="rId81"/>
    <p:sldLayoutId id="2147484657" r:id="rId82"/>
    <p:sldLayoutId id="2147484658" r:id="rId83"/>
    <p:sldLayoutId id="2147484659" r:id="rId84"/>
    <p:sldLayoutId id="2147484660" r:id="rId85"/>
    <p:sldLayoutId id="2147484661" r:id="rId86"/>
    <p:sldLayoutId id="2147484662" r:id="rId87"/>
    <p:sldLayoutId id="2147484664"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10488168"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992682810"/>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0" r:id="rId30"/>
    <p:sldLayoutId id="2147484821" r:id="rId31"/>
    <p:sldLayoutId id="2147484822" r:id="rId32"/>
    <p:sldLayoutId id="2147484823" r:id="rId33"/>
    <p:sldLayoutId id="2147484824" r:id="rId34"/>
    <p:sldLayoutId id="2147484825" r:id="rId35"/>
    <p:sldLayoutId id="2147484826" r:id="rId36"/>
    <p:sldLayoutId id="2147484827" r:id="rId37"/>
    <p:sldLayoutId id="2147484828" r:id="rId38"/>
    <p:sldLayoutId id="2147484829" r:id="rId39"/>
    <p:sldLayoutId id="2147484830" r:id="rId40"/>
    <p:sldLayoutId id="2147484831" r:id="rId41"/>
    <p:sldLayoutId id="2147484832" r:id="rId42"/>
    <p:sldLayoutId id="2147484833" r:id="rId43"/>
    <p:sldLayoutId id="2147484834" r:id="rId44"/>
    <p:sldLayoutId id="2147484835" r:id="rId45"/>
    <p:sldLayoutId id="2147484836" r:id="rId46"/>
    <p:sldLayoutId id="2147484837" r:id="rId47"/>
    <p:sldLayoutId id="2147484838" r:id="rId48"/>
    <p:sldLayoutId id="2147484839" r:id="rId49"/>
    <p:sldLayoutId id="2147484840" r:id="rId50"/>
    <p:sldLayoutId id="2147484841" r:id="rId51"/>
    <p:sldLayoutId id="2147484842" r:id="rId52"/>
    <p:sldLayoutId id="2147484843" r:id="rId53"/>
    <p:sldLayoutId id="2147484844" r:id="rId54"/>
    <p:sldLayoutId id="2147484845" r:id="rId55"/>
    <p:sldLayoutId id="2147484846" r:id="rId56"/>
    <p:sldLayoutId id="2147484847" r:id="rId57"/>
    <p:sldLayoutId id="2147484848" r:id="rId58"/>
    <p:sldLayoutId id="2147484849" r:id="rId59"/>
    <p:sldLayoutId id="2147484850" r:id="rId60"/>
    <p:sldLayoutId id="2147484851" r:id="rId61"/>
    <p:sldLayoutId id="2147484852" r:id="rId62"/>
    <p:sldLayoutId id="2147484853" r:id="rId63"/>
    <p:sldLayoutId id="2147484854" r:id="rId64"/>
    <p:sldLayoutId id="2147484855" r:id="rId65"/>
    <p:sldLayoutId id="2147484856" r:id="rId66"/>
    <p:sldLayoutId id="2147484857" r:id="rId67"/>
    <p:sldLayoutId id="2147484858" r:id="rId68"/>
    <p:sldLayoutId id="2147484859" r:id="rId69"/>
    <p:sldLayoutId id="2147484860" r:id="rId70"/>
    <p:sldLayoutId id="2147484861" r:id="rId71"/>
    <p:sldLayoutId id="2147484862" r:id="rId72"/>
    <p:sldLayoutId id="2147484863" r:id="rId73"/>
    <p:sldLayoutId id="2147484864" r:id="rId74"/>
    <p:sldLayoutId id="2147484865" r:id="rId75"/>
    <p:sldLayoutId id="2147484866" r:id="rId76"/>
    <p:sldLayoutId id="2147484867" r:id="rId77"/>
    <p:sldLayoutId id="2147484868" r:id="rId78"/>
    <p:sldLayoutId id="2147484869" r:id="rId79"/>
    <p:sldLayoutId id="2147484870" r:id="rId80"/>
    <p:sldLayoutId id="2147484871" r:id="rId81"/>
    <p:sldLayoutId id="2147484872" r:id="rId82"/>
    <p:sldLayoutId id="2147484873" r:id="rId83"/>
    <p:sldLayoutId id="2147484874" r:id="rId84"/>
    <p:sldLayoutId id="2147484875" r:id="rId85"/>
    <p:sldLayoutId id="2147484876" r:id="rId86"/>
    <p:sldLayoutId id="2147484877" r:id="rId87"/>
    <p:sldLayoutId id="2147484878" r:id="rId88"/>
    <p:sldLayoutId id="2147484879" r:id="rId89"/>
    <p:sldLayoutId id="2147484880" r:id="rId90"/>
    <p:sldLayoutId id="2147484881" r:id="rId91"/>
    <p:sldLayoutId id="2147484882" r:id="rId92"/>
    <p:sldLayoutId id="2147484883" r:id="rId93"/>
    <p:sldLayoutId id="2147484884" r:id="rId94"/>
    <p:sldLayoutId id="2147484885" r:id="rId95"/>
    <p:sldLayoutId id="2147484886" r:id="rId96"/>
    <p:sldLayoutId id="2147484887" r:id="rId97"/>
    <p:sldLayoutId id="2147484889" r:id="rId98"/>
    <p:sldLayoutId id="2147484890" r:id="rId99"/>
    <p:sldLayoutId id="2147484891" r:id="rId100"/>
    <p:sldLayoutId id="2147484892" r:id="rId101"/>
  </p:sldLayoutIdLst>
  <p:hf sldNum="0" hdr="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5" name="Footer Placeholder 1">
            <a:extLst>
              <a:ext uri="{FF2B5EF4-FFF2-40B4-BE49-F238E27FC236}">
                <a16:creationId xmlns:a16="http://schemas.microsoft.com/office/drawing/2014/main" id="{A1CF853D-639B-4E03-85EE-306A38DE9A5D}"/>
              </a:ext>
            </a:extLst>
          </p:cNvPr>
          <p:cNvSpPr>
            <a:spLocks noGrp="1"/>
          </p:cNvSpPr>
          <p:nvPr>
            <p:ph type="ftr" sz="quarter" idx="3"/>
          </p:nvPr>
        </p:nvSpPr>
        <p:spPr>
          <a:xfrm>
            <a:off x="1277961" y="6599455"/>
            <a:ext cx="10223342" cy="138243"/>
          </a:xfrm>
          <a:prstGeom prst="rect">
            <a:avLst/>
          </a:prstGeom>
        </p:spPr>
        <p:txBody>
          <a:bodyPr/>
          <a:lstStyle>
            <a:lvl1pPr algn="r">
              <a:defRPr sz="900">
                <a:solidFill>
                  <a:schemeClr val="tx1">
                    <a:lumMod val="75000"/>
                    <a:lumOff val="25000"/>
                  </a:schemeClr>
                </a:solidFill>
              </a:defRPr>
            </a:lvl1pPr>
          </a:lstStyle>
          <a:p>
            <a:r>
              <a:rPr lang="en-US"/>
              <a:t>5G Broadcast Conference</a:t>
            </a:r>
            <a:endParaRPr lang="en-US" dirty="0"/>
          </a:p>
        </p:txBody>
      </p:sp>
    </p:spTree>
    <p:extLst>
      <p:ext uri="{BB962C8B-B14F-4D97-AF65-F5344CB8AC3E}">
        <p14:creationId xmlns:p14="http://schemas.microsoft.com/office/powerpoint/2010/main" val="3833346092"/>
      </p:ext>
    </p:extLst>
  </p:cSld>
  <p:clrMap bg1="lt1" tx1="dk1" bg2="lt2" tx2="dk2" accent1="accent1" accent2="accent2" accent3="accent3" accent4="accent4" accent5="accent5" accent6="accent6" hlink="hlink" folHlink="folHlink"/>
  <p:sldLayoutIdLst>
    <p:sldLayoutId id="2147484944" r:id="rId1"/>
    <p:sldLayoutId id="2147484945" r:id="rId2"/>
    <p:sldLayoutId id="2147484946" r:id="rId3"/>
    <p:sldLayoutId id="2147484947" r:id="rId4"/>
    <p:sldLayoutId id="2147484948" r:id="rId5"/>
    <p:sldLayoutId id="2147484949" r:id="rId6"/>
    <p:sldLayoutId id="2147484950" r:id="rId7"/>
    <p:sldLayoutId id="2147484951" r:id="rId8"/>
    <p:sldLayoutId id="2147484952" r:id="rId9"/>
    <p:sldLayoutId id="2147484953" r:id="rId10"/>
    <p:sldLayoutId id="2147484954" r:id="rId11"/>
    <p:sldLayoutId id="2147484955" r:id="rId12"/>
    <p:sldLayoutId id="2147484956" r:id="rId13"/>
    <p:sldLayoutId id="2147484957" r:id="rId14"/>
    <p:sldLayoutId id="2147484958" r:id="rId15"/>
    <p:sldLayoutId id="2147484959" r:id="rId16"/>
    <p:sldLayoutId id="2147484960" r:id="rId17"/>
    <p:sldLayoutId id="2147484961" r:id="rId18"/>
    <p:sldLayoutId id="2147484962" r:id="rId19"/>
    <p:sldLayoutId id="2147484963" r:id="rId20"/>
    <p:sldLayoutId id="2147484964" r:id="rId21"/>
    <p:sldLayoutId id="2147484965" r:id="rId22"/>
    <p:sldLayoutId id="2147484966" r:id="rId23"/>
    <p:sldLayoutId id="2147484967" r:id="rId24"/>
    <p:sldLayoutId id="2147484968" r:id="rId25"/>
    <p:sldLayoutId id="2147484969" r:id="rId26"/>
    <p:sldLayoutId id="2147484970" r:id="rId27"/>
    <p:sldLayoutId id="2147484971" r:id="rId28"/>
    <p:sldLayoutId id="2147484972" r:id="rId29"/>
    <p:sldLayoutId id="2147484973" r:id="rId30"/>
    <p:sldLayoutId id="2147484974" r:id="rId31"/>
    <p:sldLayoutId id="2147484975" r:id="rId32"/>
    <p:sldLayoutId id="2147484976" r:id="rId33"/>
    <p:sldLayoutId id="2147484977" r:id="rId34"/>
    <p:sldLayoutId id="2147484978" r:id="rId35"/>
    <p:sldLayoutId id="2147484979" r:id="rId36"/>
    <p:sldLayoutId id="2147484980" r:id="rId37"/>
    <p:sldLayoutId id="2147484981" r:id="rId38"/>
    <p:sldLayoutId id="2147484982" r:id="rId39"/>
    <p:sldLayoutId id="2147484983" r:id="rId40"/>
    <p:sldLayoutId id="2147484984" r:id="rId41"/>
    <p:sldLayoutId id="2147484985" r:id="rId42"/>
    <p:sldLayoutId id="2147484988" r:id="rId43"/>
    <p:sldLayoutId id="2147484989" r:id="rId44"/>
    <p:sldLayoutId id="2147484990" r:id="rId45"/>
    <p:sldLayoutId id="2147484992"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extLst>
              <a:ext uri="{28A0092B-C50C-407E-A947-70E740481C1C}">
                <a14:useLocalDpi xmlns:a14="http://schemas.microsoft.com/office/drawing/2010/main" val="0"/>
              </a:ext>
            </a:extLst>
          </a:blip>
          <a:srcRect/>
          <a:stretch>
            <a:fillRect/>
          </a:stretch>
        </p:blipFill>
        <p:spPr bwMode="auto">
          <a:xfrm>
            <a:off x="1"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1"/>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4" y="618517"/>
            <a:ext cx="9905999" cy="1478571"/>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4" y="2249486"/>
            <a:ext cx="9905999" cy="354171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1">
                <a:solidFill>
                  <a:schemeClr val="tx1">
                    <a:tint val="75000"/>
                  </a:schemeClr>
                </a:solidFill>
              </a:defRPr>
            </a:lvl1pPr>
          </a:lstStyle>
          <a:p>
            <a:r>
              <a:rPr lang="en-US"/>
              <a:t>9/25/2025</a:t>
            </a:r>
          </a:p>
        </p:txBody>
      </p:sp>
      <p:sp>
        <p:nvSpPr>
          <p:cNvPr id="5" name="Footer Placeholder 4"/>
          <p:cNvSpPr>
            <a:spLocks noGrp="1"/>
          </p:cNvSpPr>
          <p:nvPr>
            <p:ph type="ftr" sz="quarter" idx="3"/>
          </p:nvPr>
        </p:nvSpPr>
        <p:spPr>
          <a:xfrm>
            <a:off x="1141412" y="5883276"/>
            <a:ext cx="6239309" cy="365125"/>
          </a:xfrm>
          <a:prstGeom prst="rect">
            <a:avLst/>
          </a:prstGeom>
        </p:spPr>
        <p:txBody>
          <a:bodyPr vert="horz" lIns="91440" tIns="45720" rIns="91440" bIns="45720" rtlCol="0" anchor="ctr"/>
          <a:lstStyle>
            <a:lvl1pPr algn="l">
              <a:defRPr sz="1051" cap="all" baseline="0">
                <a:solidFill>
                  <a:schemeClr val="tx1">
                    <a:tint val="75000"/>
                  </a:schemeClr>
                </a:solidFill>
              </a:defRPr>
            </a:lvl1pPr>
          </a:lstStyle>
          <a:p>
            <a:r>
              <a:rPr lang="en-US"/>
              <a:t>5G Broadcast Conference</a:t>
            </a:r>
          </a:p>
        </p:txBody>
      </p:sp>
      <p:sp>
        <p:nvSpPr>
          <p:cNvPr id="6" name="Slide Number Placeholder 5"/>
          <p:cNvSpPr>
            <a:spLocks noGrp="1"/>
          </p:cNvSpPr>
          <p:nvPr>
            <p:ph type="sldNum" sz="quarter" idx="4"/>
          </p:nvPr>
        </p:nvSpPr>
        <p:spPr>
          <a:xfrm>
            <a:off x="10276322" y="5883275"/>
            <a:ext cx="771089" cy="365125"/>
          </a:xfrm>
          <a:prstGeom prst="rect">
            <a:avLst/>
          </a:prstGeom>
        </p:spPr>
        <p:txBody>
          <a:bodyPr vert="horz" lIns="91440" tIns="45720" rIns="91440" bIns="45720" rtlCol="0" anchor="ctr"/>
          <a:lstStyle>
            <a:lvl1pPr algn="r">
              <a:defRPr sz="1051">
                <a:solidFill>
                  <a:schemeClr val="tx1">
                    <a:tint val="75000"/>
                  </a:schemeClr>
                </a:solidFill>
              </a:defRPr>
            </a:lvl1pPr>
          </a:lstStyle>
          <a:p>
            <a:fld id="{811FFCC4-8AA7-4FB5-BDD1-894CCF9ADE29}" type="slidenum">
              <a:rPr lang="en-US" smtClean="0"/>
              <a:t>‹#›</a:t>
            </a:fld>
            <a:endParaRPr lang="en-US"/>
          </a:p>
        </p:txBody>
      </p:sp>
    </p:spTree>
    <p:extLst>
      <p:ext uri="{BB962C8B-B14F-4D97-AF65-F5344CB8AC3E}">
        <p14:creationId xmlns:p14="http://schemas.microsoft.com/office/powerpoint/2010/main" val="3337194532"/>
      </p:ext>
    </p:extLst>
  </p:cSld>
  <p:clrMap bg1="dk1" tx1="lt1" bg2="dk2" tx2="lt2" accent1="accent1" accent2="accent2" accent3="accent3" accent4="accent4" accent5="accent5" accent6="accent6" hlink="hlink" folHlink="folHlink"/>
  <p:sldLayoutIdLst>
    <p:sldLayoutId id="2147484995" r:id="rId1"/>
    <p:sldLayoutId id="2147484996" r:id="rId2"/>
    <p:sldLayoutId id="2147484997" r:id="rId3"/>
    <p:sldLayoutId id="2147484998" r:id="rId4"/>
    <p:sldLayoutId id="2147484999" r:id="rId5"/>
    <p:sldLayoutId id="2147485000" r:id="rId6"/>
    <p:sldLayoutId id="2147485001" r:id="rId7"/>
    <p:sldLayoutId id="2147485002" r:id="rId8"/>
    <p:sldLayoutId id="2147485003" r:id="rId9"/>
    <p:sldLayoutId id="2147485004" r:id="rId10"/>
    <p:sldLayoutId id="2147485005" r:id="rId11"/>
    <p:sldLayoutId id="2147485006" r:id="rId12"/>
    <p:sldLayoutId id="2147485007" r:id="rId13"/>
    <p:sldLayoutId id="2147485008" r:id="rId14"/>
    <p:sldLayoutId id="2147485009" r:id="rId15"/>
    <p:sldLayoutId id="2147485010" r:id="rId16"/>
    <p:sldLayoutId id="2147485011" r:id="rId17"/>
  </p:sldLayoutIdLst>
  <p:hf sldNum="0" hdr="0"/>
  <p:txStyles>
    <p:titleStyle>
      <a:lvl1pPr algn="l" defTabSz="914377"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594" indent="-228594" algn="l" defTabSz="914377"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160" indent="-228594" algn="l" defTabSz="914377"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349" indent="-228594" algn="l" defTabSz="914377"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726" indent="-228594" algn="l" defTabSz="914377"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8914" indent="-228594" algn="l" defTabSz="914377"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103" indent="-228594" algn="l" defTabSz="914377"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301" y="1719073"/>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642646"/>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5G Broadcast Conference</a:t>
            </a:r>
          </a:p>
        </p:txBody>
      </p:sp>
    </p:spTree>
    <p:extLst>
      <p:ext uri="{BB962C8B-B14F-4D97-AF65-F5344CB8AC3E}">
        <p14:creationId xmlns:p14="http://schemas.microsoft.com/office/powerpoint/2010/main" val="3998268720"/>
      </p:ext>
    </p:extLst>
  </p:cSld>
  <p:clrMap bg1="lt1" tx1="dk1" bg2="lt2" tx2="dk2" accent1="accent1" accent2="accent2" accent3="accent3" accent4="accent4" accent5="accent5" accent6="accent6" hlink="hlink" folHlink="folHlink"/>
  <p:sldLayoutIdLst>
    <p:sldLayoutId id="2147485013" r:id="rId1"/>
    <p:sldLayoutId id="2147485014" r:id="rId2"/>
    <p:sldLayoutId id="2147485015" r:id="rId3"/>
    <p:sldLayoutId id="2147485016" r:id="rId4"/>
    <p:sldLayoutId id="2147485017" r:id="rId5"/>
    <p:sldLayoutId id="2147485018" r:id="rId6"/>
    <p:sldLayoutId id="2147485019" r:id="rId7"/>
    <p:sldLayoutId id="2147485020" r:id="rId8"/>
    <p:sldLayoutId id="2147485021" r:id="rId9"/>
    <p:sldLayoutId id="2147485022" r:id="rId10"/>
    <p:sldLayoutId id="2147485023" r:id="rId11"/>
    <p:sldLayoutId id="2147485024" r:id="rId12"/>
    <p:sldLayoutId id="2147485025" r:id="rId13"/>
    <p:sldLayoutId id="2147485026" r:id="rId14"/>
    <p:sldLayoutId id="2147485027" r:id="rId15"/>
    <p:sldLayoutId id="2147485028" r:id="rId16"/>
    <p:sldLayoutId id="2147485029" r:id="rId17"/>
    <p:sldLayoutId id="2147485030" r:id="rId18"/>
    <p:sldLayoutId id="2147485031" r:id="rId19"/>
    <p:sldLayoutId id="2147485032" r:id="rId20"/>
    <p:sldLayoutId id="2147485033" r:id="rId21"/>
    <p:sldLayoutId id="2147485034" r:id="rId22"/>
    <p:sldLayoutId id="2147485035" r:id="rId23"/>
    <p:sldLayoutId id="2147485036" r:id="rId24"/>
    <p:sldLayoutId id="2147485037" r:id="rId25"/>
    <p:sldLayoutId id="2147485038" r:id="rId26"/>
    <p:sldLayoutId id="2147485039" r:id="rId27"/>
    <p:sldLayoutId id="2147485040" r:id="rId28"/>
    <p:sldLayoutId id="2147485041" r:id="rId29"/>
    <p:sldLayoutId id="2147485042" r:id="rId30"/>
    <p:sldLayoutId id="2147485043" r:id="rId31"/>
    <p:sldLayoutId id="2147485044" r:id="rId32"/>
    <p:sldLayoutId id="2147485045" r:id="rId33"/>
    <p:sldLayoutId id="2147485046" r:id="rId34"/>
    <p:sldLayoutId id="2147485047" r:id="rId35"/>
    <p:sldLayoutId id="2147485048" r:id="rId36"/>
    <p:sldLayoutId id="2147485049" r:id="rId37"/>
    <p:sldLayoutId id="2147485050" r:id="rId38"/>
    <p:sldLayoutId id="2147485051" r:id="rId39"/>
    <p:sldLayoutId id="2147485052" r:id="rId40"/>
    <p:sldLayoutId id="2147485053" r:id="rId41"/>
    <p:sldLayoutId id="2147485054" r:id="rId42"/>
    <p:sldLayoutId id="2147485055" r:id="rId43"/>
    <p:sldLayoutId id="2147485056" r:id="rId44"/>
    <p:sldLayoutId id="2147485057" r:id="rId45"/>
    <p:sldLayoutId id="2147485058" r:id="rId46"/>
    <p:sldLayoutId id="2147485059" r:id="rId47"/>
    <p:sldLayoutId id="2147485060" r:id="rId48"/>
    <p:sldLayoutId id="2147485061" r:id="rId49"/>
    <p:sldLayoutId id="2147485062" r:id="rId50"/>
    <p:sldLayoutId id="2147485063" r:id="rId51"/>
    <p:sldLayoutId id="2147485064" r:id="rId52"/>
    <p:sldLayoutId id="2147485065" r:id="rId53"/>
    <p:sldLayoutId id="2147485066" r:id="rId54"/>
    <p:sldLayoutId id="2147485067" r:id="rId55"/>
    <p:sldLayoutId id="2147485068" r:id="rId56"/>
    <p:sldLayoutId id="2147485069" r:id="rId57"/>
    <p:sldLayoutId id="2147485070" r:id="rId58"/>
    <p:sldLayoutId id="2147485071" r:id="rId59"/>
    <p:sldLayoutId id="2147485072" r:id="rId60"/>
    <p:sldLayoutId id="2147485073" r:id="rId61"/>
    <p:sldLayoutId id="2147485074" r:id="rId62"/>
    <p:sldLayoutId id="2147485075" r:id="rId63"/>
    <p:sldLayoutId id="2147485076" r:id="rId64"/>
    <p:sldLayoutId id="2147485077" r:id="rId65"/>
    <p:sldLayoutId id="2147485078" r:id="rId66"/>
    <p:sldLayoutId id="2147485079" r:id="rId67"/>
    <p:sldLayoutId id="2147485080" r:id="rId68"/>
    <p:sldLayoutId id="2147485081" r:id="rId69"/>
    <p:sldLayoutId id="2147485082" r:id="rId70"/>
    <p:sldLayoutId id="2147485083" r:id="rId71"/>
    <p:sldLayoutId id="2147485084" r:id="rId72"/>
    <p:sldLayoutId id="2147485085" r:id="rId73"/>
    <p:sldLayoutId id="2147485086" r:id="rId74"/>
    <p:sldLayoutId id="2147485087" r:id="rId75"/>
    <p:sldLayoutId id="2147485088" r:id="rId76"/>
    <p:sldLayoutId id="2147485089" r:id="rId77"/>
    <p:sldLayoutId id="2147485090" r:id="rId78"/>
    <p:sldLayoutId id="2147485091" r:id="rId79"/>
    <p:sldLayoutId id="2147485092" r:id="rId80"/>
    <p:sldLayoutId id="2147485093" r:id="rId81"/>
    <p:sldLayoutId id="2147485094" r:id="rId82"/>
    <p:sldLayoutId id="2147485095" r:id="rId83"/>
    <p:sldLayoutId id="2147485096" r:id="rId84"/>
    <p:sldLayoutId id="2147485097" r:id="rId85"/>
    <p:sldLayoutId id="2147485098" r:id="rId86"/>
    <p:sldLayoutId id="2147485099" r:id="rId87"/>
    <p:sldLayoutId id="2147485100" r:id="rId88"/>
    <p:sldLayoutId id="2147485101" r:id="rId89"/>
    <p:sldLayoutId id="2147485102" r:id="rId90"/>
    <p:sldLayoutId id="2147485103" r:id="rId91"/>
    <p:sldLayoutId id="2147485104" r:id="rId92"/>
    <p:sldLayoutId id="2147485105" r:id="rId93"/>
    <p:sldLayoutId id="2147485106" r:id="rId94"/>
    <p:sldLayoutId id="2147485107" r:id="rId95"/>
    <p:sldLayoutId id="2147485108" r:id="rId96"/>
    <p:sldLayoutId id="2147485109" r:id="rId97"/>
    <p:sldLayoutId id="2147485110" r:id="rId98"/>
    <p:sldLayoutId id="2147485111" r:id="rId99"/>
    <p:sldLayoutId id="2147485112" r:id="rId100"/>
    <p:sldLayoutId id="2147485113" r:id="rId101"/>
    <p:sldLayoutId id="2147485114" r:id="rId102"/>
    <p:sldLayoutId id="2147485115" r:id="rId103"/>
    <p:sldLayoutId id="2147485116" r:id="rId104"/>
    <p:sldLayoutId id="2147485117" r:id="rId10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377"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46" indent="-171446" algn="l" defTabSz="914377"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891" indent="-152396" algn="l" defTabSz="914377" rtl="0" eaLnBrk="1" latinLnBrk="0" hangingPunct="1">
        <a:lnSpc>
          <a:spcPct val="100000"/>
        </a:lnSpc>
        <a:spcBef>
          <a:spcPts val="225"/>
        </a:spcBef>
        <a:spcAft>
          <a:spcPts val="225"/>
        </a:spcAft>
        <a:buClrTx/>
        <a:buFont typeface="Arial" panose="020B0604020202020204" pitchFamily="34" charset="0"/>
        <a:buChar char="•"/>
        <a:tabLst>
          <a:tab pos="2003375" algn="l"/>
        </a:tabLst>
        <a:defRPr sz="1600" kern="1200" baseline="0">
          <a:solidFill>
            <a:schemeClr val="tx2"/>
          </a:solidFill>
          <a:latin typeface="+mn-lt"/>
          <a:ea typeface="+mn-ea"/>
          <a:cs typeface="+mn-cs"/>
        </a:defRPr>
      </a:lvl2pPr>
      <a:lvl3pPr marL="457189" indent="-101597" algn="l" defTabSz="914377" rtl="0" eaLnBrk="1" latinLnBrk="0" hangingPunct="1">
        <a:lnSpc>
          <a:spcPct val="105000"/>
        </a:lnSpc>
        <a:spcBef>
          <a:spcPts val="151"/>
        </a:spcBef>
        <a:spcAft>
          <a:spcPts val="151"/>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486" indent="-100581" algn="l" defTabSz="914377"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1" indent="-174621" algn="l" defTabSz="914377"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377"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377"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377"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377"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301" y="1719073"/>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495300" y="642646"/>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9" y="6514123"/>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377" rtl="0" eaLnBrk="1" latinLnBrk="0" hangingPunct="1">
                <a:lnSpc>
                  <a:spcPct val="125000"/>
                </a:lnSpc>
              </a:pPr>
              <a:t>‹#›</a:t>
            </a:fld>
            <a:endParaRPr lang="en-US" sz="800" kern="1200" dirty="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10488168" cy="118175"/>
          </a:xfrm>
          <a:prstGeom prst="rect">
            <a:avLst/>
          </a:prstGeom>
        </p:spPr>
        <p:txBody>
          <a:bodyPr vert="horz" wrap="square" lIns="0" tIns="0" rIns="0" bIns="0" rtlCol="0" anchor="b">
            <a:spAutoFit/>
          </a:bodyPr>
          <a:lstStyle>
            <a:lvl1pPr marL="0" algn="l" defTabSz="685783"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5G Broadcast Conference</a:t>
            </a:r>
            <a:endParaRPr lang="en-US" dirty="0"/>
          </a:p>
        </p:txBody>
      </p:sp>
    </p:spTree>
    <p:extLst>
      <p:ext uri="{BB962C8B-B14F-4D97-AF65-F5344CB8AC3E}">
        <p14:creationId xmlns:p14="http://schemas.microsoft.com/office/powerpoint/2010/main" val="3750288944"/>
      </p:ext>
    </p:extLst>
  </p:cSld>
  <p:clrMap bg1="lt1" tx1="dk1" bg2="lt2" tx2="dk2" accent1="accent1" accent2="accent2" accent3="accent3" accent4="accent4" accent5="accent5" accent6="accent6" hlink="hlink" folHlink="folHlink"/>
  <p:sldLayoutIdLst>
    <p:sldLayoutId id="2147485120" r:id="rId1"/>
    <p:sldLayoutId id="2147485121" r:id="rId2"/>
    <p:sldLayoutId id="2147485122" r:id="rId3"/>
    <p:sldLayoutId id="2147485123" r:id="rId4"/>
    <p:sldLayoutId id="2147485124" r:id="rId5"/>
    <p:sldLayoutId id="2147485125" r:id="rId6"/>
    <p:sldLayoutId id="2147485126" r:id="rId7"/>
    <p:sldLayoutId id="2147485127" r:id="rId8"/>
    <p:sldLayoutId id="2147485128" r:id="rId9"/>
    <p:sldLayoutId id="2147485129" r:id="rId10"/>
    <p:sldLayoutId id="2147485130" r:id="rId11"/>
    <p:sldLayoutId id="2147485131" r:id="rId12"/>
    <p:sldLayoutId id="2147485132" r:id="rId13"/>
    <p:sldLayoutId id="2147485133" r:id="rId14"/>
    <p:sldLayoutId id="2147485134" r:id="rId15"/>
    <p:sldLayoutId id="2147485135" r:id="rId16"/>
    <p:sldLayoutId id="2147485136" r:id="rId17"/>
    <p:sldLayoutId id="2147485137" r:id="rId18"/>
    <p:sldLayoutId id="2147485138" r:id="rId19"/>
    <p:sldLayoutId id="2147485139" r:id="rId20"/>
    <p:sldLayoutId id="2147485140" r:id="rId21"/>
    <p:sldLayoutId id="2147485141" r:id="rId22"/>
    <p:sldLayoutId id="2147485142" r:id="rId23"/>
    <p:sldLayoutId id="2147485143" r:id="rId24"/>
    <p:sldLayoutId id="2147485144" r:id="rId25"/>
    <p:sldLayoutId id="2147485145" r:id="rId26"/>
    <p:sldLayoutId id="2147485146" r:id="rId27"/>
    <p:sldLayoutId id="2147485147" r:id="rId28"/>
    <p:sldLayoutId id="2147485148" r:id="rId29"/>
    <p:sldLayoutId id="2147485149" r:id="rId30"/>
    <p:sldLayoutId id="2147485150" r:id="rId31"/>
    <p:sldLayoutId id="2147485151" r:id="rId32"/>
    <p:sldLayoutId id="2147485152" r:id="rId33"/>
    <p:sldLayoutId id="2147485153" r:id="rId34"/>
    <p:sldLayoutId id="2147485154" r:id="rId35"/>
    <p:sldLayoutId id="2147485155" r:id="rId36"/>
    <p:sldLayoutId id="2147485156" r:id="rId37"/>
    <p:sldLayoutId id="2147485157" r:id="rId38"/>
    <p:sldLayoutId id="2147485158" r:id="rId39"/>
    <p:sldLayoutId id="2147485159" r:id="rId40"/>
    <p:sldLayoutId id="2147485160" r:id="rId41"/>
    <p:sldLayoutId id="2147485161" r:id="rId42"/>
    <p:sldLayoutId id="2147485162" r:id="rId43"/>
    <p:sldLayoutId id="2147485163" r:id="rId44"/>
    <p:sldLayoutId id="2147485164" r:id="rId45"/>
    <p:sldLayoutId id="2147485165" r:id="rId46"/>
    <p:sldLayoutId id="2147485166" r:id="rId47"/>
    <p:sldLayoutId id="2147485167" r:id="rId48"/>
    <p:sldLayoutId id="2147485168" r:id="rId49"/>
    <p:sldLayoutId id="2147485169" r:id="rId50"/>
    <p:sldLayoutId id="2147485170" r:id="rId51"/>
    <p:sldLayoutId id="2147485171" r:id="rId52"/>
    <p:sldLayoutId id="2147485172" r:id="rId53"/>
    <p:sldLayoutId id="2147485173" r:id="rId54"/>
    <p:sldLayoutId id="2147485174" r:id="rId55"/>
    <p:sldLayoutId id="2147485175" r:id="rId56"/>
    <p:sldLayoutId id="2147485176" r:id="rId57"/>
    <p:sldLayoutId id="2147485177" r:id="rId58"/>
    <p:sldLayoutId id="2147485178" r:id="rId59"/>
    <p:sldLayoutId id="2147485179" r:id="rId60"/>
    <p:sldLayoutId id="2147485180" r:id="rId61"/>
    <p:sldLayoutId id="2147485181" r:id="rId62"/>
    <p:sldLayoutId id="2147485182" r:id="rId63"/>
    <p:sldLayoutId id="2147485183" r:id="rId64"/>
    <p:sldLayoutId id="2147485184" r:id="rId65"/>
    <p:sldLayoutId id="2147485185" r:id="rId66"/>
    <p:sldLayoutId id="2147485186" r:id="rId67"/>
    <p:sldLayoutId id="2147485187" r:id="rId68"/>
    <p:sldLayoutId id="2147485188" r:id="rId69"/>
    <p:sldLayoutId id="2147485189" r:id="rId70"/>
    <p:sldLayoutId id="2147485190" r:id="rId71"/>
    <p:sldLayoutId id="2147485191" r:id="rId72"/>
    <p:sldLayoutId id="2147485192" r:id="rId73"/>
    <p:sldLayoutId id="2147485193" r:id="rId74"/>
    <p:sldLayoutId id="2147485194" r:id="rId75"/>
    <p:sldLayoutId id="2147485195" r:id="rId76"/>
    <p:sldLayoutId id="2147485196" r:id="rId77"/>
    <p:sldLayoutId id="2147485197" r:id="rId78"/>
    <p:sldLayoutId id="2147485198" r:id="rId79"/>
    <p:sldLayoutId id="2147485199" r:id="rId80"/>
    <p:sldLayoutId id="2147485200" r:id="rId81"/>
    <p:sldLayoutId id="2147485201" r:id="rId82"/>
    <p:sldLayoutId id="2147485202" r:id="rId83"/>
    <p:sldLayoutId id="2147485203" r:id="rId84"/>
    <p:sldLayoutId id="2147485204" r:id="rId85"/>
    <p:sldLayoutId id="2147485205" r:id="rId86"/>
    <p:sldLayoutId id="2147485206" r:id="rId87"/>
    <p:sldLayoutId id="2147485207" r:id="rId88"/>
    <p:sldLayoutId id="2147485208" r:id="rId89"/>
    <p:sldLayoutId id="2147485209" r:id="rId90"/>
    <p:sldLayoutId id="2147485210" r:id="rId91"/>
    <p:sldLayoutId id="2147485211" r:id="rId92"/>
    <p:sldLayoutId id="2147485212" r:id="rId93"/>
    <p:sldLayoutId id="2147485213" r:id="rId94"/>
    <p:sldLayoutId id="2147485214" r:id="rId95"/>
    <p:sldLayoutId id="2147485215" r:id="rId96"/>
    <p:sldLayoutId id="2147485216" r:id="rId9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377"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46" indent="-171446" algn="l" defTabSz="914377"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891" indent="-152396" algn="l" defTabSz="914377" rtl="0" eaLnBrk="1" latinLnBrk="0" hangingPunct="1">
        <a:lnSpc>
          <a:spcPct val="100000"/>
        </a:lnSpc>
        <a:spcBef>
          <a:spcPts val="225"/>
        </a:spcBef>
        <a:spcAft>
          <a:spcPts val="225"/>
        </a:spcAft>
        <a:buClrTx/>
        <a:buFont typeface="Arial" panose="020B0604020202020204" pitchFamily="34" charset="0"/>
        <a:buChar char="•"/>
        <a:tabLst>
          <a:tab pos="2003375" algn="l"/>
        </a:tabLst>
        <a:defRPr sz="1600" kern="1200" baseline="0">
          <a:solidFill>
            <a:schemeClr val="tx2"/>
          </a:solidFill>
          <a:latin typeface="+mn-lt"/>
          <a:ea typeface="+mn-ea"/>
          <a:cs typeface="+mn-cs"/>
        </a:defRPr>
      </a:lvl2pPr>
      <a:lvl3pPr marL="457189" indent="-101597" algn="l" defTabSz="914377" rtl="0" eaLnBrk="1" latinLnBrk="0" hangingPunct="1">
        <a:lnSpc>
          <a:spcPct val="105000"/>
        </a:lnSpc>
        <a:spcBef>
          <a:spcPts val="151"/>
        </a:spcBef>
        <a:spcAft>
          <a:spcPts val="151"/>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486" indent="-100581" algn="l" defTabSz="914377"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1" indent="-174621" algn="l" defTabSz="914377"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377"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377"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377"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377"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xml"/><Relationship Id="rId1" Type="http://schemas.openxmlformats.org/officeDocument/2006/relationships/slideLayout" Target="../slideLayouts/slideLayout98.xml"/></Relationships>
</file>

<file path=ppt/slides/_rels/slide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18.jpeg"/><Relationship Id="rId1" Type="http://schemas.openxmlformats.org/officeDocument/2006/relationships/slideLayout" Target="../slideLayouts/slideLayout567.xml"/><Relationship Id="rId6" Type="http://schemas.openxmlformats.org/officeDocument/2006/relationships/image" Target="../media/image86.jpeg"/><Relationship Id="rId5" Type="http://schemas.openxmlformats.org/officeDocument/2006/relationships/image" Target="../media/image85.png"/><Relationship Id="rId4" Type="http://schemas.openxmlformats.org/officeDocument/2006/relationships/image" Target="../media/image8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2.jpeg"/><Relationship Id="rId7" Type="http://schemas.openxmlformats.org/officeDocument/2006/relationships/image" Target="../media/image91.png"/><Relationship Id="rId2" Type="http://schemas.openxmlformats.org/officeDocument/2006/relationships/image" Target="../media/image87.png"/><Relationship Id="rId1" Type="http://schemas.openxmlformats.org/officeDocument/2006/relationships/slideLayout" Target="../slideLayouts/slideLayout25.xml"/><Relationship Id="rId6" Type="http://schemas.openxmlformats.org/officeDocument/2006/relationships/image" Target="../media/image90.png"/><Relationship Id="rId5" Type="http://schemas.openxmlformats.org/officeDocument/2006/relationships/image" Target="../media/image89.gif"/><Relationship Id="rId4" Type="http://schemas.openxmlformats.org/officeDocument/2006/relationships/image" Target="../media/image88.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0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63.xml"/></Relationships>
</file>

<file path=ppt/slides/_rels/slide15.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94.jpeg"/><Relationship Id="rId7" Type="http://schemas.openxmlformats.org/officeDocument/2006/relationships/image" Target="../media/image98.jpeg"/><Relationship Id="rId2" Type="http://schemas.openxmlformats.org/officeDocument/2006/relationships/image" Target="../media/image93.png"/><Relationship Id="rId1" Type="http://schemas.openxmlformats.org/officeDocument/2006/relationships/slideLayout" Target="../slideLayouts/slideLayout873.xml"/><Relationship Id="rId6" Type="http://schemas.openxmlformats.org/officeDocument/2006/relationships/image" Target="../media/image97.jpeg"/><Relationship Id="rId5" Type="http://schemas.openxmlformats.org/officeDocument/2006/relationships/image" Target="../media/image96.png"/><Relationship Id="rId4" Type="http://schemas.openxmlformats.org/officeDocument/2006/relationships/image" Target="../media/image95.jpg"/></Relationships>
</file>

<file path=ppt/slides/_rels/slide1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94.jpeg"/><Relationship Id="rId3" Type="http://schemas.openxmlformats.org/officeDocument/2006/relationships/image" Target="../media/image101.svg"/><Relationship Id="rId7" Type="http://schemas.openxmlformats.org/officeDocument/2006/relationships/image" Target="../media/image105.svg"/><Relationship Id="rId12" Type="http://schemas.openxmlformats.org/officeDocument/2006/relationships/image" Target="../media/image110.png"/><Relationship Id="rId2" Type="http://schemas.openxmlformats.org/officeDocument/2006/relationships/image" Target="../media/image100.png"/><Relationship Id="rId1" Type="http://schemas.openxmlformats.org/officeDocument/2006/relationships/slideLayout" Target="../slideLayouts/slideLayout843.xml"/><Relationship Id="rId6" Type="http://schemas.openxmlformats.org/officeDocument/2006/relationships/image" Target="../media/image104.png"/><Relationship Id="rId11" Type="http://schemas.openxmlformats.org/officeDocument/2006/relationships/image" Target="../media/image109.svg"/><Relationship Id="rId5" Type="http://schemas.openxmlformats.org/officeDocument/2006/relationships/image" Target="../media/image103.sv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svg"/></Relationships>
</file>

<file path=ppt/slides/_rels/slide17.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jpeg"/><Relationship Id="rId3" Type="http://schemas.openxmlformats.org/officeDocument/2006/relationships/image" Target="../media/image101.svg"/><Relationship Id="rId7" Type="http://schemas.openxmlformats.org/officeDocument/2006/relationships/image" Target="../media/image105.svg"/><Relationship Id="rId12" Type="http://schemas.openxmlformats.org/officeDocument/2006/relationships/image" Target="../media/image110.png"/><Relationship Id="rId2" Type="http://schemas.openxmlformats.org/officeDocument/2006/relationships/image" Target="../media/image100.png"/><Relationship Id="rId1" Type="http://schemas.openxmlformats.org/officeDocument/2006/relationships/slideLayout" Target="../slideLayouts/slideLayout843.xml"/><Relationship Id="rId6" Type="http://schemas.openxmlformats.org/officeDocument/2006/relationships/image" Target="../media/image104.png"/><Relationship Id="rId11" Type="http://schemas.openxmlformats.org/officeDocument/2006/relationships/image" Target="../media/image109.svg"/><Relationship Id="rId5" Type="http://schemas.openxmlformats.org/officeDocument/2006/relationships/image" Target="../media/image103.sv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svg"/><Relationship Id="rId14" Type="http://schemas.openxmlformats.org/officeDocument/2006/relationships/image" Target="../media/image112.jpe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67.xml"/><Relationship Id="rId1" Type="http://schemas.openxmlformats.org/officeDocument/2006/relationships/tags" Target="../tags/tag6.xml"/><Relationship Id="rId5" Type="http://schemas.openxmlformats.org/officeDocument/2006/relationships/chart" Target="../charts/chart1.xml"/><Relationship Id="rId4" Type="http://schemas.openxmlformats.org/officeDocument/2006/relationships/image" Target="../media/image52.emf"/></Relationships>
</file>

<file path=ppt/slides/_rels/slide1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xml"/><Relationship Id="rId1" Type="http://schemas.openxmlformats.org/officeDocument/2006/relationships/slideLayout" Target="../slideLayouts/slideLayout840.xml"/><Relationship Id="rId6" Type="http://schemas.openxmlformats.org/officeDocument/2006/relationships/image" Target="../media/image114.jpeg"/><Relationship Id="rId5" Type="http://schemas.microsoft.com/office/2007/relationships/hdphoto" Target="../media/hdphoto3.wdp"/><Relationship Id="rId4" Type="http://schemas.openxmlformats.org/officeDocument/2006/relationships/image" Target="../media/image11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svg"/><Relationship Id="rId12" Type="http://schemas.openxmlformats.org/officeDocument/2006/relationships/image" Target="../media/image124.jpe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www.5g-mag.com/post/etsi-tr-deployment-guidelines-for-dvb-i-services-over-5g-systems" TargetMode="Externa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svg"/><Relationship Id="rId7" Type="http://schemas.openxmlformats.org/officeDocument/2006/relationships/image" Target="../media/image121.svg"/><Relationship Id="rId2" Type="http://schemas.openxmlformats.org/officeDocument/2006/relationships/image" Target="../media/image116.png"/><Relationship Id="rId1" Type="http://schemas.openxmlformats.org/officeDocument/2006/relationships/slideLayout" Target="../slideLayouts/slideLayout26.xml"/><Relationship Id="rId6" Type="http://schemas.openxmlformats.org/officeDocument/2006/relationships/image" Target="../media/image120.png"/><Relationship Id="rId5" Type="http://schemas.openxmlformats.org/officeDocument/2006/relationships/image" Target="../media/image119.svg"/><Relationship Id="rId10" Type="http://schemas.openxmlformats.org/officeDocument/2006/relationships/image" Target="../media/image124.jpeg"/><Relationship Id="rId4" Type="http://schemas.openxmlformats.org/officeDocument/2006/relationships/image" Target="../media/image118.png"/><Relationship Id="rId9" Type="http://schemas.openxmlformats.org/officeDocument/2006/relationships/image" Target="../media/image123.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8.xml.rels><?xml version="1.0" encoding="UTF-8" standalone="yes"?>
<Relationships xmlns="http://schemas.openxmlformats.org/package/2006/relationships"><Relationship Id="rId8" Type="http://schemas.openxmlformats.org/officeDocument/2006/relationships/hyperlink" Target="https://drive.google.com/file/d/1BURN4bHyIjXs8bWLjYZBzWlG9hUmuAED/view?usp=drive_link" TargetMode="External"/><Relationship Id="rId13" Type="http://schemas.microsoft.com/office/2007/relationships/hdphoto" Target="../media/hdphoto5.wdp"/><Relationship Id="rId18" Type="http://schemas.openxmlformats.org/officeDocument/2006/relationships/image" Target="../media/image136.png"/><Relationship Id="rId26" Type="http://schemas.openxmlformats.org/officeDocument/2006/relationships/hyperlink" Target="https://www.ors.at/en/news/article/first-europe-wide-5g-broadcast-trials-delivering-eurovision-song-contest-in-italy-france-germany-and-austria/" TargetMode="External"/><Relationship Id="rId3" Type="http://schemas.openxmlformats.org/officeDocument/2006/relationships/hyperlink" Target="https://broadcast-networks.eu/5g-broadcast-receiver-profile-for-europe-released-the-european-5g-broadcast-handset-taskforce-with-members-from-the-ebu-and-bne-has-reached-a-key-milestone-the-release-of-a-5g-broadcast-receiver-p/" TargetMode="External"/><Relationship Id="rId21" Type="http://schemas.openxmlformats.org/officeDocument/2006/relationships/hyperlink" Target="https://www.cellnex.com/news/cellnex-tests-5g-broadcast-emissions-ise-mwc/" TargetMode="External"/><Relationship Id="rId7" Type="http://schemas.openxmlformats.org/officeDocument/2006/relationships/image" Target="../media/image129.png"/><Relationship Id="rId12" Type="http://schemas.openxmlformats.org/officeDocument/2006/relationships/image" Target="../media/image132.png"/><Relationship Id="rId17" Type="http://schemas.openxmlformats.org/officeDocument/2006/relationships/image" Target="../media/image135.png"/><Relationship Id="rId25" Type="http://schemas.openxmlformats.org/officeDocument/2006/relationships/hyperlink" Target="https://www.ors.at/en/news/article/innovative-5g-broadcast-transmission-successfully-tested-at-motogp-in-austria/" TargetMode="External"/><Relationship Id="rId2" Type="http://schemas.openxmlformats.org/officeDocument/2006/relationships/hyperlink" Target="https://www.broadbandtvnews.com/2023/07/07/european-broadcasters-ink-5g-broadcast-mou/?mc_cid=247705d88b&amp;mc_eid=c659b2480d" TargetMode="External"/><Relationship Id="rId16" Type="http://schemas.openxmlformats.org/officeDocument/2006/relationships/image" Target="../media/image134.png"/><Relationship Id="rId20" Type="http://schemas.openxmlformats.org/officeDocument/2006/relationships/image" Target="../media/image137.png"/><Relationship Id="rId29" Type="http://schemas.openxmlformats.org/officeDocument/2006/relationships/image" Target="../media/image142.png"/><Relationship Id="rId1" Type="http://schemas.openxmlformats.org/officeDocument/2006/relationships/slideLayout" Target="../slideLayouts/slideLayout102.xml"/><Relationship Id="rId6" Type="http://schemas.openxmlformats.org/officeDocument/2006/relationships/image" Target="../media/image128.png"/><Relationship Id="rId11" Type="http://schemas.openxmlformats.org/officeDocument/2006/relationships/image" Target="../media/image131.png"/><Relationship Id="rId24" Type="http://schemas.openxmlformats.org/officeDocument/2006/relationships/image" Target="../media/image140.png"/><Relationship Id="rId5" Type="http://schemas.openxmlformats.org/officeDocument/2006/relationships/image" Target="../media/image127.png"/><Relationship Id="rId15" Type="http://schemas.openxmlformats.org/officeDocument/2006/relationships/image" Target="../media/image133.png"/><Relationship Id="rId23" Type="http://schemas.openxmlformats.org/officeDocument/2006/relationships/image" Target="../media/image139.png"/><Relationship Id="rId28" Type="http://schemas.openxmlformats.org/officeDocument/2006/relationships/hyperlink" Target="https://www.criticalcommunicationsreview.com/broadband/news/111483/5g-broadcast-demonstrates-emergency-warning-capabilities-for-public-safety-in-estonia" TargetMode="External"/><Relationship Id="rId10" Type="http://schemas.microsoft.com/office/2007/relationships/hdphoto" Target="../media/hdphoto4.wdp"/><Relationship Id="rId19" Type="http://schemas.openxmlformats.org/officeDocument/2006/relationships/hyperlink" Target="https://bts.ieee.org/images/files/IBC/7_MediaBroadcast_Markus_Schneider.pdf" TargetMode="External"/><Relationship Id="rId31" Type="http://schemas.openxmlformats.org/officeDocument/2006/relationships/image" Target="../media/image144.png"/><Relationship Id="rId4" Type="http://schemas.openxmlformats.org/officeDocument/2006/relationships/image" Target="../media/image126.png"/><Relationship Id="rId9" Type="http://schemas.openxmlformats.org/officeDocument/2006/relationships/image" Target="../media/image130.png"/><Relationship Id="rId14" Type="http://schemas.openxmlformats.org/officeDocument/2006/relationships/hyperlink" Target="https://5gvista.co.uk/blog/" TargetMode="External"/><Relationship Id="rId22" Type="http://schemas.openxmlformats.org/officeDocument/2006/relationships/image" Target="../media/image138.png"/><Relationship Id="rId27" Type="http://schemas.openxmlformats.org/officeDocument/2006/relationships/image" Target="../media/image141.png"/><Relationship Id="rId30" Type="http://schemas.openxmlformats.org/officeDocument/2006/relationships/image" Target="../media/image143.png"/></Relationships>
</file>

<file path=ppt/slides/_rels/slide29.xml.rels><?xml version="1.0" encoding="UTF-8" standalone="yes"?>
<Relationships xmlns="http://schemas.openxmlformats.org/package/2006/relationships"><Relationship Id="rId8" Type="http://schemas.openxmlformats.org/officeDocument/2006/relationships/hyperlink" Target="https://www.5g-mag.com/post/27-10-23-5g-mag-participates-at-gatis-summit" TargetMode="External"/><Relationship Id="rId13" Type="http://schemas.openxmlformats.org/officeDocument/2006/relationships/image" Target="../media/image149.png"/><Relationship Id="rId3" Type="http://schemas.microsoft.com/office/2007/relationships/media" Target="../media/media2.mp4"/><Relationship Id="rId7" Type="http://schemas.openxmlformats.org/officeDocument/2006/relationships/hyperlink" Target="https://www.mcmc.gov.my/skmmgovmy/media/General/Report/Industry-Study-Report-Future-Broadcasting-Technology.pdf" TargetMode="External"/><Relationship Id="rId12" Type="http://schemas.openxmlformats.org/officeDocument/2006/relationships/image" Target="../media/image14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45.png"/><Relationship Id="rId11" Type="http://schemas.openxmlformats.org/officeDocument/2006/relationships/image" Target="../media/image147.png"/><Relationship Id="rId5" Type="http://schemas.openxmlformats.org/officeDocument/2006/relationships/slideLayout" Target="../slideLayouts/slideLayout102.xml"/><Relationship Id="rId15" Type="http://schemas.openxmlformats.org/officeDocument/2006/relationships/image" Target="../media/image151.png"/><Relationship Id="rId10" Type="http://schemas.openxmlformats.org/officeDocument/2006/relationships/image" Target="../media/image146.png"/><Relationship Id="rId4" Type="http://schemas.openxmlformats.org/officeDocument/2006/relationships/video" Target="../media/media2.mp4"/><Relationship Id="rId9" Type="http://schemas.openxmlformats.org/officeDocument/2006/relationships/hyperlink" Target="https://www.astrum-mobile.com/astl/index/aboutus" TargetMode="External"/><Relationship Id="rId14" Type="http://schemas.openxmlformats.org/officeDocument/2006/relationships/image" Target="../media/image1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0.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hyperlink" Target="https://www.linkedin.com/posts/juan-pablo-alviz-29568316b_nab2024-tuvimos-la-oportunidad-de-demostrar-activity-7188511493686972418-6mkk?utm_source=share&amp;utm_medium=member_desktop" TargetMode="External"/><Relationship Id="rId12" Type="http://schemas.openxmlformats.org/officeDocument/2006/relationships/image" Target="../media/image156.png"/><Relationship Id="rId2" Type="http://schemas.openxmlformats.org/officeDocument/2006/relationships/hyperlink" Target="https://www.youtube.com/watch?v=17Nh64xSUCE" TargetMode="External"/><Relationship Id="rId1" Type="http://schemas.openxmlformats.org/officeDocument/2006/relationships/slideLayout" Target="../slideLayouts/slideLayout102.xml"/><Relationship Id="rId6" Type="http://schemas.openxmlformats.org/officeDocument/2006/relationships/hyperlink" Target="https://www.5g-mag.com/post/lte-based-5g-broadcast-in-colombia-id-tol%C3%BA" TargetMode="External"/><Relationship Id="rId11" Type="http://schemas.openxmlformats.org/officeDocument/2006/relationships/hyperlink" Target="https://www.rohde-schwarz.com/uk/about/news-press/all-news/showcasing-5g-broadcast-innovation-at-set-expo-2024-press-release-detailpage_229356-1512326.html" TargetMode="External"/><Relationship Id="rId5" Type="http://schemas.openxmlformats.org/officeDocument/2006/relationships/image" Target="../media/image153.png"/><Relationship Id="rId10" Type="http://schemas.openxmlformats.org/officeDocument/2006/relationships/hyperlink" Target="https://www.tvtechnology.com/news/live-multi-angle-5g-broadcast-streaming-demoed-by-claro-rohde-and-schwarz-and-qualcomm" TargetMode="External"/><Relationship Id="rId4" Type="http://schemas.microsoft.com/office/2007/relationships/hdphoto" Target="../media/hdphoto6.wdp"/><Relationship Id="rId9" Type="http://schemas.openxmlformats.org/officeDocument/2006/relationships/image" Target="../media/image155.png"/></Relationships>
</file>

<file path=ppt/slides/_rels/slide3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103.xml"/><Relationship Id="rId5" Type="http://schemas.openxmlformats.org/officeDocument/2006/relationships/image" Target="../media/image161.png"/><Relationship Id="rId4" Type="http://schemas.openxmlformats.org/officeDocument/2006/relationships/image" Target="../media/image160.png"/></Relationships>
</file>

<file path=ppt/slides/_rels/slide32.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63.jpeg"/><Relationship Id="rId7" Type="http://schemas.openxmlformats.org/officeDocument/2006/relationships/image" Target="../media/image166.jpeg"/><Relationship Id="rId2" Type="http://schemas.openxmlformats.org/officeDocument/2006/relationships/image" Target="../media/image162.jpeg"/><Relationship Id="rId1" Type="http://schemas.openxmlformats.org/officeDocument/2006/relationships/slideLayout" Target="../slideLayouts/slideLayout25.xml"/><Relationship Id="rId6" Type="http://schemas.microsoft.com/office/2007/relationships/hdphoto" Target="../media/hdphoto7.wdp"/><Relationship Id="rId5" Type="http://schemas.openxmlformats.org/officeDocument/2006/relationships/image" Target="../media/image165.png"/><Relationship Id="rId4" Type="http://schemas.openxmlformats.org/officeDocument/2006/relationships/image" Target="../media/image164.jpeg"/><Relationship Id="rId9" Type="http://schemas.openxmlformats.org/officeDocument/2006/relationships/image" Target="../media/image168.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169.emf"/><Relationship Id="rId7" Type="http://schemas.openxmlformats.org/officeDocument/2006/relationships/image" Target="../media/image173.png"/><Relationship Id="rId2" Type="http://schemas.openxmlformats.org/officeDocument/2006/relationships/package" Target="../embeddings/Microsoft_Visio_Drawing.vsdx"/><Relationship Id="rId1" Type="http://schemas.openxmlformats.org/officeDocument/2006/relationships/slideLayout" Target="../slideLayouts/slideLayout25.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3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image" Target="../media/image174.png"/><Relationship Id="rId1" Type="http://schemas.openxmlformats.org/officeDocument/2006/relationships/slideLayout" Target="../slideLayouts/slideLayout19.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hyperlink" Target="https://github.com/orgs/5G-MAG/projects/32/views/1?query=sort%3Aupdated-desc+is%3Aopen" TargetMode="External"/><Relationship Id="rId1" Type="http://schemas.openxmlformats.org/officeDocument/2006/relationships/slideLayout" Target="../slideLayouts/slideLayout104.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image" Target="../media/image181.jpeg"/><Relationship Id="rId7" Type="http://schemas.openxmlformats.org/officeDocument/2006/relationships/hyperlink" Target="https://www.ibc.org/video/technical-papers-5g-technology-convergence-with-broadcast/10007.article" TargetMode="External"/><Relationship Id="rId2" Type="http://schemas.openxmlformats.org/officeDocument/2006/relationships/image" Target="../media/image180.png"/><Relationship Id="rId1" Type="http://schemas.openxmlformats.org/officeDocument/2006/relationships/slideLayout" Target="../slideLayouts/slideLayout98.xml"/><Relationship Id="rId6" Type="http://schemas.openxmlformats.org/officeDocument/2006/relationships/hyperlink" Target="https://www.ibc.org/technical-papers/ibc2023-tech-papers-5g-broadcast-receivers-optimizing-performance-under-implementation-constraints/10251.article" TargetMode="External"/><Relationship Id="rId5" Type="http://schemas.openxmlformats.org/officeDocument/2006/relationships/image" Target="../media/image183.jpeg"/><Relationship Id="rId4" Type="http://schemas.openxmlformats.org/officeDocument/2006/relationships/image" Target="../media/image182.jpeg"/></Relationships>
</file>

<file path=ppt/slides/_rels/slide41.xml.rels><?xml version="1.0" encoding="UTF-8" standalone="yes"?>
<Relationships xmlns="http://schemas.openxmlformats.org/package/2006/relationships"><Relationship Id="rId8" Type="http://schemas.openxmlformats.org/officeDocument/2006/relationships/image" Target="../media/image340.png"/><Relationship Id="rId13" Type="http://schemas.openxmlformats.org/officeDocument/2006/relationships/image" Target="../media/image185.png"/><Relationship Id="rId3" Type="http://schemas.openxmlformats.org/officeDocument/2006/relationships/image" Target="../media/image118.png"/><Relationship Id="rId7" Type="http://schemas.openxmlformats.org/officeDocument/2006/relationships/image" Target="../media/image330.png"/><Relationship Id="rId12" Type="http://schemas.openxmlformats.org/officeDocument/2006/relationships/image" Target="../media/image380.png"/><Relationship Id="rId2" Type="http://schemas.openxmlformats.org/officeDocument/2006/relationships/notesSlide" Target="../notesSlides/notesSlide6.xml"/><Relationship Id="rId1" Type="http://schemas.openxmlformats.org/officeDocument/2006/relationships/slideLayout" Target="../slideLayouts/slideLayout25.xml"/><Relationship Id="rId11" Type="http://schemas.openxmlformats.org/officeDocument/2006/relationships/image" Target="../media/image370.png"/><Relationship Id="rId5" Type="http://schemas.openxmlformats.org/officeDocument/2006/relationships/image" Target="../media/image184.png"/><Relationship Id="rId10" Type="http://schemas.openxmlformats.org/officeDocument/2006/relationships/image" Target="../media/image360.png"/><Relationship Id="rId4" Type="http://schemas.openxmlformats.org/officeDocument/2006/relationships/image" Target="../media/image119.svg"/><Relationship Id="rId9" Type="http://schemas.openxmlformats.org/officeDocument/2006/relationships/image" Target="../media/image350.png"/></Relationships>
</file>

<file path=ppt/slides/_rels/slide42.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image" Target="../media/image181.jpeg"/><Relationship Id="rId1" Type="http://schemas.openxmlformats.org/officeDocument/2006/relationships/slideLayout" Target="../slideLayouts/slideLayout98.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3.jpeg"/></Relationships>
</file>

<file path=ppt/slides/_rels/slide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840.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png"/><Relationship Id="rId7" Type="http://schemas.openxmlformats.org/officeDocument/2006/relationships/image" Target="../media/image72.png"/><Relationship Id="rId2" Type="http://schemas.openxmlformats.org/officeDocument/2006/relationships/image" Target="../media/image69.png"/><Relationship Id="rId1" Type="http://schemas.openxmlformats.org/officeDocument/2006/relationships/slideLayout" Target="../slideLayouts/slideLayout101.xml"/><Relationship Id="rId6" Type="http://schemas.openxmlformats.org/officeDocument/2006/relationships/image" Target="../media/image71.png"/><Relationship Id="rId11" Type="http://schemas.openxmlformats.org/officeDocument/2006/relationships/hyperlink" Target="https://portal.3gpp.org/desktopmodules/Specifications/SpecificationDetails.aspx?specificationId=2427" TargetMode="External"/><Relationship Id="rId5" Type="http://schemas.openxmlformats.org/officeDocument/2006/relationships/hyperlink" Target="https://www.3gpp.org/DynaReport/36976.htm" TargetMode="External"/><Relationship Id="rId10" Type="http://schemas.openxmlformats.org/officeDocument/2006/relationships/hyperlink" Target="https://portal.3gpp.org/desktopmodules/Specifications/SpecificationDetails.aspx?specificationId=2426" TargetMode="External"/><Relationship Id="rId4" Type="http://schemas.openxmlformats.org/officeDocument/2006/relationships/hyperlink" Target="https://www.etsi.org/deliver/etsi_ts/103700_103799/103720/01.01.01_60/ts_103720v010101p.pdf" TargetMode="External"/><Relationship Id="rId9" Type="http://schemas.openxmlformats.org/officeDocument/2006/relationships/hyperlink" Target="https://www.3gpp.org/DynaReport/36211.ht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diagramLayout" Target="../diagrams/layout2.xml"/><Relationship Id="rId7" Type="http://schemas.openxmlformats.org/officeDocument/2006/relationships/image" Target="../media/image74.png"/><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77.png"/><Relationship Id="rId4" Type="http://schemas.openxmlformats.org/officeDocument/2006/relationships/diagramQuickStyle" Target="../diagrams/quickStyle2.xml"/><Relationship Id="rId9"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5.xml"/><Relationship Id="rId6" Type="http://schemas.openxmlformats.org/officeDocument/2006/relationships/image" Target="../media/image82.jpeg"/><Relationship Id="rId5" Type="http://schemas.openxmlformats.org/officeDocument/2006/relationships/image" Target="../media/image81.png"/><Relationship Id="rId4" Type="http://schemas.openxmlformats.org/officeDocument/2006/relationships/image" Target="../media/image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9DD38F-15E5-4926-9A6E-F50C71118940}"/>
              </a:ext>
            </a:extLst>
          </p:cNvPr>
          <p:cNvPicPr>
            <a:picLocks noChangeAspect="1"/>
          </p:cNvPicPr>
          <p:nvPr/>
        </p:nvPicPr>
        <p:blipFill>
          <a:blip r:embed="rId3"/>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D0A6C69-DC25-46B3-83FE-D668C146E2A2}"/>
              </a:ext>
            </a:extLst>
          </p:cNvPr>
          <p:cNvSpPr/>
          <p:nvPr/>
        </p:nvSpPr>
        <p:spPr>
          <a:xfrm>
            <a:off x="1" y="0"/>
            <a:ext cx="12191999" cy="6858000"/>
          </a:xfrm>
          <a:prstGeom prst="rect">
            <a:avLst/>
          </a:prstGeom>
          <a:gradFill>
            <a:gsLst>
              <a:gs pos="17000">
                <a:srgbClr val="151831">
                  <a:alpha val="70000"/>
                </a:srgbClr>
              </a:gs>
              <a:gs pos="36000">
                <a:srgbClr val="222346">
                  <a:alpha val="38824"/>
                </a:srgbClr>
              </a:gs>
              <a:gs pos="92000">
                <a:schemeClr val="bg1">
                  <a:alpha val="0"/>
                </a:schemeClr>
              </a:gs>
              <a:gs pos="58000">
                <a:srgbClr val="3B223E">
                  <a:alpha val="11765"/>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a:xfrm>
            <a:off x="3350218" y="366133"/>
            <a:ext cx="2608489"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de-DE" dirty="0"/>
              <a:t>5G Broadcast Conference</a:t>
            </a:r>
            <a:endParaRPr lang="en-US" dirty="0"/>
          </a:p>
        </p:txBody>
      </p:sp>
      <p:sp>
        <p:nvSpPr>
          <p:cNvPr id="12"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a:xfrm>
            <a:off x="5958707" y="386990"/>
            <a:ext cx="3985393"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September 25, 2025</a:t>
            </a:r>
          </a:p>
        </p:txBody>
      </p:sp>
      <p:sp>
        <p:nvSpPr>
          <p:cNvPr id="3" name="Title 2">
            <a:extLst>
              <a:ext uri="{FF2B5EF4-FFF2-40B4-BE49-F238E27FC236}">
                <a16:creationId xmlns:a16="http://schemas.microsoft.com/office/drawing/2014/main" id="{2584845F-75C2-415A-8317-9BE337A0A649}"/>
              </a:ext>
            </a:extLst>
          </p:cNvPr>
          <p:cNvSpPr>
            <a:spLocks noGrp="1"/>
          </p:cNvSpPr>
          <p:nvPr>
            <p:ph type="title"/>
          </p:nvPr>
        </p:nvSpPr>
        <p:spPr>
          <a:xfrm>
            <a:off x="431635" y="2100839"/>
            <a:ext cx="9895705" cy="2115259"/>
          </a:xfrm>
        </p:spPr>
        <p:txBody>
          <a:bodyPr/>
          <a:lstStyle/>
          <a:p>
            <a:r>
              <a:rPr lang="en-US" sz="4800" dirty="0"/>
              <a:t>Enabling 5G Broadcast on Devices:</a:t>
            </a:r>
            <a:br>
              <a:rPr lang="en-US" sz="4800" dirty="0"/>
            </a:br>
            <a:r>
              <a:rPr lang="en-US" sz="4800" dirty="0"/>
              <a:t>Standards, Chipset and Global Adoption Path</a:t>
            </a:r>
            <a:br>
              <a:rPr lang="en-US" sz="4800" dirty="0"/>
            </a:br>
            <a:endParaRPr lang="en-US" sz="1400" dirty="0"/>
          </a:p>
        </p:txBody>
      </p:sp>
      <p:sp>
        <p:nvSpPr>
          <p:cNvPr id="16" name="Freeform 5">
            <a:extLst>
              <a:ext uri="{FF2B5EF4-FFF2-40B4-BE49-F238E27FC236}">
                <a16:creationId xmlns:a16="http://schemas.microsoft.com/office/drawing/2014/main" id="{06C7F0AE-140D-4634-92AC-2929EC1FBE2C}"/>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7" name="Text Placeholder 7">
            <a:extLst>
              <a:ext uri="{FF2B5EF4-FFF2-40B4-BE49-F238E27FC236}">
                <a16:creationId xmlns:a16="http://schemas.microsoft.com/office/drawing/2014/main" id="{BE281CEE-A427-9343-B066-3987258CBC3E}"/>
              </a:ext>
            </a:extLst>
          </p:cNvPr>
          <p:cNvSpPr txBox="1">
            <a:spLocks/>
          </p:cNvSpPr>
          <p:nvPr/>
        </p:nvSpPr>
        <p:spPr bwMode="black">
          <a:xfrm>
            <a:off x="9076177" y="366133"/>
            <a:ext cx="2620523" cy="443198"/>
          </a:xfrm>
          <a:prstGeom prst="rect">
            <a:avLst/>
          </a:prstGeom>
        </p:spPr>
        <p:txBody>
          <a:bodyPr vert="horz" wrap="square" lIns="0" tIns="0" rIns="0" bIns="0" rtlCol="0" anchor="b">
            <a:spAutoFit/>
          </a:bodyPr>
          <a:lstStyle>
            <a:lvl1pPr marL="0" marR="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kern="1200" baseline="0">
                <a:solidFill>
                  <a:schemeClr val="bg1"/>
                </a:solidFill>
                <a:latin typeface="+mn-lt"/>
                <a:ea typeface="+mn-ea"/>
                <a:cs typeface="+mn-cs"/>
              </a:defRPr>
            </a:lvl1pPr>
            <a:lvl2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baseline="0">
                <a:solidFill>
                  <a:schemeClr val="bg1"/>
                </a:solidFill>
                <a:latin typeface="+mn-lt"/>
                <a:ea typeface="+mn-ea"/>
                <a:cs typeface="+mn-cs"/>
              </a:defRPr>
            </a:lvl2pPr>
            <a:lvl3pPr marL="0" indent="0" algn="r" defTabSz="914400" rtl="0" eaLnBrk="1" latinLnBrk="0" hangingPunct="1">
              <a:lnSpc>
                <a:spcPct val="90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a:solidFill>
                  <a:schemeClr val="bg1"/>
                </a:solidFill>
                <a:latin typeface="+mn-lt"/>
                <a:ea typeface="+mn-ea"/>
                <a:cs typeface="+mn-cs"/>
              </a:defRPr>
            </a:lvl4pPr>
            <a:lvl5pPr marL="0" indent="0" algn="r" defTabSz="914400" rtl="0" eaLnBrk="1" latinLnBrk="0" hangingPunct="1">
              <a:lnSpc>
                <a:spcPct val="90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r>
              <a:rPr kumimoji="0" lang="en-US" sz="1600" b="1" i="0" u="none" strike="noStrike" kern="1200" cap="none" spc="0" normalizeH="0" baseline="0" noProof="0">
                <a:ln>
                  <a:noFill/>
                </a:ln>
                <a:solidFill>
                  <a:srgbClr val="F7F8FA"/>
                </a:solidFill>
                <a:effectLst/>
                <a:uLnTx/>
                <a:uFillTx/>
                <a:latin typeface="Microsoft Sans Serif"/>
                <a:ea typeface="+mn-ea"/>
                <a:cs typeface="+mn-cs"/>
              </a:rPr>
              <a:t>@</a:t>
            </a:r>
            <a:r>
              <a:rPr kumimoji="0" lang="en-US" sz="1600" b="1" i="0" u="none" strike="noStrike" kern="1200" cap="none" spc="0" normalizeH="0" baseline="0" noProof="0" err="1">
                <a:ln>
                  <a:noFill/>
                </a:ln>
                <a:solidFill>
                  <a:srgbClr val="F7F8FA"/>
                </a:solidFill>
                <a:effectLst/>
                <a:uLnTx/>
                <a:uFillTx/>
                <a:latin typeface="Microsoft Sans Serif"/>
                <a:ea typeface="+mn-ea"/>
                <a:cs typeface="+mn-cs"/>
              </a:rPr>
              <a:t>qualcomm</a:t>
            </a:r>
            <a:r>
              <a:rPr kumimoji="0" lang="en-US" sz="1600" b="1" i="0" u="none" strike="noStrike" kern="1200" cap="none" spc="0" normalizeH="0" baseline="0" noProof="0">
                <a:ln>
                  <a:noFill/>
                </a:ln>
                <a:solidFill>
                  <a:srgbClr val="F7F8FA"/>
                </a:solidFill>
                <a:effectLst/>
                <a:uLnTx/>
                <a:uFillTx/>
                <a:latin typeface="Microsoft Sans Serif"/>
                <a:ea typeface="+mn-ea"/>
                <a:cs typeface="+mn-cs"/>
              </a:rPr>
              <a:t>_tech</a:t>
            </a:r>
          </a:p>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endParaRPr kumimoji="0" lang="en-US" sz="1600" b="1"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0" name="Text Placeholder 7">
            <a:extLst>
              <a:ext uri="{FF2B5EF4-FFF2-40B4-BE49-F238E27FC236}">
                <a16:creationId xmlns:a16="http://schemas.microsoft.com/office/drawing/2014/main" id="{6DA8A551-B5C8-40AD-8A71-D58C6F83DACC}"/>
              </a:ext>
            </a:extLst>
          </p:cNvPr>
          <p:cNvSpPr>
            <a:spLocks noGrp="1"/>
          </p:cNvSpPr>
          <p:nvPr>
            <p:ph type="body" sz="quarter" idx="10"/>
          </p:nvPr>
        </p:nvSpPr>
        <p:spPr>
          <a:xfrm>
            <a:off x="495299" y="4944712"/>
            <a:ext cx="8580878" cy="1342830"/>
          </a:xfrm>
        </p:spPr>
        <p:txBody>
          <a:bodyPr/>
          <a:lstStyle/>
          <a:p>
            <a:r>
              <a:rPr lang="en-US"/>
              <a:t>Dr. Thomas Stockhammer</a:t>
            </a:r>
          </a:p>
          <a:p>
            <a:r>
              <a:rPr lang="en-US"/>
              <a:t>Senior Director Technical Standards</a:t>
            </a:r>
          </a:p>
          <a:p>
            <a:r>
              <a:rPr lang="en-US"/>
              <a:t>Qualcomm Technologies</a:t>
            </a:r>
          </a:p>
        </p:txBody>
      </p:sp>
    </p:spTree>
    <p:extLst>
      <p:ext uri="{BB962C8B-B14F-4D97-AF65-F5344CB8AC3E}">
        <p14:creationId xmlns:p14="http://schemas.microsoft.com/office/powerpoint/2010/main" val="1612586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blip>
          <a:stretch/>
        </a:blip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69CE52BA-B08B-D719-67F6-517138196C9C}"/>
              </a:ext>
            </a:extLst>
          </p:cNvPr>
          <p:cNvSpPr>
            <a:spLocks noGrp="1"/>
          </p:cNvSpPr>
          <p:nvPr>
            <p:ph type="ctrTitle"/>
          </p:nvPr>
        </p:nvSpPr>
        <p:spPr>
          <a:xfrm>
            <a:off x="1617234" y="4539574"/>
            <a:ext cx="8957535" cy="1182839"/>
          </a:xfrm>
        </p:spPr>
        <p:txBody>
          <a:bodyPr>
            <a:normAutofit/>
          </a:bodyPr>
          <a:lstStyle/>
          <a:p>
            <a:pPr algn="ctr"/>
            <a:r>
              <a:rPr lang="de-DE" sz="2600" dirty="0"/>
              <a:t>3GPP RAN </a:t>
            </a:r>
            <a:r>
              <a:rPr lang="de-DE" sz="2600" dirty="0" err="1"/>
              <a:t>Defined</a:t>
            </a:r>
            <a:r>
              <a:rPr lang="de-DE" sz="2600" dirty="0"/>
              <a:t> </a:t>
            </a:r>
            <a:r>
              <a:rPr lang="de-DE" sz="2600" dirty="0" err="1"/>
              <a:t>new</a:t>
            </a:r>
            <a:r>
              <a:rPr lang="de-DE" sz="2600" dirty="0"/>
              <a:t> Features </a:t>
            </a:r>
            <a:br>
              <a:rPr lang="de-DE" sz="2600" dirty="0"/>
            </a:br>
            <a:r>
              <a:rPr lang="de-DE" sz="2600" dirty="0" err="1"/>
              <a:t>For</a:t>
            </a:r>
            <a:r>
              <a:rPr lang="de-DE" sz="2600" dirty="0"/>
              <a:t> 5G Broadcast </a:t>
            </a:r>
            <a:r>
              <a:rPr lang="de-DE" sz="2600" dirty="0" err="1"/>
              <a:t>for</a:t>
            </a:r>
            <a:r>
              <a:rPr lang="de-DE" sz="2600" dirty="0"/>
              <a:t> Rel-19 in 2025</a:t>
            </a:r>
            <a:endParaRPr lang="en-US" sz="2600" dirty="0"/>
          </a:p>
        </p:txBody>
      </p:sp>
      <p:sp>
        <p:nvSpPr>
          <p:cNvPr id="28" name="Round Single Corner Rectangle 4">
            <a:extLst>
              <a:ext uri="{FF2B5EF4-FFF2-40B4-BE49-F238E27FC236}">
                <a16:creationId xmlns:a16="http://schemas.microsoft.com/office/drawing/2014/main" id="{2A4362C1-4CBA-464D-98B4-208037B132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4541" y="636679"/>
            <a:ext cx="3415771" cy="3601835"/>
          </a:xfrm>
          <a:prstGeom prst="round1Rect">
            <a:avLst>
              <a:gd name="adj" fmla="val 9975"/>
            </a:avLst>
          </a:prstGeom>
          <a:solidFill>
            <a:srgbClr val="FFFFFF"/>
          </a:solid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w Cen MT" panose="020B0602020104020603"/>
            </a:endParaRPr>
          </a:p>
        </p:txBody>
      </p:sp>
      <p:pic>
        <p:nvPicPr>
          <p:cNvPr id="26" name="Picture 25">
            <a:extLst>
              <a:ext uri="{FF2B5EF4-FFF2-40B4-BE49-F238E27FC236}">
                <a16:creationId xmlns:a16="http://schemas.microsoft.com/office/drawing/2014/main" id="{F00183A5-A5B4-6EF5-3D50-7D4A4D5C9FDD}"/>
              </a:ext>
            </a:extLst>
          </p:cNvPr>
          <p:cNvPicPr>
            <a:picLocks noChangeAspect="1"/>
          </p:cNvPicPr>
          <p:nvPr/>
        </p:nvPicPr>
        <p:blipFill>
          <a:blip r:embed="rId3"/>
          <a:stretch>
            <a:fillRect/>
          </a:stretch>
        </p:blipFill>
        <p:spPr>
          <a:xfrm>
            <a:off x="985717" y="1550102"/>
            <a:ext cx="2773419" cy="1774988"/>
          </a:xfrm>
          <a:prstGeom prst="rect">
            <a:avLst/>
          </a:prstGeom>
        </p:spPr>
      </p:pic>
      <p:sp>
        <p:nvSpPr>
          <p:cNvPr id="29" name="Round Diagonal Corner Rectangle 18">
            <a:extLst>
              <a:ext uri="{FF2B5EF4-FFF2-40B4-BE49-F238E27FC236}">
                <a16:creationId xmlns:a16="http://schemas.microsoft.com/office/drawing/2014/main" id="{DAC8B1B5-358F-4498-A98B-80EE307C26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6910" y="639966"/>
            <a:ext cx="3415769" cy="3598548"/>
          </a:xfrm>
          <a:prstGeom prst="round2DiagRect">
            <a:avLst>
              <a:gd name="adj1" fmla="val 0"/>
              <a:gd name="adj2" fmla="val 0"/>
            </a:avLst>
          </a:prstGeom>
          <a:solidFill>
            <a:srgbClr val="FFFFFF"/>
          </a:solid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Tw Cen MT" panose="020B0602020104020603"/>
            </a:endParaRPr>
          </a:p>
        </p:txBody>
      </p:sp>
      <p:pic>
        <p:nvPicPr>
          <p:cNvPr id="25" name="Picture 24">
            <a:extLst>
              <a:ext uri="{FF2B5EF4-FFF2-40B4-BE49-F238E27FC236}">
                <a16:creationId xmlns:a16="http://schemas.microsoft.com/office/drawing/2014/main" id="{8E477C52-2EFE-78E5-E5C7-ABEF216B91E0}"/>
              </a:ext>
            </a:extLst>
          </p:cNvPr>
          <p:cNvPicPr>
            <a:picLocks noChangeAspect="1"/>
          </p:cNvPicPr>
          <p:nvPr/>
        </p:nvPicPr>
        <p:blipFill>
          <a:blip r:embed="rId4"/>
          <a:stretch>
            <a:fillRect/>
          </a:stretch>
        </p:blipFill>
        <p:spPr>
          <a:xfrm>
            <a:off x="4728085" y="1655750"/>
            <a:ext cx="2773419" cy="1566981"/>
          </a:xfrm>
          <a:prstGeom prst="rect">
            <a:avLst/>
          </a:prstGeom>
        </p:spPr>
      </p:pic>
      <p:sp>
        <p:nvSpPr>
          <p:cNvPr id="30" name="Round Single Corner Rectangle 22">
            <a:extLst>
              <a:ext uri="{FF2B5EF4-FFF2-40B4-BE49-F238E27FC236}">
                <a16:creationId xmlns:a16="http://schemas.microsoft.com/office/drawing/2014/main" id="{AE9AA0E3-147E-4905-B268-5A9FFE34A4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146844" y="644264"/>
            <a:ext cx="3415771" cy="3601835"/>
          </a:xfrm>
          <a:prstGeom prst="round1Rect">
            <a:avLst>
              <a:gd name="adj" fmla="val 9975"/>
            </a:avLst>
          </a:prstGeom>
          <a:solidFill>
            <a:srgbClr val="FFFFFF"/>
          </a:solid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endParaRPr lang="en-US">
              <a:solidFill>
                <a:prstClr val="white"/>
              </a:solidFill>
              <a:latin typeface="Tw Cen MT" panose="020B0602020104020603"/>
            </a:endParaRPr>
          </a:p>
        </p:txBody>
      </p:sp>
      <p:pic>
        <p:nvPicPr>
          <p:cNvPr id="24" name="Picture 23">
            <a:extLst>
              <a:ext uri="{FF2B5EF4-FFF2-40B4-BE49-F238E27FC236}">
                <a16:creationId xmlns:a16="http://schemas.microsoft.com/office/drawing/2014/main" id="{2D90B3C1-4083-A102-8A8E-B980005B501C}"/>
              </a:ext>
            </a:extLst>
          </p:cNvPr>
          <p:cNvPicPr>
            <a:picLocks noChangeAspect="1"/>
          </p:cNvPicPr>
          <p:nvPr/>
        </p:nvPicPr>
        <p:blipFill>
          <a:blip r:embed="rId5"/>
          <a:stretch>
            <a:fillRect/>
          </a:stretch>
        </p:blipFill>
        <p:spPr>
          <a:xfrm>
            <a:off x="8468021" y="1783028"/>
            <a:ext cx="2773419" cy="1324307"/>
          </a:xfrm>
          <a:prstGeom prst="rect">
            <a:avLst/>
          </a:prstGeom>
        </p:spPr>
      </p:pic>
      <p:pic>
        <p:nvPicPr>
          <p:cNvPr id="4098" name="Picture 2" descr="No alternative text description for this image">
            <a:extLst>
              <a:ext uri="{FF2B5EF4-FFF2-40B4-BE49-F238E27FC236}">
                <a16:creationId xmlns:a16="http://schemas.microsoft.com/office/drawing/2014/main" id="{826BA883-B98A-9512-D4DA-0AB903B949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4729" y="365231"/>
            <a:ext cx="7620000"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471A960-4529-7BD4-0BA5-AA751698FB17}"/>
              </a:ext>
            </a:extLst>
          </p:cNvPr>
          <p:cNvSpPr/>
          <p:nvPr/>
        </p:nvSpPr>
        <p:spPr>
          <a:xfrm>
            <a:off x="10228729" y="1754363"/>
            <a:ext cx="403412" cy="646331"/>
          </a:xfrm>
          <a:prstGeom prst="rect">
            <a:avLst/>
          </a:prstGeom>
          <a:solidFill>
            <a:schemeClr val="tx1"/>
          </a:solidFill>
        </p:spPr>
        <p:txBody>
          <a:bodyPr wrap="square" lIns="91440" tIns="45720" rIns="91440" bIns="45720">
            <a:spAutoFit/>
          </a:bodyPr>
          <a:lstStyle/>
          <a:p>
            <a:pPr algn="ctr"/>
            <a:r>
              <a:rPr lang="en-US" sz="3600" b="1" cap="none" spc="0" dirty="0">
                <a:ln w="22225">
                  <a:solidFill>
                    <a:schemeClr val="accent2"/>
                  </a:solidFill>
                  <a:prstDash val="solid"/>
                </a:ln>
                <a:solidFill>
                  <a:schemeClr val="accent2">
                    <a:lumMod val="40000"/>
                    <a:lumOff val="60000"/>
                  </a:schemeClr>
                </a:solidFill>
                <a:effectLst/>
              </a:rPr>
              <a:t>3</a:t>
            </a:r>
          </a:p>
        </p:txBody>
      </p:sp>
      <p:sp>
        <p:nvSpPr>
          <p:cNvPr id="3" name="Rectangle 2">
            <a:extLst>
              <a:ext uri="{FF2B5EF4-FFF2-40B4-BE49-F238E27FC236}">
                <a16:creationId xmlns:a16="http://schemas.microsoft.com/office/drawing/2014/main" id="{20A9317E-26D4-EFBE-06B5-B9012ACAA457}"/>
              </a:ext>
            </a:extLst>
          </p:cNvPr>
          <p:cNvSpPr/>
          <p:nvPr/>
        </p:nvSpPr>
        <p:spPr>
          <a:xfrm>
            <a:off x="10228729" y="2351693"/>
            <a:ext cx="403412" cy="646331"/>
          </a:xfrm>
          <a:prstGeom prst="rect">
            <a:avLst/>
          </a:prstGeom>
          <a:solidFill>
            <a:schemeClr val="tx1"/>
          </a:solidFill>
        </p:spPr>
        <p:txBody>
          <a:bodyPr wrap="square" lIns="91440" tIns="45720" rIns="91440" bIns="45720">
            <a:spAutoFit/>
          </a:bodyPr>
          <a:lstStyle/>
          <a:p>
            <a:pPr algn="ctr"/>
            <a:r>
              <a:rPr lang="en-US" sz="36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2</a:t>
            </a:r>
          </a:p>
        </p:txBody>
      </p:sp>
    </p:spTree>
    <p:extLst>
      <p:ext uri="{BB962C8B-B14F-4D97-AF65-F5344CB8AC3E}">
        <p14:creationId xmlns:p14="http://schemas.microsoft.com/office/powerpoint/2010/main" val="13613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2000"/>
                                        <p:tgtEl>
                                          <p:spTgt spid="4098"/>
                                        </p:tgtEl>
                                      </p:cBhvr>
                                    </p:animEffect>
                                    <p:anim calcmode="lin" valueType="num">
                                      <p:cBhvr>
                                        <p:cTn id="8" dur="2000" fill="hold"/>
                                        <p:tgtEl>
                                          <p:spTgt spid="4098"/>
                                        </p:tgtEl>
                                        <p:attrNameLst>
                                          <p:attrName>style.rotation</p:attrName>
                                        </p:attrNameLst>
                                      </p:cBhvr>
                                      <p:tavLst>
                                        <p:tav tm="0">
                                          <p:val>
                                            <p:fltVal val="720"/>
                                          </p:val>
                                        </p:tav>
                                        <p:tav tm="100000">
                                          <p:val>
                                            <p:fltVal val="0"/>
                                          </p:val>
                                        </p:tav>
                                      </p:tavLst>
                                    </p:anim>
                                    <p:anim calcmode="lin" valueType="num">
                                      <p:cBhvr>
                                        <p:cTn id="9" dur="2000" fill="hold"/>
                                        <p:tgtEl>
                                          <p:spTgt spid="4098"/>
                                        </p:tgtEl>
                                        <p:attrNameLst>
                                          <p:attrName>ppt_h</p:attrName>
                                        </p:attrNameLst>
                                      </p:cBhvr>
                                      <p:tavLst>
                                        <p:tav tm="0">
                                          <p:val>
                                            <p:fltVal val="0"/>
                                          </p:val>
                                        </p:tav>
                                        <p:tav tm="100000">
                                          <p:val>
                                            <p:strVal val="#ppt_h"/>
                                          </p:val>
                                        </p:tav>
                                      </p:tavLst>
                                    </p:anim>
                                    <p:anim calcmode="lin" valueType="num">
                                      <p:cBhvr>
                                        <p:cTn id="10" dur="2000" fill="hold"/>
                                        <p:tgtEl>
                                          <p:spTgt spid="4098"/>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66010-BC1D-29D8-2F10-48AF917F70C4}"/>
            </a:ext>
          </a:extLst>
        </p:cNvPr>
        <p:cNvGrpSpPr/>
        <p:nvPr/>
      </p:nvGrpSpPr>
      <p:grpSpPr>
        <a:xfrm>
          <a:off x="0" y="0"/>
          <a:ext cx="0" cy="0"/>
          <a:chOff x="0" y="0"/>
          <a:chExt cx="0" cy="0"/>
        </a:xfrm>
      </p:grpSpPr>
      <p:sp>
        <p:nvSpPr>
          <p:cNvPr id="2" name="Rectangle 11">
            <a:extLst>
              <a:ext uri="{FF2B5EF4-FFF2-40B4-BE49-F238E27FC236}">
                <a16:creationId xmlns:a16="http://schemas.microsoft.com/office/drawing/2014/main" id="{997C725F-84A3-4932-754C-7E143DD79858}"/>
              </a:ext>
            </a:extLst>
          </p:cNvPr>
          <p:cNvSpPr>
            <a:spLocks noChangeArrowheads="1"/>
          </p:cNvSpPr>
          <p:nvPr/>
        </p:nvSpPr>
        <p:spPr bwMode="auto">
          <a:xfrm>
            <a:off x="1423619" y="1429789"/>
            <a:ext cx="8044895"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lstStyle/>
          <a:p>
            <a:pPr algn="ctr" defTabSz="914377">
              <a:lnSpc>
                <a:spcPct val="85000"/>
              </a:lnSpc>
              <a:defRPr/>
            </a:pPr>
            <a:r>
              <a:rPr lang="en-US" sz="1700">
                <a:solidFill>
                  <a:prstClr val="white"/>
                </a:solidFill>
              </a:rPr>
              <a:t>Application Processor</a:t>
            </a:r>
          </a:p>
        </p:txBody>
      </p:sp>
      <p:sp>
        <p:nvSpPr>
          <p:cNvPr id="3" name="Rectangle 11">
            <a:extLst>
              <a:ext uri="{FF2B5EF4-FFF2-40B4-BE49-F238E27FC236}">
                <a16:creationId xmlns:a16="http://schemas.microsoft.com/office/drawing/2014/main" id="{541A6FFA-CDAE-D298-1666-F1E32F30DAAC}"/>
              </a:ext>
            </a:extLst>
          </p:cNvPr>
          <p:cNvSpPr>
            <a:spLocks noChangeArrowheads="1"/>
          </p:cNvSpPr>
          <p:nvPr/>
        </p:nvSpPr>
        <p:spPr bwMode="auto">
          <a:xfrm>
            <a:off x="1642636" y="1929447"/>
            <a:ext cx="7644836" cy="489517"/>
          </a:xfrm>
          <a:prstGeom prst="roundRect">
            <a:avLst/>
          </a:prstGeom>
          <a:solidFill>
            <a:schemeClr val="bg1">
              <a:lumMod val="8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377">
              <a:lnSpc>
                <a:spcPct val="85000"/>
              </a:lnSpc>
              <a:defRPr/>
            </a:pPr>
            <a:endParaRPr lang="en-US" sz="1200" dirty="0">
              <a:solidFill>
                <a:srgbClr val="13171F">
                  <a:lumMod val="85000"/>
                  <a:lumOff val="15000"/>
                </a:srgbClr>
              </a:solidFill>
            </a:endParaRPr>
          </a:p>
        </p:txBody>
      </p:sp>
      <p:sp>
        <p:nvSpPr>
          <p:cNvPr id="419853" name="Rectangle 12">
            <a:extLst>
              <a:ext uri="{FF2B5EF4-FFF2-40B4-BE49-F238E27FC236}">
                <a16:creationId xmlns:a16="http://schemas.microsoft.com/office/drawing/2014/main" id="{F53ADBBB-06B0-5EAC-C001-EA5E83352753}"/>
              </a:ext>
            </a:extLst>
          </p:cNvPr>
          <p:cNvSpPr>
            <a:spLocks noChangeArrowheads="1"/>
          </p:cNvSpPr>
          <p:nvPr/>
        </p:nvSpPr>
        <p:spPr bwMode="auto">
          <a:xfrm>
            <a:off x="1642534" y="2643717"/>
            <a:ext cx="7644938" cy="2664883"/>
          </a:xfrm>
          <a:prstGeom prst="roundRect">
            <a:avLst>
              <a:gd name="adj" fmla="val 10657"/>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34295" tIns="34295" rIns="34295" bIns="34295" anchor="b"/>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algn="ctr" eaLnBrk="1" hangingPunct="1">
              <a:lnSpc>
                <a:spcPct val="85000"/>
              </a:lnSpc>
              <a:spcBef>
                <a:spcPct val="0"/>
              </a:spcBef>
              <a:buClrTx/>
              <a:buFontTx/>
              <a:buNone/>
            </a:pPr>
            <a:r>
              <a:rPr lang="en-US" altLang="en-US" sz="1200">
                <a:solidFill>
                  <a:srgbClr val="13171F"/>
                </a:solidFill>
              </a:rPr>
              <a:t>HLOS</a:t>
            </a:r>
          </a:p>
        </p:txBody>
      </p:sp>
      <p:sp>
        <p:nvSpPr>
          <p:cNvPr id="9" name="Rectangle 13">
            <a:extLst>
              <a:ext uri="{FF2B5EF4-FFF2-40B4-BE49-F238E27FC236}">
                <a16:creationId xmlns:a16="http://schemas.microsoft.com/office/drawing/2014/main" id="{E3285069-0945-E44D-7D5E-810B371BA857}"/>
              </a:ext>
            </a:extLst>
          </p:cNvPr>
          <p:cNvSpPr>
            <a:spLocks noChangeArrowheads="1"/>
          </p:cNvSpPr>
          <p:nvPr/>
        </p:nvSpPr>
        <p:spPr bwMode="auto">
          <a:xfrm>
            <a:off x="3386668" y="2747433"/>
            <a:ext cx="5653450" cy="2514600"/>
          </a:xfrm>
          <a:prstGeom prst="roundRect">
            <a:avLst>
              <a:gd name="adj" fmla="val 9125"/>
            </a:avLst>
          </a:prstGeom>
          <a:solidFill>
            <a:schemeClr val="accent3"/>
          </a:solidFill>
          <a:ln>
            <a:noFill/>
          </a:ln>
        </p:spPr>
        <p:txBody>
          <a:bodyPr vert="vert" lIns="45720" tIns="45720" rIns="45720" bIns="45720" anchorCtr="1"/>
          <a:lstStyle/>
          <a:p>
            <a:pPr algn="ctr" defTabSz="914377">
              <a:lnSpc>
                <a:spcPct val="85000"/>
              </a:lnSpc>
              <a:defRPr/>
            </a:pPr>
            <a:r>
              <a:rPr lang="en-US" sz="1000" b="1">
                <a:solidFill>
                  <a:srgbClr val="F7F8FA"/>
                </a:solidFill>
                <a:latin typeface="Microsoft Sans Serif"/>
              </a:rPr>
              <a:t>MBMS Client</a:t>
            </a:r>
            <a:endParaRPr lang="en-US" sz="1100">
              <a:solidFill>
                <a:srgbClr val="F7F8FA"/>
              </a:solidFill>
              <a:latin typeface="Microsoft Sans Serif"/>
            </a:endParaRPr>
          </a:p>
        </p:txBody>
      </p:sp>
      <p:cxnSp>
        <p:nvCxnSpPr>
          <p:cNvPr id="419846" name="Connector: Elbow 419845">
            <a:extLst>
              <a:ext uri="{FF2B5EF4-FFF2-40B4-BE49-F238E27FC236}">
                <a16:creationId xmlns:a16="http://schemas.microsoft.com/office/drawing/2014/main" id="{C2DFA45C-EA3E-F97B-90F7-036DF50DA6C9}"/>
              </a:ext>
            </a:extLst>
          </p:cNvPr>
          <p:cNvCxnSpPr>
            <a:cxnSpLocks/>
            <a:stCxn id="41" idx="2"/>
            <a:endCxn id="45" idx="3"/>
          </p:cNvCxnSpPr>
          <p:nvPr/>
        </p:nvCxnSpPr>
        <p:spPr>
          <a:xfrm rot="5400000">
            <a:off x="2990401" y="2296778"/>
            <a:ext cx="3423964" cy="3406130"/>
          </a:xfrm>
          <a:prstGeom prst="bentConnector2">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Connector: Elbow 60">
            <a:extLst>
              <a:ext uri="{FF2B5EF4-FFF2-40B4-BE49-F238E27FC236}">
                <a16:creationId xmlns:a16="http://schemas.microsoft.com/office/drawing/2014/main" id="{0DB33F91-0E15-BA21-506A-D5C355AD96B8}"/>
              </a:ext>
            </a:extLst>
          </p:cNvPr>
          <p:cNvCxnSpPr>
            <a:cxnSpLocks/>
            <a:endCxn id="21" idx="3"/>
          </p:cNvCxnSpPr>
          <p:nvPr/>
        </p:nvCxnSpPr>
        <p:spPr>
          <a:xfrm rot="5400000">
            <a:off x="2620987" y="2645583"/>
            <a:ext cx="2283584" cy="1611589"/>
          </a:xfrm>
          <a:prstGeom prst="bentConnector2">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Connector: Elbow 49">
            <a:extLst>
              <a:ext uri="{FF2B5EF4-FFF2-40B4-BE49-F238E27FC236}">
                <a16:creationId xmlns:a16="http://schemas.microsoft.com/office/drawing/2014/main" id="{46D9FBE3-42D3-32C8-41E6-C7170932E0ED}"/>
              </a:ext>
            </a:extLst>
          </p:cNvPr>
          <p:cNvCxnSpPr>
            <a:cxnSpLocks/>
            <a:stCxn id="9" idx="2"/>
            <a:endCxn id="45" idx="3"/>
          </p:cNvCxnSpPr>
          <p:nvPr/>
        </p:nvCxnSpPr>
        <p:spPr>
          <a:xfrm rot="5400000">
            <a:off x="4381460" y="3879892"/>
            <a:ext cx="449792" cy="3214075"/>
          </a:xfrm>
          <a:prstGeom prst="bentConnector2">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Connector: Elbow 7">
            <a:extLst>
              <a:ext uri="{FF2B5EF4-FFF2-40B4-BE49-F238E27FC236}">
                <a16:creationId xmlns:a16="http://schemas.microsoft.com/office/drawing/2014/main" id="{81746B8E-0BC3-F9CE-0112-715F0E035EB2}"/>
              </a:ext>
            </a:extLst>
          </p:cNvPr>
          <p:cNvCxnSpPr>
            <a:cxnSpLocks/>
            <a:stCxn id="19" idx="1"/>
            <a:endCxn id="21" idx="1"/>
          </p:cNvCxnSpPr>
          <p:nvPr/>
        </p:nvCxnSpPr>
        <p:spPr>
          <a:xfrm rot="10800000" flipH="1" flipV="1">
            <a:off x="2057399" y="3566583"/>
            <a:ext cx="8467" cy="1026585"/>
          </a:xfrm>
          <a:prstGeom prst="bentConnector3">
            <a:avLst>
              <a:gd name="adj1" fmla="val -2699894"/>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Connector: Elbow 39">
            <a:extLst>
              <a:ext uri="{FF2B5EF4-FFF2-40B4-BE49-F238E27FC236}">
                <a16:creationId xmlns:a16="http://schemas.microsoft.com/office/drawing/2014/main" id="{8863815E-F1FB-4A54-C808-A85B78C5D0A0}"/>
              </a:ext>
            </a:extLst>
          </p:cNvPr>
          <p:cNvCxnSpPr>
            <a:cxnSpLocks/>
            <a:stCxn id="6" idx="1"/>
            <a:endCxn id="21" idx="1"/>
          </p:cNvCxnSpPr>
          <p:nvPr/>
        </p:nvCxnSpPr>
        <p:spPr>
          <a:xfrm rot="10800000" flipV="1">
            <a:off x="2065867" y="2156885"/>
            <a:ext cx="65618" cy="2436284"/>
          </a:xfrm>
          <a:prstGeom prst="bentConnector3">
            <a:avLst>
              <a:gd name="adj1" fmla="val 44838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9842" name="Title 1">
            <a:extLst>
              <a:ext uri="{FF2B5EF4-FFF2-40B4-BE49-F238E27FC236}">
                <a16:creationId xmlns:a16="http://schemas.microsoft.com/office/drawing/2014/main" id="{87744CFE-D0ED-696A-5D50-35B8717CE467}"/>
              </a:ext>
            </a:extLst>
          </p:cNvPr>
          <p:cNvSpPr>
            <a:spLocks noGrp="1" noChangeArrowheads="1"/>
          </p:cNvSpPr>
          <p:nvPr>
            <p:ph type="title"/>
          </p:nvPr>
        </p:nvSpPr>
        <p:spPr>
          <a:xfrm>
            <a:off x="495300" y="591778"/>
            <a:ext cx="11186584" cy="413639"/>
          </a:xfrm>
        </p:spPr>
        <p:txBody>
          <a:bodyPr/>
          <a:lstStyle/>
          <a:p>
            <a:r>
              <a:rPr lang="en-US" altLang="en-US" sz="3200" dirty="0"/>
              <a:t>Services: Re-use of existing apps and players</a:t>
            </a:r>
          </a:p>
        </p:txBody>
      </p:sp>
      <p:sp>
        <p:nvSpPr>
          <p:cNvPr id="4" name="Subtitle 3">
            <a:extLst>
              <a:ext uri="{FF2B5EF4-FFF2-40B4-BE49-F238E27FC236}">
                <a16:creationId xmlns:a16="http://schemas.microsoft.com/office/drawing/2014/main" id="{D4B6A4CE-6BDB-2E42-E060-0553E029BDBD}"/>
              </a:ext>
            </a:extLst>
          </p:cNvPr>
          <p:cNvSpPr>
            <a:spLocks noGrp="1"/>
          </p:cNvSpPr>
          <p:nvPr>
            <p:ph type="subTitle" idx="1"/>
          </p:nvPr>
        </p:nvSpPr>
        <p:spPr>
          <a:xfrm>
            <a:off x="493185" y="1087967"/>
            <a:ext cx="11188700" cy="236347"/>
          </a:xfrm>
        </p:spPr>
        <p:txBody>
          <a:bodyPr/>
          <a:lstStyle/>
          <a:p>
            <a:pPr>
              <a:defRPr/>
            </a:pPr>
            <a:r>
              <a:rPr lang="de-DE" altLang="en-US"/>
              <a:t>Re-</a:t>
            </a:r>
            <a:r>
              <a:rPr lang="de-DE" altLang="en-US" err="1"/>
              <a:t>usable</a:t>
            </a:r>
            <a:r>
              <a:rPr lang="de-DE" altLang="en-US"/>
              <a:t> </a:t>
            </a:r>
            <a:r>
              <a:rPr lang="de-DE" altLang="en-US" err="1"/>
              <a:t>components</a:t>
            </a:r>
            <a:r>
              <a:rPr lang="de-DE" altLang="en-US"/>
              <a:t>, </a:t>
            </a:r>
            <a:r>
              <a:rPr lang="de-DE" altLang="en-US" err="1"/>
              <a:t>device</a:t>
            </a:r>
            <a:r>
              <a:rPr lang="de-DE" altLang="en-US"/>
              <a:t>-internal </a:t>
            </a:r>
            <a:r>
              <a:rPr lang="de-DE" altLang="en-US" err="1"/>
              <a:t>interfaces</a:t>
            </a:r>
            <a:r>
              <a:rPr lang="de-DE" altLang="en-US"/>
              <a:t> and APIs, </a:t>
            </a:r>
            <a:r>
              <a:rPr lang="de-DE" altLang="en-US" err="1"/>
              <a:t>combination</a:t>
            </a:r>
            <a:r>
              <a:rPr lang="de-DE" altLang="en-US"/>
              <a:t> </a:t>
            </a:r>
            <a:r>
              <a:rPr lang="de-DE" altLang="en-US" err="1"/>
              <a:t>with</a:t>
            </a:r>
            <a:r>
              <a:rPr lang="de-DE" altLang="en-US"/>
              <a:t> </a:t>
            </a:r>
            <a:r>
              <a:rPr lang="de-DE" altLang="en-US" err="1"/>
              <a:t>advanced</a:t>
            </a:r>
            <a:r>
              <a:rPr lang="de-DE" altLang="en-US"/>
              <a:t> </a:t>
            </a:r>
            <a:r>
              <a:rPr lang="de-DE" altLang="en-US" err="1"/>
              <a:t>unicast</a:t>
            </a:r>
            <a:r>
              <a:rPr lang="de-DE" altLang="en-US"/>
              <a:t> </a:t>
            </a:r>
            <a:r>
              <a:rPr lang="de-DE" altLang="en-US" err="1"/>
              <a:t>technologies</a:t>
            </a:r>
            <a:r>
              <a:rPr lang="de-DE" altLang="en-US"/>
              <a:t> </a:t>
            </a:r>
            <a:endParaRPr altLang="en-US"/>
          </a:p>
        </p:txBody>
      </p:sp>
      <p:sp>
        <p:nvSpPr>
          <p:cNvPr id="6" name="Rectangle 12">
            <a:extLst>
              <a:ext uri="{FF2B5EF4-FFF2-40B4-BE49-F238E27FC236}">
                <a16:creationId xmlns:a16="http://schemas.microsoft.com/office/drawing/2014/main" id="{6FD50D42-DE1A-5839-B05F-FB3787C1A249}"/>
              </a:ext>
            </a:extLst>
          </p:cNvPr>
          <p:cNvSpPr>
            <a:spLocks noChangeArrowheads="1"/>
          </p:cNvSpPr>
          <p:nvPr/>
        </p:nvSpPr>
        <p:spPr bwMode="auto">
          <a:xfrm>
            <a:off x="2131485" y="2012951"/>
            <a:ext cx="1430700" cy="287867"/>
          </a:xfrm>
          <a:prstGeom prst="roundRect">
            <a:avLst/>
          </a:prstGeom>
          <a:solidFill>
            <a:schemeClr val="bg2">
              <a:lumMod val="60000"/>
              <a:lumOff val="40000"/>
            </a:schemeClr>
          </a:solidFill>
          <a:ln>
            <a:noFill/>
          </a:ln>
        </p:spPr>
        <p:txBody>
          <a:bodyPr lIns="45720" tIns="45720" rIns="45720" bIns="45720" anchor="ctr" anchorCtr="1"/>
          <a:lstStyle/>
          <a:p>
            <a:pPr defTabSz="914377">
              <a:lnSpc>
                <a:spcPct val="85000"/>
              </a:lnSpc>
              <a:defRPr/>
            </a:pPr>
            <a:r>
              <a:rPr lang="en-US" sz="1100" dirty="0">
                <a:solidFill>
                  <a:srgbClr val="13171F"/>
                </a:solidFill>
                <a:latin typeface="Microsoft Sans Serif"/>
              </a:rPr>
              <a:t>Streaming App</a:t>
            </a:r>
          </a:p>
        </p:txBody>
      </p:sp>
      <p:sp>
        <p:nvSpPr>
          <p:cNvPr id="7" name="Rectangle 12">
            <a:extLst>
              <a:ext uri="{FF2B5EF4-FFF2-40B4-BE49-F238E27FC236}">
                <a16:creationId xmlns:a16="http://schemas.microsoft.com/office/drawing/2014/main" id="{1033F0EF-D5F6-1690-3870-A3487521934C}"/>
              </a:ext>
            </a:extLst>
          </p:cNvPr>
          <p:cNvSpPr>
            <a:spLocks noChangeArrowheads="1"/>
          </p:cNvSpPr>
          <p:nvPr/>
        </p:nvSpPr>
        <p:spPr bwMode="auto">
          <a:xfrm>
            <a:off x="3815722" y="2021418"/>
            <a:ext cx="1530978" cy="289983"/>
          </a:xfrm>
          <a:prstGeom prst="roundRect">
            <a:avLst/>
          </a:prstGeom>
          <a:solidFill>
            <a:schemeClr val="bg1">
              <a:lumMod val="65000"/>
            </a:schemeClr>
          </a:solidFill>
          <a:ln>
            <a:noFill/>
          </a:ln>
        </p:spPr>
        <p:txBody>
          <a:bodyPr lIns="45720" tIns="45720" rIns="45720" bIns="45720" anchor="ctr" anchorCtr="1"/>
          <a:lstStyle/>
          <a:p>
            <a:pPr defTabSz="914377">
              <a:lnSpc>
                <a:spcPct val="85000"/>
              </a:lnSpc>
              <a:defRPr/>
            </a:pPr>
            <a:r>
              <a:rPr lang="en-US" sz="1100" dirty="0">
                <a:solidFill>
                  <a:srgbClr val="F7F8FA"/>
                </a:solidFill>
                <a:latin typeface="Microsoft Sans Serif"/>
              </a:rPr>
              <a:t>File Download App</a:t>
            </a:r>
          </a:p>
        </p:txBody>
      </p:sp>
      <p:grpSp>
        <p:nvGrpSpPr>
          <p:cNvPr id="419855" name="Group 224">
            <a:extLst>
              <a:ext uri="{FF2B5EF4-FFF2-40B4-BE49-F238E27FC236}">
                <a16:creationId xmlns:a16="http://schemas.microsoft.com/office/drawing/2014/main" id="{AACD5F4F-A806-77AA-057C-527D4E97D7B4}"/>
              </a:ext>
            </a:extLst>
          </p:cNvPr>
          <p:cNvGrpSpPr>
            <a:grpSpLocks/>
          </p:cNvGrpSpPr>
          <p:nvPr/>
        </p:nvGrpSpPr>
        <p:grpSpPr bwMode="auto">
          <a:xfrm>
            <a:off x="4144434" y="3039533"/>
            <a:ext cx="2791884" cy="287867"/>
            <a:chOff x="2373084" y="2857585"/>
            <a:chExt cx="3557794" cy="288925"/>
          </a:xfrm>
        </p:grpSpPr>
        <p:sp>
          <p:nvSpPr>
            <p:cNvPr id="11" name="Rectangle 12">
              <a:extLst>
                <a:ext uri="{FF2B5EF4-FFF2-40B4-BE49-F238E27FC236}">
                  <a16:creationId xmlns:a16="http://schemas.microsoft.com/office/drawing/2014/main" id="{4E67806D-14D8-DC3C-03D2-A9C3BAE73C9E}"/>
                </a:ext>
              </a:extLst>
            </p:cNvPr>
            <p:cNvSpPr>
              <a:spLocks noChangeArrowheads="1"/>
            </p:cNvSpPr>
            <p:nvPr/>
          </p:nvSpPr>
          <p:spPr bwMode="auto">
            <a:xfrm>
              <a:off x="2373084" y="2857585"/>
              <a:ext cx="1737088" cy="288925"/>
            </a:xfrm>
            <a:prstGeom prst="roundRect">
              <a:avLst/>
            </a:prstGeom>
            <a:solidFill>
              <a:srgbClr val="FFFF00"/>
            </a:solidFill>
            <a:ln>
              <a:noFill/>
            </a:ln>
          </p:spPr>
          <p:txBody>
            <a:bodyPr lIns="45720" tIns="45720" rIns="45720" bIns="45720" anchor="ctr" anchorCtr="1"/>
            <a:lstStyle/>
            <a:p>
              <a:pPr defTabSz="914377">
                <a:lnSpc>
                  <a:spcPct val="85000"/>
                </a:lnSpc>
                <a:defRPr/>
              </a:pPr>
              <a:r>
                <a:rPr lang="en-US" sz="900" dirty="0">
                  <a:solidFill>
                    <a:srgbClr val="13171F">
                      <a:lumMod val="85000"/>
                      <a:lumOff val="15000"/>
                    </a:srgbClr>
                  </a:solidFill>
                  <a:latin typeface="Microsoft Sans Serif"/>
                </a:rPr>
                <a:t>Streaming Service</a:t>
              </a:r>
            </a:p>
          </p:txBody>
        </p:sp>
        <p:sp>
          <p:nvSpPr>
            <p:cNvPr id="12" name="Rectangle 12">
              <a:extLst>
                <a:ext uri="{FF2B5EF4-FFF2-40B4-BE49-F238E27FC236}">
                  <a16:creationId xmlns:a16="http://schemas.microsoft.com/office/drawing/2014/main" id="{8DCAEF2E-5792-DA7A-36E2-49DE22F2D27F}"/>
                </a:ext>
              </a:extLst>
            </p:cNvPr>
            <p:cNvSpPr>
              <a:spLocks noChangeArrowheads="1"/>
            </p:cNvSpPr>
            <p:nvPr/>
          </p:nvSpPr>
          <p:spPr bwMode="auto">
            <a:xfrm>
              <a:off x="4199185" y="2857585"/>
              <a:ext cx="1731693" cy="288925"/>
            </a:xfrm>
            <a:prstGeom prst="roundRect">
              <a:avLst/>
            </a:prstGeom>
            <a:solidFill>
              <a:srgbClr val="FFFF00"/>
            </a:solidFill>
            <a:ln>
              <a:noFill/>
            </a:ln>
          </p:spPr>
          <p:txBody>
            <a:bodyPr lIns="45720" tIns="45720" rIns="45720" bIns="45720" anchor="ctr" anchorCtr="1"/>
            <a:lstStyle/>
            <a:p>
              <a:pPr defTabSz="914377">
                <a:lnSpc>
                  <a:spcPct val="85000"/>
                </a:lnSpc>
                <a:defRPr/>
              </a:pPr>
              <a:r>
                <a:rPr lang="en-US" sz="900" dirty="0">
                  <a:solidFill>
                    <a:srgbClr val="13171F">
                      <a:lumMod val="85000"/>
                      <a:lumOff val="15000"/>
                    </a:srgbClr>
                  </a:solidFill>
                  <a:latin typeface="Microsoft Sans Serif"/>
                </a:rPr>
                <a:t>File Download Service</a:t>
              </a:r>
            </a:p>
          </p:txBody>
        </p:sp>
      </p:grpSp>
      <p:sp>
        <p:nvSpPr>
          <p:cNvPr id="13" name="Rectangle 12">
            <a:extLst>
              <a:ext uri="{FF2B5EF4-FFF2-40B4-BE49-F238E27FC236}">
                <a16:creationId xmlns:a16="http://schemas.microsoft.com/office/drawing/2014/main" id="{69BD2D10-8B7F-EE4E-9BDE-272647218C65}"/>
              </a:ext>
            </a:extLst>
          </p:cNvPr>
          <p:cNvSpPr>
            <a:spLocks noChangeArrowheads="1"/>
          </p:cNvSpPr>
          <p:nvPr/>
        </p:nvSpPr>
        <p:spPr bwMode="auto">
          <a:xfrm>
            <a:off x="3494617" y="3454401"/>
            <a:ext cx="759883" cy="463551"/>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Local HTTP Server</a:t>
            </a:r>
          </a:p>
        </p:txBody>
      </p:sp>
      <p:sp>
        <p:nvSpPr>
          <p:cNvPr id="14" name="Rectangle 12">
            <a:extLst>
              <a:ext uri="{FF2B5EF4-FFF2-40B4-BE49-F238E27FC236}">
                <a16:creationId xmlns:a16="http://schemas.microsoft.com/office/drawing/2014/main" id="{CCDFCF90-3201-A8D9-9DE5-4B6891CDC61A}"/>
              </a:ext>
            </a:extLst>
          </p:cNvPr>
          <p:cNvSpPr>
            <a:spLocks noChangeArrowheads="1"/>
          </p:cNvSpPr>
          <p:nvPr/>
        </p:nvSpPr>
        <p:spPr bwMode="auto">
          <a:xfrm>
            <a:off x="4163485" y="4764618"/>
            <a:ext cx="4271433" cy="336549"/>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a:solidFill>
                  <a:srgbClr val="13171F">
                    <a:lumMod val="85000"/>
                    <a:lumOff val="15000"/>
                  </a:srgbClr>
                </a:solidFill>
                <a:latin typeface="Microsoft Sans Serif"/>
              </a:rPr>
              <a:t>Service Discovery</a:t>
            </a:r>
          </a:p>
        </p:txBody>
      </p:sp>
      <p:sp>
        <p:nvSpPr>
          <p:cNvPr id="15" name="Rectangle 12">
            <a:extLst>
              <a:ext uri="{FF2B5EF4-FFF2-40B4-BE49-F238E27FC236}">
                <a16:creationId xmlns:a16="http://schemas.microsoft.com/office/drawing/2014/main" id="{08FC8B21-5956-E8F0-08B3-C2A935EDED20}"/>
              </a:ext>
            </a:extLst>
          </p:cNvPr>
          <p:cNvSpPr>
            <a:spLocks noChangeArrowheads="1"/>
          </p:cNvSpPr>
          <p:nvPr/>
        </p:nvSpPr>
        <p:spPr bwMode="auto">
          <a:xfrm>
            <a:off x="5575300" y="3454401"/>
            <a:ext cx="645584" cy="463551"/>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a:solidFill>
                  <a:srgbClr val="000000"/>
                </a:solidFill>
                <a:latin typeface="Microsoft Sans Serif"/>
              </a:rPr>
              <a:t>File </a:t>
            </a:r>
            <a:br>
              <a:rPr lang="en-US" sz="900">
                <a:solidFill>
                  <a:srgbClr val="000000"/>
                </a:solidFill>
                <a:latin typeface="Microsoft Sans Serif"/>
              </a:rPr>
            </a:br>
            <a:r>
              <a:rPr lang="en-US" sz="900">
                <a:solidFill>
                  <a:srgbClr val="000000"/>
                </a:solidFill>
                <a:latin typeface="Microsoft Sans Serif"/>
              </a:rPr>
              <a:t>Repair</a:t>
            </a:r>
          </a:p>
        </p:txBody>
      </p:sp>
      <p:sp>
        <p:nvSpPr>
          <p:cNvPr id="16" name="Rectangle 12">
            <a:extLst>
              <a:ext uri="{FF2B5EF4-FFF2-40B4-BE49-F238E27FC236}">
                <a16:creationId xmlns:a16="http://schemas.microsoft.com/office/drawing/2014/main" id="{5BEA1DAC-D46E-4CF1-FEBD-07B2D16B9E4B}"/>
              </a:ext>
            </a:extLst>
          </p:cNvPr>
          <p:cNvSpPr>
            <a:spLocks noChangeArrowheads="1"/>
          </p:cNvSpPr>
          <p:nvPr/>
        </p:nvSpPr>
        <p:spPr bwMode="auto">
          <a:xfrm>
            <a:off x="6256867" y="3454401"/>
            <a:ext cx="679451" cy="463551"/>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a:solidFill>
                  <a:srgbClr val="000000"/>
                </a:solidFill>
                <a:latin typeface="Microsoft Sans Serif"/>
              </a:rPr>
              <a:t>Reception Reporting</a:t>
            </a:r>
          </a:p>
        </p:txBody>
      </p:sp>
      <p:sp>
        <p:nvSpPr>
          <p:cNvPr id="17" name="Rectangle 12">
            <a:extLst>
              <a:ext uri="{FF2B5EF4-FFF2-40B4-BE49-F238E27FC236}">
                <a16:creationId xmlns:a16="http://schemas.microsoft.com/office/drawing/2014/main" id="{9640DF07-C503-16CD-E76A-195919663C37}"/>
              </a:ext>
            </a:extLst>
          </p:cNvPr>
          <p:cNvSpPr>
            <a:spLocks noChangeArrowheads="1"/>
          </p:cNvSpPr>
          <p:nvPr/>
        </p:nvSpPr>
        <p:spPr bwMode="auto">
          <a:xfrm>
            <a:off x="4144434" y="4044951"/>
            <a:ext cx="2764367" cy="522816"/>
          </a:xfrm>
          <a:prstGeom prst="roundRect">
            <a:avLst/>
          </a:prstGeom>
          <a:solidFill>
            <a:srgbClr val="FFFF00"/>
          </a:solidFill>
          <a:ln>
            <a:noFill/>
          </a:ln>
        </p:spPr>
        <p:txBody>
          <a:bodyPr lIns="45720" tIns="45720" rIns="45720" bIns="45720" anchorCtr="1"/>
          <a:lstStyle/>
          <a:p>
            <a:pPr defTabSz="914377">
              <a:lnSpc>
                <a:spcPct val="85000"/>
              </a:lnSpc>
              <a:defRPr/>
            </a:pPr>
            <a:r>
              <a:rPr lang="en-US" sz="900">
                <a:solidFill>
                  <a:srgbClr val="13171F">
                    <a:lumMod val="85000"/>
                    <a:lumOff val="15000"/>
                  </a:srgbClr>
                </a:solidFill>
                <a:latin typeface="Microsoft Sans Serif"/>
              </a:rPr>
              <a:t>Object Distribution Function</a:t>
            </a:r>
          </a:p>
        </p:txBody>
      </p:sp>
      <p:sp>
        <p:nvSpPr>
          <p:cNvPr id="419861" name="Rectangle 12">
            <a:extLst>
              <a:ext uri="{FF2B5EF4-FFF2-40B4-BE49-F238E27FC236}">
                <a16:creationId xmlns:a16="http://schemas.microsoft.com/office/drawing/2014/main" id="{820FCD2B-276C-1590-45AE-E1D98CFCDFB9}"/>
              </a:ext>
            </a:extLst>
          </p:cNvPr>
          <p:cNvSpPr>
            <a:spLocks noChangeArrowheads="1"/>
          </p:cNvSpPr>
          <p:nvPr/>
        </p:nvSpPr>
        <p:spPr bwMode="auto">
          <a:xfrm>
            <a:off x="4275667" y="4305301"/>
            <a:ext cx="1140884" cy="218017"/>
          </a:xfrm>
          <a:prstGeom prst="roundRect">
            <a:avLst>
              <a:gd name="adj" fmla="val 16667"/>
            </a:avLst>
          </a:prstGeom>
          <a:solidFill>
            <a:srgbClr val="FFFF00"/>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2D374A"/>
                </a:solidFill>
              </a:rPr>
              <a:t>FLUTE</a:t>
            </a:r>
          </a:p>
        </p:txBody>
      </p:sp>
      <p:sp>
        <p:nvSpPr>
          <p:cNvPr id="19" name="Rectangle 12">
            <a:extLst>
              <a:ext uri="{FF2B5EF4-FFF2-40B4-BE49-F238E27FC236}">
                <a16:creationId xmlns:a16="http://schemas.microsoft.com/office/drawing/2014/main" id="{721662BA-3E09-A77F-C9FF-3D42B18CF49F}"/>
              </a:ext>
            </a:extLst>
          </p:cNvPr>
          <p:cNvSpPr>
            <a:spLocks noChangeArrowheads="1"/>
          </p:cNvSpPr>
          <p:nvPr/>
        </p:nvSpPr>
        <p:spPr bwMode="auto">
          <a:xfrm>
            <a:off x="2057400" y="3014134"/>
            <a:ext cx="908051" cy="1104900"/>
          </a:xfrm>
          <a:prstGeom prst="roundRect">
            <a:avLst/>
          </a:prstGeom>
          <a:solidFill>
            <a:schemeClr val="bg2">
              <a:lumMod val="60000"/>
              <a:lumOff val="40000"/>
            </a:schemeClr>
          </a:solidFill>
          <a:ln>
            <a:noFill/>
          </a:ln>
        </p:spPr>
        <p:txBody>
          <a:bodyPr lIns="45720" tIns="45720" rIns="45720" bIns="45720" anchorCtr="1"/>
          <a:lstStyle/>
          <a:p>
            <a:pPr algn="ctr" defTabSz="914377">
              <a:lnSpc>
                <a:spcPct val="85000"/>
              </a:lnSpc>
              <a:defRPr/>
            </a:pPr>
            <a:r>
              <a:rPr lang="en-US" sz="900" dirty="0">
                <a:solidFill>
                  <a:srgbClr val="13171F"/>
                </a:solidFill>
                <a:latin typeface="Microsoft Sans Serif"/>
              </a:rPr>
              <a:t>Multimedia System</a:t>
            </a:r>
          </a:p>
        </p:txBody>
      </p:sp>
      <p:sp>
        <p:nvSpPr>
          <p:cNvPr id="20" name="Rectangle 12">
            <a:extLst>
              <a:ext uri="{FF2B5EF4-FFF2-40B4-BE49-F238E27FC236}">
                <a16:creationId xmlns:a16="http://schemas.microsoft.com/office/drawing/2014/main" id="{3A5D0399-4688-5E27-83BF-9873765A4E38}"/>
              </a:ext>
            </a:extLst>
          </p:cNvPr>
          <p:cNvSpPr>
            <a:spLocks noChangeArrowheads="1"/>
          </p:cNvSpPr>
          <p:nvPr/>
        </p:nvSpPr>
        <p:spPr bwMode="auto">
          <a:xfrm>
            <a:off x="2203451" y="3452285"/>
            <a:ext cx="615949" cy="461433"/>
          </a:xfrm>
          <a:prstGeom prst="roundRect">
            <a:avLst/>
          </a:prstGeom>
          <a:solidFill>
            <a:schemeClr val="bg2">
              <a:lumMod val="40000"/>
              <a:lumOff val="60000"/>
            </a:schemeClr>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DASH Client</a:t>
            </a:r>
          </a:p>
        </p:txBody>
      </p:sp>
      <p:sp>
        <p:nvSpPr>
          <p:cNvPr id="21" name="Rectangle 12">
            <a:extLst>
              <a:ext uri="{FF2B5EF4-FFF2-40B4-BE49-F238E27FC236}">
                <a16:creationId xmlns:a16="http://schemas.microsoft.com/office/drawing/2014/main" id="{A1EE1DE8-CE1C-532F-821F-F0AC9540B8B7}"/>
              </a:ext>
            </a:extLst>
          </p:cNvPr>
          <p:cNvSpPr>
            <a:spLocks noChangeArrowheads="1"/>
          </p:cNvSpPr>
          <p:nvPr/>
        </p:nvSpPr>
        <p:spPr bwMode="auto">
          <a:xfrm>
            <a:off x="2065867" y="4392085"/>
            <a:ext cx="891117" cy="402167"/>
          </a:xfrm>
          <a:prstGeom prst="roundRect">
            <a:avLst/>
          </a:prstGeom>
          <a:solidFill>
            <a:schemeClr val="bg2">
              <a:lumMod val="40000"/>
              <a:lumOff val="60000"/>
            </a:schemeClr>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HTTP/TCP</a:t>
            </a:r>
          </a:p>
        </p:txBody>
      </p:sp>
      <p:sp>
        <p:nvSpPr>
          <p:cNvPr id="22" name="Rectangle 12">
            <a:extLst>
              <a:ext uri="{FF2B5EF4-FFF2-40B4-BE49-F238E27FC236}">
                <a16:creationId xmlns:a16="http://schemas.microsoft.com/office/drawing/2014/main" id="{FF76EAFC-9B34-DCD2-8519-E70D520D8611}"/>
              </a:ext>
            </a:extLst>
          </p:cNvPr>
          <p:cNvSpPr>
            <a:spLocks noChangeArrowheads="1"/>
          </p:cNvSpPr>
          <p:nvPr/>
        </p:nvSpPr>
        <p:spPr bwMode="auto">
          <a:xfrm>
            <a:off x="6934201" y="5528733"/>
            <a:ext cx="960967" cy="366184"/>
          </a:xfrm>
          <a:prstGeom prst="roundRect">
            <a:avLst/>
          </a:prstGeom>
          <a:solidFill>
            <a:srgbClr val="FFFF00"/>
          </a:solid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P Stack</a:t>
            </a:r>
            <a:br>
              <a:rPr lang="en-US" sz="900" dirty="0">
                <a:solidFill>
                  <a:srgbClr val="13171F"/>
                </a:solidFill>
                <a:latin typeface="Microsoft Sans Serif"/>
              </a:rPr>
            </a:br>
            <a:r>
              <a:rPr lang="en-US" sz="900" dirty="0">
                <a:solidFill>
                  <a:srgbClr val="13171F"/>
                </a:solidFill>
                <a:latin typeface="Microsoft Sans Serif"/>
              </a:rPr>
              <a:t>(with multicast)</a:t>
            </a:r>
          </a:p>
        </p:txBody>
      </p:sp>
      <p:sp>
        <p:nvSpPr>
          <p:cNvPr id="23" name="Rectangle 12">
            <a:extLst>
              <a:ext uri="{FF2B5EF4-FFF2-40B4-BE49-F238E27FC236}">
                <a16:creationId xmlns:a16="http://schemas.microsoft.com/office/drawing/2014/main" id="{6F3A9C96-89AF-447C-F784-166DE23E690F}"/>
              </a:ext>
            </a:extLst>
          </p:cNvPr>
          <p:cNvSpPr>
            <a:spLocks noChangeArrowheads="1"/>
          </p:cNvSpPr>
          <p:nvPr/>
        </p:nvSpPr>
        <p:spPr bwMode="auto">
          <a:xfrm>
            <a:off x="4074585" y="5596467"/>
            <a:ext cx="958849" cy="366184"/>
          </a:xfrm>
          <a:prstGeom prst="roundRect">
            <a:avLst/>
          </a:prstGeom>
          <a:solidFill>
            <a:srgbClr val="FFFF00"/>
          </a:solidFill>
          <a:ln>
            <a:noFill/>
          </a:ln>
        </p:spPr>
        <p:txBody>
          <a:bodyPr lIns="34295" tIns="34295" rIns="34295" bIns="34295" anchor="ctr" anchorCtr="1"/>
          <a:lstStyle/>
          <a:p>
            <a:pPr algn="ctr" defTabSz="914377">
              <a:lnSpc>
                <a:spcPct val="85000"/>
              </a:lnSpc>
              <a:defRPr/>
            </a:pPr>
            <a:r>
              <a:rPr lang="en-US" sz="900">
                <a:solidFill>
                  <a:srgbClr val="13171F"/>
                </a:solidFill>
                <a:latin typeface="Microsoft Sans Serif"/>
              </a:rPr>
              <a:t>eMBMS Service</a:t>
            </a:r>
          </a:p>
        </p:txBody>
      </p:sp>
      <p:cxnSp>
        <p:nvCxnSpPr>
          <p:cNvPr id="24" name="Straight Arrow Connector 23">
            <a:extLst>
              <a:ext uri="{FF2B5EF4-FFF2-40B4-BE49-F238E27FC236}">
                <a16:creationId xmlns:a16="http://schemas.microsoft.com/office/drawing/2014/main" id="{20F427B8-D0D2-1138-06B8-D1A7E19EDE80}"/>
              </a:ext>
            </a:extLst>
          </p:cNvPr>
          <p:cNvCxnSpPr>
            <a:cxnSpLocks/>
            <a:stCxn id="23" idx="0"/>
          </p:cNvCxnSpPr>
          <p:nvPr/>
        </p:nvCxnSpPr>
        <p:spPr>
          <a:xfrm flipV="1">
            <a:off x="4552951" y="5101167"/>
            <a:ext cx="0" cy="49530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6">
            <a:extLst>
              <a:ext uri="{FF2B5EF4-FFF2-40B4-BE49-F238E27FC236}">
                <a16:creationId xmlns:a16="http://schemas.microsoft.com/office/drawing/2014/main" id="{41161C4B-0235-2500-DBA2-E32E027826B7}"/>
              </a:ext>
            </a:extLst>
          </p:cNvPr>
          <p:cNvCxnSpPr>
            <a:cxnSpLocks/>
            <a:stCxn id="14" idx="3"/>
            <a:endCxn id="43" idx="2"/>
          </p:cNvCxnSpPr>
          <p:nvPr/>
        </p:nvCxnSpPr>
        <p:spPr>
          <a:xfrm flipV="1">
            <a:off x="8434918" y="2296015"/>
            <a:ext cx="103662" cy="2636878"/>
          </a:xfrm>
          <a:prstGeom prst="bentConnector2">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C36939B-A3DC-0A0D-A44C-AA321349CDCC}"/>
              </a:ext>
            </a:extLst>
          </p:cNvPr>
          <p:cNvCxnSpPr>
            <a:cxnSpLocks/>
          </p:cNvCxnSpPr>
          <p:nvPr/>
        </p:nvCxnSpPr>
        <p:spPr>
          <a:xfrm flipV="1">
            <a:off x="2510367" y="2300818"/>
            <a:ext cx="0" cy="713316"/>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AA94D90-C44E-22F3-AB5B-C5A133BA5EE5}"/>
              </a:ext>
            </a:extLst>
          </p:cNvPr>
          <p:cNvCxnSpPr>
            <a:cxnSpLocks/>
            <a:stCxn id="13" idx="1"/>
            <a:endCxn id="20" idx="3"/>
          </p:cNvCxnSpPr>
          <p:nvPr/>
        </p:nvCxnSpPr>
        <p:spPr>
          <a:xfrm flipH="1" flipV="1">
            <a:off x="2819401" y="3683000"/>
            <a:ext cx="675217" cy="2117"/>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9E5AE43-925C-A8DF-1FEE-0DBAE17B40FE}"/>
              </a:ext>
            </a:extLst>
          </p:cNvPr>
          <p:cNvCxnSpPr>
            <a:cxnSpLocks/>
          </p:cNvCxnSpPr>
          <p:nvPr/>
        </p:nvCxnSpPr>
        <p:spPr>
          <a:xfrm flipV="1">
            <a:off x="4552951" y="5922433"/>
            <a:ext cx="0" cy="364067"/>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D88F369-29F6-C698-5CC4-18CD4008E8E2}"/>
              </a:ext>
            </a:extLst>
          </p:cNvPr>
          <p:cNvCxnSpPr>
            <a:cxnSpLocks/>
            <a:endCxn id="22" idx="2"/>
          </p:cNvCxnSpPr>
          <p:nvPr/>
        </p:nvCxnSpPr>
        <p:spPr>
          <a:xfrm flipV="1">
            <a:off x="7414684" y="5894918"/>
            <a:ext cx="0" cy="3661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E953663-0197-9A95-3D19-779800227A69}"/>
              </a:ext>
            </a:extLst>
          </p:cNvPr>
          <p:cNvCxnSpPr>
            <a:cxnSpLocks/>
          </p:cNvCxnSpPr>
          <p:nvPr/>
        </p:nvCxnSpPr>
        <p:spPr>
          <a:xfrm flipH="1" flipV="1">
            <a:off x="2533651" y="3913718"/>
            <a:ext cx="0" cy="478367"/>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12">
            <a:extLst>
              <a:ext uri="{FF2B5EF4-FFF2-40B4-BE49-F238E27FC236}">
                <a16:creationId xmlns:a16="http://schemas.microsoft.com/office/drawing/2014/main" id="{78435DC5-D4CF-02CD-27EB-107B4A8093EC}"/>
              </a:ext>
            </a:extLst>
          </p:cNvPr>
          <p:cNvSpPr>
            <a:spLocks noChangeArrowheads="1"/>
          </p:cNvSpPr>
          <p:nvPr/>
        </p:nvSpPr>
        <p:spPr bwMode="auto">
          <a:xfrm>
            <a:off x="5022852" y="2444751"/>
            <a:ext cx="323849" cy="226483"/>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13171F">
                    <a:lumMod val="85000"/>
                    <a:lumOff val="15000"/>
                  </a:srgbClr>
                </a:solidFill>
                <a:latin typeface="Microsoft Sans Serif"/>
              </a:rPr>
              <a:t>I-1</a:t>
            </a:r>
          </a:p>
        </p:txBody>
      </p:sp>
      <p:sp>
        <p:nvSpPr>
          <p:cNvPr id="32" name="Rectangle 12">
            <a:extLst>
              <a:ext uri="{FF2B5EF4-FFF2-40B4-BE49-F238E27FC236}">
                <a16:creationId xmlns:a16="http://schemas.microsoft.com/office/drawing/2014/main" id="{70DA2F4E-51FE-30D0-4FB2-D87C94045D56}"/>
              </a:ext>
            </a:extLst>
          </p:cNvPr>
          <p:cNvSpPr>
            <a:spLocks noChangeArrowheads="1"/>
          </p:cNvSpPr>
          <p:nvPr/>
        </p:nvSpPr>
        <p:spPr bwMode="auto">
          <a:xfrm>
            <a:off x="4607984" y="5122334"/>
            <a:ext cx="270933" cy="198967"/>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F7F8FA"/>
                </a:solidFill>
                <a:latin typeface="Microsoft Sans Serif"/>
              </a:rPr>
              <a:t>I-2</a:t>
            </a:r>
          </a:p>
        </p:txBody>
      </p:sp>
      <p:sp>
        <p:nvSpPr>
          <p:cNvPr id="33" name="Rectangle 12">
            <a:extLst>
              <a:ext uri="{FF2B5EF4-FFF2-40B4-BE49-F238E27FC236}">
                <a16:creationId xmlns:a16="http://schemas.microsoft.com/office/drawing/2014/main" id="{487BA83C-7D3F-4AA1-E224-5FE4A2B8FF49}"/>
              </a:ext>
            </a:extLst>
          </p:cNvPr>
          <p:cNvSpPr>
            <a:spLocks noChangeArrowheads="1"/>
          </p:cNvSpPr>
          <p:nvPr/>
        </p:nvSpPr>
        <p:spPr bwMode="auto">
          <a:xfrm>
            <a:off x="3244851" y="3507318"/>
            <a:ext cx="230716" cy="190500"/>
          </a:xfrm>
          <a:prstGeom prst="rect">
            <a:avLst/>
          </a:prstGeom>
          <a:no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4</a:t>
            </a:r>
          </a:p>
        </p:txBody>
      </p:sp>
      <p:sp>
        <p:nvSpPr>
          <p:cNvPr id="34" name="Rectangle 12">
            <a:extLst>
              <a:ext uri="{FF2B5EF4-FFF2-40B4-BE49-F238E27FC236}">
                <a16:creationId xmlns:a16="http://schemas.microsoft.com/office/drawing/2014/main" id="{DD6474AF-07B2-B053-0C22-2F0DD47C3297}"/>
              </a:ext>
            </a:extLst>
          </p:cNvPr>
          <p:cNvSpPr>
            <a:spLocks noChangeArrowheads="1"/>
          </p:cNvSpPr>
          <p:nvPr/>
        </p:nvSpPr>
        <p:spPr bwMode="auto">
          <a:xfrm>
            <a:off x="3735917" y="6251519"/>
            <a:ext cx="6687031"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nchor="ctr"/>
          <a:lstStyle/>
          <a:p>
            <a:pPr algn="ctr" defTabSz="914377">
              <a:lnSpc>
                <a:spcPct val="85000"/>
              </a:lnSpc>
              <a:defRPr/>
            </a:pPr>
            <a:r>
              <a:rPr lang="en-US" sz="1100" dirty="0">
                <a:solidFill>
                  <a:srgbClr val="13171F"/>
                </a:solidFill>
              </a:rPr>
              <a:t>5G Broadcast Feature</a:t>
            </a:r>
          </a:p>
        </p:txBody>
      </p:sp>
      <p:sp>
        <p:nvSpPr>
          <p:cNvPr id="35" name="Rectangle 12">
            <a:extLst>
              <a:ext uri="{FF2B5EF4-FFF2-40B4-BE49-F238E27FC236}">
                <a16:creationId xmlns:a16="http://schemas.microsoft.com/office/drawing/2014/main" id="{B5408675-DA86-5265-D858-BB3F58B52BD6}"/>
              </a:ext>
            </a:extLst>
          </p:cNvPr>
          <p:cNvSpPr>
            <a:spLocks noChangeArrowheads="1"/>
          </p:cNvSpPr>
          <p:nvPr/>
        </p:nvSpPr>
        <p:spPr bwMode="auto">
          <a:xfrm>
            <a:off x="7414684" y="5173134"/>
            <a:ext cx="270933" cy="198967"/>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F7F8FA"/>
                </a:solidFill>
                <a:latin typeface="Microsoft Sans Serif"/>
              </a:rPr>
              <a:t>I-3</a:t>
            </a:r>
          </a:p>
        </p:txBody>
      </p:sp>
      <p:sp>
        <p:nvSpPr>
          <p:cNvPr id="36" name="Rectangle 12">
            <a:extLst>
              <a:ext uri="{FF2B5EF4-FFF2-40B4-BE49-F238E27FC236}">
                <a16:creationId xmlns:a16="http://schemas.microsoft.com/office/drawing/2014/main" id="{E67CBD3A-40D2-EEB0-7906-731156FE50B8}"/>
              </a:ext>
            </a:extLst>
          </p:cNvPr>
          <p:cNvSpPr>
            <a:spLocks noChangeArrowheads="1"/>
          </p:cNvSpPr>
          <p:nvPr/>
        </p:nvSpPr>
        <p:spPr bwMode="auto">
          <a:xfrm>
            <a:off x="7004051" y="3039533"/>
            <a:ext cx="1361016" cy="287867"/>
          </a:xfrm>
          <a:prstGeom prst="roundRect">
            <a:avLst/>
          </a:prstGeom>
          <a:solidFill>
            <a:srgbClr val="FFFF00"/>
          </a:solidFill>
          <a:ln>
            <a:noFill/>
          </a:ln>
        </p:spPr>
        <p:txBody>
          <a:bodyPr lIns="45720" tIns="45720" rIns="45720" bIns="45720" anchor="ctr" anchorCtr="1"/>
          <a:lstStyle/>
          <a:p>
            <a:pPr defTabSz="914377">
              <a:lnSpc>
                <a:spcPct val="85000"/>
              </a:lnSpc>
              <a:defRPr/>
            </a:pPr>
            <a:r>
              <a:rPr lang="en-US" sz="900" dirty="0">
                <a:solidFill>
                  <a:srgbClr val="13171F">
                    <a:lumMod val="85000"/>
                    <a:lumOff val="15000"/>
                  </a:srgbClr>
                </a:solidFill>
                <a:latin typeface="Microsoft Sans Serif"/>
              </a:rPr>
              <a:t>Transparent Service</a:t>
            </a:r>
          </a:p>
        </p:txBody>
      </p:sp>
      <p:sp>
        <p:nvSpPr>
          <p:cNvPr id="38" name="Rectangle 12">
            <a:extLst>
              <a:ext uri="{FF2B5EF4-FFF2-40B4-BE49-F238E27FC236}">
                <a16:creationId xmlns:a16="http://schemas.microsoft.com/office/drawing/2014/main" id="{7B187487-6363-2EC5-4FCF-41445913BDEE}"/>
              </a:ext>
            </a:extLst>
          </p:cNvPr>
          <p:cNvSpPr>
            <a:spLocks noChangeArrowheads="1"/>
          </p:cNvSpPr>
          <p:nvPr/>
        </p:nvSpPr>
        <p:spPr bwMode="auto">
          <a:xfrm>
            <a:off x="6322485" y="4036484"/>
            <a:ext cx="2112433" cy="522816"/>
          </a:xfrm>
          <a:prstGeom prst="roundRect">
            <a:avLst/>
          </a:prstGeom>
          <a:solidFill>
            <a:srgbClr val="FFFF00"/>
          </a:solidFill>
          <a:ln>
            <a:noFill/>
          </a:ln>
        </p:spPr>
        <p:txBody>
          <a:bodyPr lIns="45720" tIns="45720" rIns="45720" bIns="45720" anchorCtr="1"/>
          <a:lstStyle/>
          <a:p>
            <a:pPr defTabSz="914377">
              <a:lnSpc>
                <a:spcPct val="85000"/>
              </a:lnSpc>
              <a:defRPr/>
            </a:pPr>
            <a:r>
              <a:rPr lang="en-US" sz="900">
                <a:solidFill>
                  <a:srgbClr val="13171F">
                    <a:lumMod val="85000"/>
                    <a:lumOff val="15000"/>
                  </a:srgbClr>
                </a:solidFill>
                <a:latin typeface="Microsoft Sans Serif"/>
              </a:rPr>
              <a:t>Packet Distribution Function</a:t>
            </a:r>
          </a:p>
        </p:txBody>
      </p:sp>
      <p:sp>
        <p:nvSpPr>
          <p:cNvPr id="419884" name="Rectangle 12">
            <a:extLst>
              <a:ext uri="{FF2B5EF4-FFF2-40B4-BE49-F238E27FC236}">
                <a16:creationId xmlns:a16="http://schemas.microsoft.com/office/drawing/2014/main" id="{9C264B9F-9E5E-D7BC-207B-DA4FA8FA9368}"/>
              </a:ext>
            </a:extLst>
          </p:cNvPr>
          <p:cNvSpPr>
            <a:spLocks noChangeArrowheads="1"/>
          </p:cNvSpPr>
          <p:nvPr/>
        </p:nvSpPr>
        <p:spPr bwMode="auto">
          <a:xfrm>
            <a:off x="5666318" y="4305301"/>
            <a:ext cx="1138767" cy="218017"/>
          </a:xfrm>
          <a:prstGeom prst="roundRect">
            <a:avLst>
              <a:gd name="adj" fmla="val 16667"/>
            </a:avLst>
          </a:prstGeom>
          <a:solidFill>
            <a:srgbClr val="FFFF00"/>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000000"/>
                </a:solidFill>
              </a:rPr>
              <a:t>FEC</a:t>
            </a:r>
          </a:p>
        </p:txBody>
      </p:sp>
      <p:sp>
        <p:nvSpPr>
          <p:cNvPr id="419885" name="Rectangle 12">
            <a:extLst>
              <a:ext uri="{FF2B5EF4-FFF2-40B4-BE49-F238E27FC236}">
                <a16:creationId xmlns:a16="http://schemas.microsoft.com/office/drawing/2014/main" id="{999A35F2-6672-17D9-E5B3-D4D556C09E49}"/>
              </a:ext>
            </a:extLst>
          </p:cNvPr>
          <p:cNvSpPr>
            <a:spLocks noChangeArrowheads="1"/>
          </p:cNvSpPr>
          <p:nvPr/>
        </p:nvSpPr>
        <p:spPr bwMode="auto">
          <a:xfrm>
            <a:off x="7040034" y="4305301"/>
            <a:ext cx="1138767" cy="218017"/>
          </a:xfrm>
          <a:prstGeom prst="roundRect">
            <a:avLst>
              <a:gd name="adj" fmla="val 16667"/>
            </a:avLst>
          </a:prstGeom>
          <a:solidFill>
            <a:srgbClr val="FFFF00"/>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2D374A"/>
                </a:solidFill>
              </a:rPr>
              <a:t>Transparent</a:t>
            </a:r>
          </a:p>
        </p:txBody>
      </p:sp>
      <p:sp>
        <p:nvSpPr>
          <p:cNvPr id="41" name="Rectangle 12">
            <a:extLst>
              <a:ext uri="{FF2B5EF4-FFF2-40B4-BE49-F238E27FC236}">
                <a16:creationId xmlns:a16="http://schemas.microsoft.com/office/drawing/2014/main" id="{E7630AFC-7629-BABD-8221-85DC945B2ED4}"/>
              </a:ext>
            </a:extLst>
          </p:cNvPr>
          <p:cNvSpPr>
            <a:spLocks noChangeArrowheads="1"/>
          </p:cNvSpPr>
          <p:nvPr/>
        </p:nvSpPr>
        <p:spPr bwMode="auto">
          <a:xfrm>
            <a:off x="5727056" y="1997877"/>
            <a:ext cx="1356783" cy="289984"/>
          </a:xfrm>
          <a:prstGeom prst="roundRect">
            <a:avLst/>
          </a:prstGeom>
          <a:solidFill>
            <a:schemeClr val="bg1">
              <a:lumMod val="65000"/>
            </a:schemeClr>
          </a:solidFill>
          <a:ln>
            <a:noFill/>
          </a:ln>
        </p:spPr>
        <p:txBody>
          <a:bodyPr lIns="45720" tIns="45720" rIns="45720" bIns="45720" anchor="ctr" anchorCtr="1"/>
          <a:lstStyle/>
          <a:p>
            <a:pPr defTabSz="914377">
              <a:lnSpc>
                <a:spcPct val="85000"/>
              </a:lnSpc>
              <a:defRPr/>
            </a:pPr>
            <a:r>
              <a:rPr lang="en-US" sz="1100">
                <a:solidFill>
                  <a:srgbClr val="F7F8FA"/>
                </a:solidFill>
                <a:latin typeface="Microsoft Sans Serif"/>
              </a:rPr>
              <a:t>IPTV app</a:t>
            </a:r>
          </a:p>
        </p:txBody>
      </p:sp>
      <p:cxnSp>
        <p:nvCxnSpPr>
          <p:cNvPr id="42" name="Straight Arrow Connector 41">
            <a:extLst>
              <a:ext uri="{FF2B5EF4-FFF2-40B4-BE49-F238E27FC236}">
                <a16:creationId xmlns:a16="http://schemas.microsoft.com/office/drawing/2014/main" id="{1D07469E-1A63-104E-D3E4-90B7774A166B}"/>
              </a:ext>
            </a:extLst>
          </p:cNvPr>
          <p:cNvCxnSpPr>
            <a:cxnSpLocks/>
            <a:stCxn id="22" idx="0"/>
          </p:cNvCxnSpPr>
          <p:nvPr/>
        </p:nvCxnSpPr>
        <p:spPr>
          <a:xfrm flipH="1" flipV="1">
            <a:off x="7414684" y="5101167"/>
            <a:ext cx="0" cy="427567"/>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12">
            <a:extLst>
              <a:ext uri="{FF2B5EF4-FFF2-40B4-BE49-F238E27FC236}">
                <a16:creationId xmlns:a16="http://schemas.microsoft.com/office/drawing/2014/main" id="{A7EF1D08-9724-FCDD-F905-ED01448E0AA6}"/>
              </a:ext>
            </a:extLst>
          </p:cNvPr>
          <p:cNvSpPr>
            <a:spLocks noChangeArrowheads="1"/>
          </p:cNvSpPr>
          <p:nvPr/>
        </p:nvSpPr>
        <p:spPr bwMode="auto">
          <a:xfrm>
            <a:off x="7861246" y="2006032"/>
            <a:ext cx="1354667" cy="289983"/>
          </a:xfrm>
          <a:prstGeom prst="roundRect">
            <a:avLst/>
          </a:prstGeom>
          <a:solidFill>
            <a:srgbClr val="FFFF00"/>
          </a:solidFill>
          <a:ln>
            <a:noFill/>
          </a:ln>
        </p:spPr>
        <p:txBody>
          <a:bodyPr lIns="45720" tIns="45720" rIns="45720" bIns="45720" anchor="ctr" anchorCtr="1"/>
          <a:lstStyle/>
          <a:p>
            <a:pPr defTabSz="914377">
              <a:lnSpc>
                <a:spcPct val="85000"/>
              </a:lnSpc>
              <a:defRPr/>
            </a:pPr>
            <a:r>
              <a:rPr lang="en-US" sz="1100" dirty="0">
                <a:latin typeface="Microsoft Sans Serif"/>
              </a:rPr>
              <a:t>Service Discovery</a:t>
            </a:r>
          </a:p>
        </p:txBody>
      </p:sp>
      <p:sp>
        <p:nvSpPr>
          <p:cNvPr id="44" name="Rectangle 12">
            <a:extLst>
              <a:ext uri="{FF2B5EF4-FFF2-40B4-BE49-F238E27FC236}">
                <a16:creationId xmlns:a16="http://schemas.microsoft.com/office/drawing/2014/main" id="{4671FD8D-212D-7B59-B546-58D8BA14CE60}"/>
              </a:ext>
            </a:extLst>
          </p:cNvPr>
          <p:cNvSpPr>
            <a:spLocks noChangeArrowheads="1"/>
          </p:cNvSpPr>
          <p:nvPr/>
        </p:nvSpPr>
        <p:spPr bwMode="auto">
          <a:xfrm>
            <a:off x="727655" y="6260286"/>
            <a:ext cx="3008259" cy="303349"/>
          </a:xfrm>
          <a:prstGeom prst="roundRect">
            <a:avLst/>
          </a:prstGeom>
          <a:solidFill>
            <a:srgbClr val="FFC0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nchor="ctr"/>
          <a:lstStyle/>
          <a:p>
            <a:pPr algn="ctr" defTabSz="914377">
              <a:lnSpc>
                <a:spcPct val="85000"/>
              </a:lnSpc>
              <a:defRPr/>
            </a:pPr>
            <a:r>
              <a:rPr lang="en-US" sz="1100" dirty="0">
                <a:solidFill>
                  <a:srgbClr val="13171F"/>
                </a:solidFill>
              </a:rPr>
              <a:t>NR/LTE/</a:t>
            </a:r>
            <a:r>
              <a:rPr lang="en-US" sz="1100" dirty="0" err="1">
                <a:solidFill>
                  <a:srgbClr val="13171F"/>
                </a:solidFill>
              </a:rPr>
              <a:t>WiFi</a:t>
            </a:r>
            <a:r>
              <a:rPr lang="en-US" sz="1100" dirty="0">
                <a:solidFill>
                  <a:srgbClr val="13171F"/>
                </a:solidFill>
              </a:rPr>
              <a:t> modems</a:t>
            </a:r>
          </a:p>
        </p:txBody>
      </p:sp>
      <p:sp>
        <p:nvSpPr>
          <p:cNvPr id="45" name="Rectangle 12">
            <a:extLst>
              <a:ext uri="{FF2B5EF4-FFF2-40B4-BE49-F238E27FC236}">
                <a16:creationId xmlns:a16="http://schemas.microsoft.com/office/drawing/2014/main" id="{7C142081-A7CB-2E78-BA74-A3B7FD37D6C1}"/>
              </a:ext>
            </a:extLst>
          </p:cNvPr>
          <p:cNvSpPr>
            <a:spLocks noChangeArrowheads="1"/>
          </p:cNvSpPr>
          <p:nvPr/>
        </p:nvSpPr>
        <p:spPr bwMode="auto">
          <a:xfrm>
            <a:off x="2038351" y="5528733"/>
            <a:ext cx="960967" cy="366184"/>
          </a:xfrm>
          <a:prstGeom prst="roundRect">
            <a:avLst/>
          </a:prstGeom>
          <a:solidFill>
            <a:srgbClr val="FFC000"/>
          </a:solid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P Stack</a:t>
            </a:r>
            <a:br>
              <a:rPr lang="en-US" sz="900" dirty="0">
                <a:solidFill>
                  <a:srgbClr val="13171F"/>
                </a:solidFill>
                <a:latin typeface="Microsoft Sans Serif"/>
              </a:rPr>
            </a:br>
            <a:r>
              <a:rPr lang="en-US" sz="900" dirty="0">
                <a:solidFill>
                  <a:srgbClr val="13171F"/>
                </a:solidFill>
                <a:latin typeface="Microsoft Sans Serif"/>
              </a:rPr>
              <a:t>(unicast)</a:t>
            </a:r>
          </a:p>
        </p:txBody>
      </p:sp>
      <p:cxnSp>
        <p:nvCxnSpPr>
          <p:cNvPr id="46" name="Straight Arrow Connector 45">
            <a:extLst>
              <a:ext uri="{FF2B5EF4-FFF2-40B4-BE49-F238E27FC236}">
                <a16:creationId xmlns:a16="http://schemas.microsoft.com/office/drawing/2014/main" id="{DE6BC098-018B-7462-DD77-83616B353419}"/>
              </a:ext>
            </a:extLst>
          </p:cNvPr>
          <p:cNvCxnSpPr>
            <a:cxnSpLocks/>
            <a:endCxn id="45" idx="2"/>
          </p:cNvCxnSpPr>
          <p:nvPr/>
        </p:nvCxnSpPr>
        <p:spPr>
          <a:xfrm flipV="1">
            <a:off x="2518833" y="5894918"/>
            <a:ext cx="0" cy="3661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9F359F7-CC6E-72E1-E570-1D22AC093499}"/>
              </a:ext>
            </a:extLst>
          </p:cNvPr>
          <p:cNvCxnSpPr>
            <a:cxnSpLocks/>
            <a:stCxn id="45" idx="0"/>
            <a:endCxn id="21" idx="2"/>
          </p:cNvCxnSpPr>
          <p:nvPr/>
        </p:nvCxnSpPr>
        <p:spPr>
          <a:xfrm flipH="1" flipV="1">
            <a:off x="2510367" y="4794251"/>
            <a:ext cx="8467" cy="7344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8E48EDD2-E8FC-416C-C1C0-524830513143}"/>
              </a:ext>
            </a:extLst>
          </p:cNvPr>
          <p:cNvSpPr/>
          <p:nvPr/>
        </p:nvSpPr>
        <p:spPr>
          <a:xfrm>
            <a:off x="7833595" y="2477480"/>
            <a:ext cx="1382315" cy="385000"/>
          </a:xfrm>
          <a:prstGeom prst="ellipse">
            <a:avLst/>
          </a:prstGeom>
          <a:solidFill>
            <a:srgbClr val="FFFF00"/>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96000"/>
              </a:lnSpc>
            </a:pPr>
            <a:r>
              <a:rPr lang="en-US" sz="1100" dirty="0">
                <a:solidFill>
                  <a:schemeClr val="tx1"/>
                </a:solidFill>
                <a:latin typeface="Microsoft Sans Serif"/>
                <a:cs typeface="Microsoft Sans Serif" panose="020B0604020202020204" pitchFamily="34" charset="0"/>
              </a:rPr>
              <a:t>MBMS-APIs</a:t>
            </a:r>
          </a:p>
        </p:txBody>
      </p:sp>
      <p:cxnSp>
        <p:nvCxnSpPr>
          <p:cNvPr id="53" name="Straight Arrow Connector 52">
            <a:extLst>
              <a:ext uri="{FF2B5EF4-FFF2-40B4-BE49-F238E27FC236}">
                <a16:creationId xmlns:a16="http://schemas.microsoft.com/office/drawing/2014/main" id="{F00B14B4-0BE6-14CF-812E-4E5F9A7C43DD}"/>
              </a:ext>
            </a:extLst>
          </p:cNvPr>
          <p:cNvCxnSpPr>
            <a:cxnSpLocks/>
            <a:stCxn id="13" idx="0"/>
            <a:endCxn id="7" idx="2"/>
          </p:cNvCxnSpPr>
          <p:nvPr/>
        </p:nvCxnSpPr>
        <p:spPr>
          <a:xfrm rot="5400000" flipH="1" flipV="1">
            <a:off x="3656385" y="2529575"/>
            <a:ext cx="1143000" cy="706652"/>
          </a:xfrm>
          <a:prstGeom prst="bentConnector3">
            <a:avLst>
              <a:gd name="adj1" fmla="val 50000"/>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9849" name="Content Placeholder 2">
            <a:extLst>
              <a:ext uri="{FF2B5EF4-FFF2-40B4-BE49-F238E27FC236}">
                <a16:creationId xmlns:a16="http://schemas.microsoft.com/office/drawing/2014/main" id="{EDEEBC97-8343-DE16-856C-E1A8A22E8E09}"/>
              </a:ext>
            </a:extLst>
          </p:cNvPr>
          <p:cNvSpPr>
            <a:spLocks noGrp="1" noChangeArrowheads="1"/>
          </p:cNvSpPr>
          <p:nvPr>
            <p:ph sz="quarter" idx="14"/>
          </p:nvPr>
        </p:nvSpPr>
        <p:spPr>
          <a:xfrm>
            <a:off x="9267179" y="1952233"/>
            <a:ext cx="2961785" cy="3942684"/>
          </a:xfrm>
          <a:solidFill>
            <a:srgbClr val="FFFF00"/>
          </a:solidFill>
        </p:spPr>
        <p:txBody>
          <a:bodyPr>
            <a:normAutofit fontScale="92500" lnSpcReduction="20000"/>
          </a:bodyPr>
          <a:lstStyle/>
          <a:p>
            <a:pPr marL="0" indent="0">
              <a:lnSpc>
                <a:spcPct val="120000"/>
              </a:lnSpc>
              <a:spcBef>
                <a:spcPct val="0"/>
              </a:spcBef>
              <a:buNone/>
              <a:defRPr/>
            </a:pPr>
            <a:r>
              <a:rPr lang="en-US" altLang="en-US" sz="1800" dirty="0">
                <a:solidFill>
                  <a:schemeClr val="tx1"/>
                </a:solidFill>
              </a:rPr>
              <a:t>Supported Features</a:t>
            </a:r>
          </a:p>
          <a:p>
            <a:pPr>
              <a:lnSpc>
                <a:spcPct val="120000"/>
              </a:lnSpc>
              <a:spcBef>
                <a:spcPct val="0"/>
              </a:spcBef>
              <a:defRPr/>
            </a:pPr>
            <a:r>
              <a:rPr lang="en-US" altLang="en-US" sz="1800" dirty="0">
                <a:solidFill>
                  <a:schemeClr val="tx1"/>
                </a:solidFill>
              </a:rPr>
              <a:t>Broadcast only playback</a:t>
            </a:r>
          </a:p>
          <a:p>
            <a:pPr>
              <a:lnSpc>
                <a:spcPct val="120000"/>
              </a:lnSpc>
              <a:spcBef>
                <a:spcPct val="0"/>
              </a:spcBef>
              <a:defRPr/>
            </a:pPr>
            <a:r>
              <a:rPr lang="en-US" altLang="en-US" sz="1800" dirty="0">
                <a:solidFill>
                  <a:schemeClr val="tx1"/>
                </a:solidFill>
              </a:rPr>
              <a:t>DASH and HLS Support</a:t>
            </a:r>
          </a:p>
          <a:p>
            <a:pPr>
              <a:lnSpc>
                <a:spcPct val="120000"/>
              </a:lnSpc>
              <a:spcBef>
                <a:spcPct val="0"/>
              </a:spcBef>
              <a:defRPr/>
            </a:pPr>
            <a:r>
              <a:rPr lang="en-US" altLang="en-US" sz="1800" dirty="0">
                <a:solidFill>
                  <a:schemeClr val="tx1"/>
                </a:solidFill>
              </a:rPr>
              <a:t>Seamless BC/UC switching</a:t>
            </a:r>
          </a:p>
          <a:p>
            <a:pPr>
              <a:lnSpc>
                <a:spcPct val="120000"/>
              </a:lnSpc>
              <a:spcBef>
                <a:spcPct val="0"/>
              </a:spcBef>
              <a:defRPr/>
            </a:pPr>
            <a:r>
              <a:rPr lang="en-US" altLang="en-US" sz="1800" dirty="0">
                <a:solidFill>
                  <a:schemeClr val="tx1"/>
                </a:solidFill>
              </a:rPr>
              <a:t>In-session repair</a:t>
            </a:r>
          </a:p>
          <a:p>
            <a:pPr>
              <a:lnSpc>
                <a:spcPct val="120000"/>
              </a:lnSpc>
              <a:spcBef>
                <a:spcPct val="0"/>
              </a:spcBef>
              <a:defRPr/>
            </a:pPr>
            <a:r>
              <a:rPr lang="en-US" altLang="en-US" sz="1800" dirty="0">
                <a:solidFill>
                  <a:schemeClr val="tx1"/>
                </a:solidFill>
              </a:rPr>
              <a:t>HTTPS support</a:t>
            </a:r>
          </a:p>
          <a:p>
            <a:pPr>
              <a:lnSpc>
                <a:spcPct val="120000"/>
              </a:lnSpc>
              <a:spcBef>
                <a:spcPct val="0"/>
              </a:spcBef>
              <a:defRPr/>
            </a:pPr>
            <a:r>
              <a:rPr lang="en-US" altLang="en-US" sz="1800" dirty="0">
                <a:solidFill>
                  <a:schemeClr val="tx1"/>
                </a:solidFill>
              </a:rPr>
              <a:t>DRM Support</a:t>
            </a:r>
          </a:p>
          <a:p>
            <a:pPr>
              <a:lnSpc>
                <a:spcPct val="120000"/>
              </a:lnSpc>
              <a:spcBef>
                <a:spcPct val="0"/>
              </a:spcBef>
              <a:defRPr/>
            </a:pPr>
            <a:r>
              <a:rPr lang="en-US" altLang="en-US" sz="1800" dirty="0">
                <a:solidFill>
                  <a:schemeClr val="tx1"/>
                </a:solidFill>
              </a:rPr>
              <a:t>Metrics/CMCD reporting</a:t>
            </a:r>
          </a:p>
          <a:p>
            <a:pPr>
              <a:lnSpc>
                <a:spcPct val="120000"/>
              </a:lnSpc>
              <a:spcBef>
                <a:spcPct val="0"/>
              </a:spcBef>
              <a:defRPr/>
            </a:pPr>
            <a:r>
              <a:rPr lang="en-US" altLang="en-US" sz="1800" dirty="0">
                <a:solidFill>
                  <a:schemeClr val="tx1"/>
                </a:solidFill>
              </a:rPr>
              <a:t>Ad Insertion</a:t>
            </a:r>
          </a:p>
          <a:p>
            <a:pPr>
              <a:lnSpc>
                <a:spcPct val="120000"/>
              </a:lnSpc>
              <a:spcBef>
                <a:spcPct val="0"/>
              </a:spcBef>
              <a:defRPr/>
            </a:pPr>
            <a:r>
              <a:rPr lang="en-US" altLang="en-US" sz="1800" dirty="0">
                <a:solidFill>
                  <a:schemeClr val="tx1"/>
                </a:solidFill>
              </a:rPr>
              <a:t>Lower Latency </a:t>
            </a:r>
          </a:p>
          <a:p>
            <a:pPr>
              <a:lnSpc>
                <a:spcPct val="120000"/>
              </a:lnSpc>
              <a:spcBef>
                <a:spcPct val="0"/>
              </a:spcBef>
              <a:defRPr/>
            </a:pPr>
            <a:r>
              <a:rPr lang="en-US" altLang="en-US" sz="1800" dirty="0">
                <a:solidFill>
                  <a:schemeClr val="tx1"/>
                </a:solidFill>
              </a:rPr>
              <a:t>Immersive Content </a:t>
            </a:r>
          </a:p>
          <a:p>
            <a:pPr>
              <a:lnSpc>
                <a:spcPct val="120000"/>
              </a:lnSpc>
              <a:spcBef>
                <a:spcPct val="0"/>
              </a:spcBef>
              <a:defRPr/>
            </a:pPr>
            <a:r>
              <a:rPr lang="en-US" altLang="en-US" sz="1800" dirty="0">
                <a:solidFill>
                  <a:schemeClr val="tx1"/>
                </a:solidFill>
              </a:rPr>
              <a:t>A/B Watermarking</a:t>
            </a:r>
          </a:p>
          <a:p>
            <a:pPr>
              <a:lnSpc>
                <a:spcPct val="120000"/>
              </a:lnSpc>
              <a:spcBef>
                <a:spcPct val="0"/>
              </a:spcBef>
              <a:defRPr/>
            </a:pPr>
            <a:r>
              <a:rPr lang="en-US" altLang="en-US" sz="1800" dirty="0">
                <a:solidFill>
                  <a:schemeClr val="tx1"/>
                </a:solidFill>
              </a:rPr>
              <a:t>And </a:t>
            </a:r>
            <a:r>
              <a:rPr lang="en-US" altLang="en-US" sz="1800" dirty="0" err="1">
                <a:solidFill>
                  <a:schemeClr val="tx1"/>
                </a:solidFill>
              </a:rPr>
              <a:t>and</a:t>
            </a:r>
            <a:r>
              <a:rPr lang="en-US" altLang="en-US" sz="1800" dirty="0">
                <a:solidFill>
                  <a:schemeClr val="tx1"/>
                </a:solidFill>
              </a:rPr>
              <a:t> </a:t>
            </a:r>
            <a:r>
              <a:rPr lang="en-US" altLang="en-US" sz="1800" dirty="0" err="1">
                <a:solidFill>
                  <a:schemeClr val="tx1"/>
                </a:solidFill>
              </a:rPr>
              <a:t>and</a:t>
            </a:r>
            <a:endParaRPr lang="en-US" altLang="en-US" sz="1800" dirty="0">
              <a:solidFill>
                <a:schemeClr val="tx1"/>
              </a:solidFill>
            </a:endParaRPr>
          </a:p>
          <a:p>
            <a:pPr>
              <a:defRPr/>
            </a:pPr>
            <a:endParaRPr lang="en-US" altLang="en-US" dirty="0">
              <a:solidFill>
                <a:schemeClr val="tx1"/>
              </a:solidFill>
            </a:endParaRPr>
          </a:p>
        </p:txBody>
      </p:sp>
      <p:sp>
        <p:nvSpPr>
          <p:cNvPr id="419850" name="Footer Placeholder 419849">
            <a:extLst>
              <a:ext uri="{FF2B5EF4-FFF2-40B4-BE49-F238E27FC236}">
                <a16:creationId xmlns:a16="http://schemas.microsoft.com/office/drawing/2014/main" id="{81A018FA-2159-B52A-AE56-8BF7E91E1002}"/>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2024108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985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986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1988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1988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419849">
                                            <p:bg/>
                                          </p:spTgt>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19849">
                                            <p:txEl>
                                              <p:pRg st="0" end="0"/>
                                            </p:tx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19849">
                                            <p:txEl>
                                              <p:pRg st="1" end="1"/>
                                            </p:tx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19849">
                                            <p:txEl>
                                              <p:pRg st="2" end="2"/>
                                            </p:txEl>
                                          </p:spTgt>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19849">
                                            <p:txEl>
                                              <p:pRg st="3" end="3"/>
                                            </p:tx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19849">
                                            <p:txEl>
                                              <p:pRg st="4" end="4"/>
                                            </p:tx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19849">
                                            <p:txEl>
                                              <p:pRg st="5" end="5"/>
                                            </p:txEl>
                                          </p:spTgt>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19849">
                                            <p:txEl>
                                              <p:pRg st="6" end="6"/>
                                            </p:tx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19849">
                                            <p:txEl>
                                              <p:pRg st="7" end="7"/>
                                            </p:tx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19849">
                                            <p:txEl>
                                              <p:pRg st="8" end="8"/>
                                            </p:txEl>
                                          </p:spTgt>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19849">
                                            <p:txEl>
                                              <p:pRg st="9" end="9"/>
                                            </p:txEl>
                                          </p:spTgt>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419849">
                                            <p:txEl>
                                              <p:pRg st="10" end="10"/>
                                            </p:txEl>
                                          </p:spTgt>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19849">
                                            <p:txEl>
                                              <p:pRg st="11" end="11"/>
                                            </p:txEl>
                                          </p:spTgt>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1984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P spid="14" grpId="0" animBg="1"/>
      <p:bldP spid="15" grpId="0" animBg="1"/>
      <p:bldP spid="16" grpId="0" animBg="1"/>
      <p:bldP spid="17" grpId="0" animBg="1"/>
      <p:bldP spid="419861" grpId="0" animBg="1"/>
      <p:bldP spid="22" grpId="0" animBg="1"/>
      <p:bldP spid="23" grpId="0" animBg="1"/>
      <p:bldP spid="32" grpId="0"/>
      <p:bldP spid="34" grpId="0" animBg="1"/>
      <p:bldP spid="35" grpId="0"/>
      <p:bldP spid="36" grpId="0" animBg="1"/>
      <p:bldP spid="38" grpId="0" animBg="1"/>
      <p:bldP spid="419884" grpId="0" animBg="1"/>
      <p:bldP spid="419885" grpId="0" animBg="1"/>
      <p:bldP spid="43" grpId="0" animBg="1"/>
      <p:bldP spid="48" grpId="0" animBg="1"/>
      <p:bldP spid="419849" grpId="0" uiExpand="1" build="p"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6BAA97-4B98-41D0-BF5A-F38AC8F40E63}"/>
              </a:ext>
            </a:extLst>
          </p:cNvPr>
          <p:cNvSpPr>
            <a:spLocks noGrp="1"/>
          </p:cNvSpPr>
          <p:nvPr>
            <p:ph type="ftr" sz="quarter" idx="10"/>
          </p:nvPr>
        </p:nvSpPr>
        <p:spPr/>
        <p:txBody>
          <a:bodyPr/>
          <a:lstStyle/>
          <a:p>
            <a:r>
              <a:rPr lang="en-US"/>
              <a:t>5G Broadcast Conference</a:t>
            </a:r>
          </a:p>
        </p:txBody>
      </p:sp>
      <p:sp>
        <p:nvSpPr>
          <p:cNvPr id="3" name="Title 2">
            <a:extLst>
              <a:ext uri="{FF2B5EF4-FFF2-40B4-BE49-F238E27FC236}">
                <a16:creationId xmlns:a16="http://schemas.microsoft.com/office/drawing/2014/main" id="{ADE9013B-DFA0-F80F-7763-F55F22BE723F}"/>
              </a:ext>
            </a:extLst>
          </p:cNvPr>
          <p:cNvSpPr>
            <a:spLocks noGrp="1"/>
          </p:cNvSpPr>
          <p:nvPr>
            <p:ph type="title"/>
          </p:nvPr>
        </p:nvSpPr>
        <p:spPr>
          <a:xfrm>
            <a:off x="495300" y="642644"/>
            <a:ext cx="11187112" cy="361959"/>
          </a:xfrm>
        </p:spPr>
        <p:txBody>
          <a:bodyPr/>
          <a:lstStyle/>
          <a:p>
            <a:r>
              <a:rPr lang="de-DE" dirty="0" err="1"/>
              <a:t>Supporting</a:t>
            </a:r>
            <a:r>
              <a:rPr lang="de-DE" dirty="0"/>
              <a:t> </a:t>
            </a:r>
            <a:r>
              <a:rPr lang="de-DE" dirty="0" err="1"/>
              <a:t>Organizations</a:t>
            </a:r>
            <a:r>
              <a:rPr lang="de-DE" dirty="0"/>
              <a:t> </a:t>
            </a:r>
            <a:r>
              <a:rPr lang="de-DE" dirty="0" err="1"/>
              <a:t>for</a:t>
            </a:r>
            <a:r>
              <a:rPr lang="de-DE" dirty="0"/>
              <a:t> </a:t>
            </a:r>
            <a:r>
              <a:rPr lang="de-DE" dirty="0" err="1"/>
              <a:t>Profiles</a:t>
            </a:r>
            <a:r>
              <a:rPr lang="de-DE" dirty="0"/>
              <a:t> and Services</a:t>
            </a:r>
            <a:endParaRPr lang="en-US" dirty="0"/>
          </a:p>
        </p:txBody>
      </p:sp>
      <p:sp>
        <p:nvSpPr>
          <p:cNvPr id="5" name="Subtitle 4">
            <a:extLst>
              <a:ext uri="{FF2B5EF4-FFF2-40B4-BE49-F238E27FC236}">
                <a16:creationId xmlns:a16="http://schemas.microsoft.com/office/drawing/2014/main" id="{E3C8EE3F-3335-6FCC-B9E2-F7C1CE4C6077}"/>
              </a:ext>
            </a:extLst>
          </p:cNvPr>
          <p:cNvSpPr>
            <a:spLocks noGrp="1"/>
          </p:cNvSpPr>
          <p:nvPr>
            <p:ph type="subTitle" idx="1"/>
          </p:nvPr>
        </p:nvSpPr>
        <p:spPr/>
        <p:txBody>
          <a:bodyPr/>
          <a:lstStyle/>
          <a:p>
            <a:r>
              <a:rPr lang="de-DE" dirty="0"/>
              <a:t>Qualcomm is engaged in global standardization ecosystem</a:t>
            </a:r>
            <a:endParaRPr lang="en-US" dirty="0"/>
          </a:p>
        </p:txBody>
      </p:sp>
      <p:pic>
        <p:nvPicPr>
          <p:cNvPr id="7" name="Picture 2" descr="DVB - Wikipedia">
            <a:extLst>
              <a:ext uri="{FF2B5EF4-FFF2-40B4-BE49-F238E27FC236}">
                <a16:creationId xmlns:a16="http://schemas.microsoft.com/office/drawing/2014/main" id="{AAC46488-466A-39EA-8646-28DAA24FB2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07318" y="3875198"/>
            <a:ext cx="2568388" cy="10808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Why 3GPP Just Works– Multiple Generations Of Global Cellular Standards And  Solid Execution">
            <a:extLst>
              <a:ext uri="{FF2B5EF4-FFF2-40B4-BE49-F238E27FC236}">
                <a16:creationId xmlns:a16="http://schemas.microsoft.com/office/drawing/2014/main" id="{15D6DDF2-2891-C26E-35BC-BABB243B75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177" y="1895110"/>
            <a:ext cx="2100823" cy="122675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5G-MAG MEDIA ACTION GROUP | Where Media meets Connectivity">
            <a:extLst>
              <a:ext uri="{FF2B5EF4-FFF2-40B4-BE49-F238E27FC236}">
                <a16:creationId xmlns:a16="http://schemas.microsoft.com/office/drawing/2014/main" id="{BFCB10F0-E455-D169-BCC5-D10F3BAC00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2672" y="1779641"/>
            <a:ext cx="1624853" cy="162485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Joint Technical Committee (JTC) of the European Broadcasting Union (EBU),  the European Committee for Electrotechnical Standardization (CENELEC) and  ETSI | StandICT.eu 2026">
            <a:extLst>
              <a:ext uri="{FF2B5EF4-FFF2-40B4-BE49-F238E27FC236}">
                <a16:creationId xmlns:a16="http://schemas.microsoft.com/office/drawing/2014/main" id="{02FBD7DA-14E9-A5C4-9E3A-41BE97204A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294" y="3802811"/>
            <a:ext cx="4365813" cy="136195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TSC standards - Wikipedia">
            <a:extLst>
              <a:ext uri="{FF2B5EF4-FFF2-40B4-BE49-F238E27FC236}">
                <a16:creationId xmlns:a16="http://schemas.microsoft.com/office/drawing/2014/main" id="{E831FFC7-29A9-1775-0F2D-D514AE3A23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14370" y="3779693"/>
            <a:ext cx="3400425" cy="129896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llianzen">
            <a:extLst>
              <a:ext uri="{FF2B5EF4-FFF2-40B4-BE49-F238E27FC236}">
                <a16:creationId xmlns:a16="http://schemas.microsoft.com/office/drawing/2014/main" id="{A034A696-E4B9-866F-1E97-6D9A9929B1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14582" y="2036654"/>
            <a:ext cx="3526212" cy="99435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VTA LABS: Building The Future of Streaming">
            <a:extLst>
              <a:ext uri="{FF2B5EF4-FFF2-40B4-BE49-F238E27FC236}">
                <a16:creationId xmlns:a16="http://schemas.microsoft.com/office/drawing/2014/main" id="{200623B5-9D0A-3158-12FA-7C5572DB25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95177" y="5464565"/>
            <a:ext cx="3875835" cy="1154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881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293D5-E1CC-F829-8EAE-F38352A04D26}"/>
              </a:ext>
            </a:extLst>
          </p:cNvPr>
          <p:cNvSpPr>
            <a:spLocks noGrp="1"/>
          </p:cNvSpPr>
          <p:nvPr>
            <p:ph type="title"/>
          </p:nvPr>
        </p:nvSpPr>
        <p:spPr>
          <a:xfrm>
            <a:off x="495300" y="539221"/>
            <a:ext cx="11187112" cy="465384"/>
          </a:xfrm>
        </p:spPr>
        <p:txBody>
          <a:bodyPr/>
          <a:lstStyle/>
          <a:p>
            <a:r>
              <a:rPr lang="en-US" sz="3600" dirty="0"/>
              <a:t>Status of standards and multi-vendor interop</a:t>
            </a:r>
          </a:p>
        </p:txBody>
      </p:sp>
      <p:sp>
        <p:nvSpPr>
          <p:cNvPr id="11" name="Footer Placeholder 1">
            <a:extLst>
              <a:ext uri="{FF2B5EF4-FFF2-40B4-BE49-F238E27FC236}">
                <a16:creationId xmlns:a16="http://schemas.microsoft.com/office/drawing/2014/main" id="{9504D32C-A1CC-8A92-D2EE-3761F4C17DF9}"/>
              </a:ext>
            </a:extLst>
          </p:cNvPr>
          <p:cNvSpPr>
            <a:spLocks noGrp="1"/>
          </p:cNvSpPr>
          <p:nvPr>
            <p:ph type="ftr" sz="quarter" idx="10"/>
          </p:nvPr>
        </p:nvSpPr>
        <p:spPr/>
        <p:txBody>
          <a:bodyPr/>
          <a:lstStyle/>
          <a:p>
            <a:r>
              <a:rPr lang="en-US"/>
              <a:t>5G Broadcast Conference</a:t>
            </a:r>
          </a:p>
        </p:txBody>
      </p:sp>
      <p:graphicFrame>
        <p:nvGraphicFramePr>
          <p:cNvPr id="6" name="Diagram 5">
            <a:extLst>
              <a:ext uri="{FF2B5EF4-FFF2-40B4-BE49-F238E27FC236}">
                <a16:creationId xmlns:a16="http://schemas.microsoft.com/office/drawing/2014/main" id="{DB136613-AF8C-8B15-E795-CAE8F6A5137C}"/>
              </a:ext>
            </a:extLst>
          </p:cNvPr>
          <p:cNvGraphicFramePr/>
          <p:nvPr>
            <p:extLst>
              <p:ext uri="{D42A27DB-BD31-4B8C-83A1-F6EECF244321}">
                <p14:modId xmlns:p14="http://schemas.microsoft.com/office/powerpoint/2010/main" val="1664252603"/>
              </p:ext>
            </p:extLst>
          </p:nvPr>
        </p:nvGraphicFramePr>
        <p:xfrm>
          <a:off x="502444" y="1531935"/>
          <a:ext cx="11187112" cy="46817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6509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9136E-88C0-E1F6-E6AB-01902C67D219}"/>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86D49D04-2670-618B-2802-3DF7B3B60E36}"/>
              </a:ext>
            </a:extLst>
          </p:cNvPr>
          <p:cNvSpPr>
            <a:spLocks noGrp="1"/>
          </p:cNvSpPr>
          <p:nvPr>
            <p:ph type="title"/>
          </p:nvPr>
        </p:nvSpPr>
        <p:spPr>
          <a:xfrm>
            <a:off x="495298" y="3207677"/>
            <a:ext cx="8829675" cy="722955"/>
          </a:xfrm>
        </p:spPr>
        <p:txBody>
          <a:bodyPr/>
          <a:lstStyle/>
          <a:p>
            <a:r>
              <a:rPr lang="en-US" dirty="0"/>
              <a:t> Adoption Path</a:t>
            </a:r>
          </a:p>
        </p:txBody>
      </p:sp>
    </p:spTree>
    <p:extLst>
      <p:ext uri="{BB962C8B-B14F-4D97-AF65-F5344CB8AC3E}">
        <p14:creationId xmlns:p14="http://schemas.microsoft.com/office/powerpoint/2010/main" val="1365812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5AD57-FE46-D0E7-72EC-125F423F18AA}"/>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F7542544-1A85-CC42-DB0C-A3EDBEFCE301}"/>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ABFE80B2-1E4E-2064-EC93-3E924E1360B9}"/>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FA65A18B-91FB-D974-7E96-96623CBF2323}"/>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C984DD24-2877-DAF6-DE6D-4816D957FF8F}"/>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8158EA89-C72C-4728-3924-CB95B19B65E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F013DCEB-A02C-12ED-024E-67F600BCC5F0}"/>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E4401D5F-B255-742D-91FB-E7098D242E18}"/>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82D72707-24CC-251C-387A-FF717CA2E663}"/>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8722A484-EACE-D98E-6A0E-224B264AAC52}"/>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2058DEB3-1BFC-AC9A-6682-1735823EFEDC}"/>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F8117E26-1423-5E3E-3085-F47D36E35FA2}"/>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660B111B-8BD2-8604-EC0E-4CAEDB4E029D}"/>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1AF8E85C-8830-D401-76DB-598384AF4DD0}"/>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153A66-FDBE-6D08-FFFC-F515A3519397}"/>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0627503-62A9-DCA5-C424-E64F4E4931DD}"/>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5EF9AFB-EC37-ED83-0FE4-A60219828D30}"/>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A7BE70-1078-AC68-AA05-AECA63B21F60}"/>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C22FDA-F328-598B-0A8C-A2055B51016C}"/>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1AB4B2-A649-2520-A172-096FC75B997C}"/>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052A811-9F3D-B87A-FA04-6B1663E9D250}"/>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54730FB-E8C8-4D47-E275-1B57C57FA31F}"/>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D48BEB0-1BDF-1765-B764-B31F34CB518E}"/>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7392939-445B-1EE0-69D2-227F10C6B3AF}"/>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0E061FA-07AA-1693-4A2F-1A556B254D59}"/>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8C14EC0-8E8C-1CD7-FF4D-E5FE43FA1810}"/>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8733908-C739-0DC9-32D8-BC901256FEFC}"/>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BA283DFA-5B5A-E290-6C98-10B7E8AE858F}"/>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F88A35A2-5F39-189C-3673-E7E0F7A39C96}"/>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D2EA5097-B768-B6A1-DADB-75DBF8C4C33E}"/>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C995DA99-0653-A57B-1BBC-62093360458E}"/>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2B93C41B-14F7-D9FB-46AF-CC0CE376F4D9}"/>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A45C10C9-E76B-B217-E834-44CF44107F73}"/>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557933E5-555B-FB9A-8789-FF4AD1547FE6}"/>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530C6699-1041-211D-B306-804D93CE9815}"/>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8B09B5FB-5DE7-D469-1C02-44B230B5A16D}"/>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8EA764B9-E190-F3BF-782A-496A98343B39}"/>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4686173B-DF33-23EA-8B8E-D9E8C17BCBC8}"/>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EED2A06B-32F5-9331-0EC2-FAFCBCCFB6E7}"/>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7341F850-84E8-863E-111D-327A4D9B713B}"/>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AE8F46C-6707-E6A7-BAC4-DA98F1D4AAF2}"/>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2074B04-DA85-1AB0-50FD-CE000294EFE2}"/>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EFA2F8C-7914-8B48-AD6A-0E75AE75A78D}"/>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52D1663E-F9D6-9435-F6DE-68FF049E33C3}"/>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99BC7ED-5512-E581-A92B-6158111F6CF1}"/>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652833E-0E38-870D-9323-2BF204CFC2B1}"/>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1A31102-DF63-C6B7-BBB0-BD3CA49DB6AB}"/>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F3D95A8-399C-6FFC-E211-7033E3BC168A}"/>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F39662-4812-9047-6F20-2F8E8EE80976}"/>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8FBC0B3-8917-004A-081C-3881E8245AF2}"/>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D87EB32-9BFE-EF56-57F3-98B6F6203FFD}"/>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9C201AE8-78E7-4046-8A44-12027478153F}"/>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A909CFA-0F46-64A3-32FA-5EDFFCDE98E2}"/>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C9C17A05-01A6-B4B6-2085-B0E368F8A84F}"/>
              </a:ext>
            </a:extLst>
          </p:cNvPr>
          <p:cNvSpPr txBox="1"/>
          <p:nvPr/>
        </p:nvSpPr>
        <p:spPr>
          <a:xfrm>
            <a:off x="10023556" y="6101009"/>
            <a:ext cx="2264641" cy="714298"/>
          </a:xfrm>
          <a:prstGeom prst="rect">
            <a:avLst/>
          </a:prstGeom>
          <a:noFill/>
        </p:spPr>
        <p:txBody>
          <a:bodyPr wrap="square">
            <a:spAutoFit/>
          </a:bodyPr>
          <a:lstStyle/>
          <a:p>
            <a:pPr marL="0" marR="0" lvl="0" indent="0" algn="l" defTabSz="914400" rtl="0" eaLnBrk="1" fontAlgn="auto" latinLnBrk="0" hangingPunct="1">
              <a:lnSpc>
                <a:spcPts val="4267"/>
              </a:lnSpc>
              <a:spcBef>
                <a:spcPts val="0"/>
              </a:spcBef>
              <a:spcAft>
                <a:spcPts val="0"/>
              </a:spcAft>
              <a:buClrTx/>
              <a:buSzTx/>
              <a:buFontTx/>
              <a:buNone/>
              <a:tabLst/>
              <a:defRPr/>
            </a:pPr>
            <a:r>
              <a:rPr kumimoji="0" lang="es-ES" sz="5867"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FMT</a:t>
            </a:r>
          </a:p>
        </p:txBody>
      </p:sp>
      <p:pic>
        <p:nvPicPr>
          <p:cNvPr id="4" name="Picture 2">
            <a:extLst>
              <a:ext uri="{FF2B5EF4-FFF2-40B4-BE49-F238E27FC236}">
                <a16:creationId xmlns:a16="http://schemas.microsoft.com/office/drawing/2014/main" id="{EA7ABEB6-1EFC-83DF-828D-76EF40FB48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7841"/>
            <a:ext cx="7014174" cy="161039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Johann Mika">
            <a:extLst>
              <a:ext uri="{FF2B5EF4-FFF2-40B4-BE49-F238E27FC236}">
                <a16:creationId xmlns:a16="http://schemas.microsoft.com/office/drawing/2014/main" id="{942145A6-1CDE-7ACA-F82F-B6D550714E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8236" y="5254299"/>
            <a:ext cx="1463040" cy="146304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8" name="Picture 7" descr="A person wearing glasses and a white shirt&#10;&#10;Description automatically generated">
            <a:extLst>
              <a:ext uri="{FF2B5EF4-FFF2-40B4-BE49-F238E27FC236}">
                <a16:creationId xmlns:a16="http://schemas.microsoft.com/office/drawing/2014/main" id="{38AE1C96-727A-95DF-7B7A-2A86DF3A817B}"/>
              </a:ext>
            </a:extLst>
          </p:cNvPr>
          <p:cNvPicPr>
            <a:picLocks noChangeAspect="1"/>
          </p:cNvPicPr>
          <p:nvPr/>
        </p:nvPicPr>
        <p:blipFill>
          <a:blip r:embed="rId4"/>
          <a:stretch>
            <a:fillRect/>
          </a:stretch>
        </p:blipFill>
        <p:spPr>
          <a:xfrm>
            <a:off x="634718" y="1835329"/>
            <a:ext cx="1315812" cy="2022277"/>
          </a:xfrm>
          <a:prstGeom prst="ellipse">
            <a:avLst/>
          </a:prstGeom>
          <a:ln>
            <a:noFill/>
          </a:ln>
          <a:effectLst>
            <a:softEdge rad="112500"/>
          </a:effectLst>
        </p:spPr>
      </p:pic>
      <p:pic>
        <p:nvPicPr>
          <p:cNvPr id="9" name="Picture 28">
            <a:extLst>
              <a:ext uri="{FF2B5EF4-FFF2-40B4-BE49-F238E27FC236}">
                <a16:creationId xmlns:a16="http://schemas.microsoft.com/office/drawing/2014/main" id="{253A4D4F-6BCD-A0FA-DFD5-B7ECA6AC7E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0691" y="1751747"/>
            <a:ext cx="1463040" cy="194611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Picture 30" descr="aytac biber portrait 3 1">
            <a:extLst>
              <a:ext uri="{FF2B5EF4-FFF2-40B4-BE49-F238E27FC236}">
                <a16:creationId xmlns:a16="http://schemas.microsoft.com/office/drawing/2014/main" id="{4B213863-1ADE-AEA3-B81C-F8465178AD8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77589" y="5300019"/>
            <a:ext cx="1463040" cy="134475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2B827B2-6490-65CE-F5E2-5AB5406094EA}"/>
              </a:ext>
            </a:extLst>
          </p:cNvPr>
          <p:cNvSpPr txBox="1"/>
          <p:nvPr/>
        </p:nvSpPr>
        <p:spPr>
          <a:xfrm>
            <a:off x="1293829" y="3083522"/>
            <a:ext cx="9295866" cy="2585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t>5G Broadcast -</a:t>
            </a:r>
            <a:b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br>
            <a:r>
              <a:rPr kumimoji="0" lang="en-US" sz="4400" b="1" i="0" u="none" strike="noStrike" kern="1200" cap="none" spc="0" normalizeH="0" baseline="0" noProof="0" dirty="0">
                <a:ln>
                  <a:noFill/>
                </a:ln>
                <a:solidFill>
                  <a:srgbClr val="ED1B2E"/>
                </a:solidFill>
                <a:effectLst/>
                <a:uLnTx/>
                <a:uFillTx/>
                <a:latin typeface="Aptos" panose="020B0004020202020204" pitchFamily="34" charset="0"/>
                <a:ea typeface="+mn-ea"/>
                <a:cs typeface="+mn-cs"/>
              </a:rPr>
              <a:t>Ready for laun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Where:</a:t>
            </a:r>
            <a:r>
              <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 Main IBC Conference Center Room E1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When:</a:t>
            </a:r>
            <a:r>
              <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 Saturday, September 13, 12:15 - 13: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62626"/>
              </a:solidFill>
              <a:effectLst/>
              <a:uLnTx/>
              <a:uFillTx/>
              <a:latin typeface="Aptos" panose="020B0004020202020204" pitchFamily="34" charset="0"/>
              <a:ea typeface="+mn-ea"/>
              <a:cs typeface="+mn-cs"/>
            </a:endParaRPr>
          </a:p>
        </p:txBody>
      </p:sp>
      <p:pic>
        <p:nvPicPr>
          <p:cNvPr id="12" name="Picture 2" descr="Profile photo of Markus Schneider">
            <a:extLst>
              <a:ext uri="{FF2B5EF4-FFF2-40B4-BE49-F238E27FC236}">
                <a16:creationId xmlns:a16="http://schemas.microsoft.com/office/drawing/2014/main" id="{E30144E6-8B7F-2FA9-E1D5-BCE93E749A4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25272" y="1743951"/>
            <a:ext cx="1577921" cy="157792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6" name="Picture 2" descr="Profile photo of Wilson Wellisch">
            <a:extLst>
              <a:ext uri="{FF2B5EF4-FFF2-40B4-BE49-F238E27FC236}">
                <a16:creationId xmlns:a16="http://schemas.microsoft.com/office/drawing/2014/main" id="{3F9B00C1-19FD-B8EF-E470-1C240352539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19696" y="1518918"/>
            <a:ext cx="1802956" cy="180295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0802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1B34B-0D9C-48DA-992B-2F46025A5221}"/>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ECAFF2E4-EC84-C873-6ABF-55D1E164248C}"/>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E0A108D9-5E68-1948-A99E-A32E67F269A1}"/>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D9801DE7-B3CC-FB95-1FFD-6A36ACE08471}"/>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684127C1-6A01-9748-12F9-CFCE728C33A9}"/>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CA5CA341-E179-6369-9248-7060AD9BDAE6}"/>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6E5FEC66-33EF-D20D-5558-80988741D6FB}"/>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78A04B9D-0058-AF31-30B8-D70F513AC0DA}"/>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7696827A-EF81-947E-FD5B-531B00007C4C}"/>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183507C3-D6B1-4611-A989-133C5CC9E426}"/>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CC32D1A9-23A4-2D77-64F9-251EE2F95E48}"/>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B5C3765A-1D81-DE3D-9514-24CDF67E9A2A}"/>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04612A78-D07A-D768-6282-D81581941E28}"/>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9C61EF5F-1D13-F2ED-6B4D-03831BECE526}"/>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67F27D3-240A-9CDF-9E68-78E488EC3B78}"/>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88FBB4A-950F-5EAE-0388-54F64F6BADF2}"/>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7370C88-4172-0044-B052-6071164D4ED6}"/>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E98BD97-1C0B-D5DC-C9EC-50C0B415E328}"/>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CFAA73E-69BF-51AE-A4B4-71DC0EE678C1}"/>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C4A58D-4DD5-4672-5C1D-2BD4DF0972B3}"/>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6B20199-CBBF-7C48-E25B-423246C57CF1}"/>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E213D3C-6E15-6457-1505-B29272E38B65}"/>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AD91E98-376B-31A1-24DD-F0683E46F17D}"/>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8C9199E-6635-FA35-FEC4-195247611EC8}"/>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5E1479A-3926-2005-A8FB-65AB4CF870F6}"/>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C20440-6EF9-4035-1560-25850A35DC95}"/>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1CDF8C-E99F-DB41-A4D2-9D73F7346784}"/>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FEBDAC48-5F4B-7871-56C6-015D8D56FEF3}"/>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203301D6-2172-B7CC-0220-297CC0E63434}"/>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E88719B4-18AE-0496-48A3-B8BB99A38C17}"/>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A6590393-4598-09DE-7E42-BB42B763D3B4}"/>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3936571E-72E0-C054-51B6-F3452275081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84FEC289-CEB3-ED68-CA08-6B42745EDAB8}"/>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E82746A0-6A9F-104D-12AE-F18CFA03D924}"/>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678F69EB-8432-3030-30D1-1AC0EB748DCF}"/>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6D5B1484-9280-EA06-AF0D-0C39F9323AC3}"/>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EE2E4D8B-DB6F-7D65-8854-6F64DAE956EB}"/>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765BA079-ECF5-E04A-BE37-7F8668195494}"/>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B9D4EF76-CF55-11B6-CB15-5CDF2D5D6428}"/>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D97146C2-405D-5C26-DC36-C1650A512EBF}"/>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D9E7400-8FA3-9F94-7430-79D3614C858F}"/>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5EA9682-A0E1-B06B-2B5C-B92D9F687BFB}"/>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0154E7B9-9269-A39E-4B44-9F48BD881963}"/>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0ABFB5C3-82CB-2876-6A05-B26CFD8EF2EC}"/>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72ECDF6-2FC5-0DFD-BDF3-2B8DB4C0D36F}"/>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11DB38F-28A9-34A2-D039-A35FC48D7C53}"/>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0DAE70D5-3D1A-E494-86A4-DBD12510D750}"/>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CDAE4CF-9473-2B42-A025-BF7B1D18C98F}"/>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B92251C-040E-8585-0D19-83C253FCD062}"/>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CA27560-EBE5-CC19-E370-AE0683784AFE}"/>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776972B-E72C-2F04-0A25-7BF8D14ECFB8}"/>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686CEF1-865A-F22C-4B8E-EF8CEC138197}"/>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4F761DDE-F600-F806-D498-16C029E14476}"/>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0A63225D-8046-CD2F-AAEE-99C4195DBABB}"/>
              </a:ext>
            </a:extLst>
          </p:cNvPr>
          <p:cNvSpPr/>
          <p:nvPr/>
        </p:nvSpPr>
        <p:spPr>
          <a:xfrm>
            <a:off x="3032422" y="878368"/>
            <a:ext cx="101128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Infra </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vendor</a:t>
            </a:r>
          </a:p>
        </p:txBody>
      </p:sp>
      <p:sp>
        <p:nvSpPr>
          <p:cNvPr id="3" name="Rectangle: Rounded Corners 2">
            <a:extLst>
              <a:ext uri="{FF2B5EF4-FFF2-40B4-BE49-F238E27FC236}">
                <a16:creationId xmlns:a16="http://schemas.microsoft.com/office/drawing/2014/main" id="{B78ED2A2-D319-99E1-F186-2BA4D7209007}"/>
              </a:ext>
            </a:extLst>
          </p:cNvPr>
          <p:cNvSpPr/>
          <p:nvPr/>
        </p:nvSpPr>
        <p:spPr>
          <a:xfrm>
            <a:off x="930534" y="279852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SOC vendor</a:t>
            </a:r>
          </a:p>
        </p:txBody>
      </p:sp>
      <p:sp>
        <p:nvSpPr>
          <p:cNvPr id="4" name="Rectangle: Rounded Corners 3">
            <a:extLst>
              <a:ext uri="{FF2B5EF4-FFF2-40B4-BE49-F238E27FC236}">
                <a16:creationId xmlns:a16="http://schemas.microsoft.com/office/drawing/2014/main" id="{8DD8D778-2B03-0CF3-8245-3745501AE18F}"/>
              </a:ext>
            </a:extLst>
          </p:cNvPr>
          <p:cNvSpPr/>
          <p:nvPr/>
        </p:nvSpPr>
        <p:spPr>
          <a:xfrm>
            <a:off x="6887270" y="2837958"/>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NO</a:t>
            </a:r>
          </a:p>
        </p:txBody>
      </p:sp>
      <p:sp>
        <p:nvSpPr>
          <p:cNvPr id="5" name="Rectangle: Rounded Corners 4">
            <a:extLst>
              <a:ext uri="{FF2B5EF4-FFF2-40B4-BE49-F238E27FC236}">
                <a16:creationId xmlns:a16="http://schemas.microsoft.com/office/drawing/2014/main" id="{88401A02-3FBE-4C41-9F99-AF6F1923C929}"/>
              </a:ext>
            </a:extLst>
          </p:cNvPr>
          <p:cNvSpPr/>
          <p:nvPr/>
        </p:nvSpPr>
        <p:spPr>
          <a:xfrm>
            <a:off x="4978337" y="5305324"/>
            <a:ext cx="2111201"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roadcaster</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tent Owner</a:t>
            </a:r>
          </a:p>
        </p:txBody>
      </p:sp>
      <p:sp>
        <p:nvSpPr>
          <p:cNvPr id="6" name="Rectangle: Rounded Corners 5">
            <a:extLst>
              <a:ext uri="{FF2B5EF4-FFF2-40B4-BE49-F238E27FC236}">
                <a16:creationId xmlns:a16="http://schemas.microsoft.com/office/drawing/2014/main" id="{7E314234-69F9-D06D-69F0-6B5099A085F1}"/>
              </a:ext>
            </a:extLst>
          </p:cNvPr>
          <p:cNvSpPr/>
          <p:nvPr/>
        </p:nvSpPr>
        <p:spPr>
          <a:xfrm>
            <a:off x="3893526" y="3372917"/>
            <a:ext cx="1306286" cy="316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sumer</a:t>
            </a:r>
          </a:p>
        </p:txBody>
      </p:sp>
      <p:sp>
        <p:nvSpPr>
          <p:cNvPr id="7" name="Rectangle: Rounded Corners 6">
            <a:extLst>
              <a:ext uri="{FF2B5EF4-FFF2-40B4-BE49-F238E27FC236}">
                <a16:creationId xmlns:a16="http://schemas.microsoft.com/office/drawing/2014/main" id="{80989940-FCBB-3C0B-8995-6B8934BDC99C}"/>
              </a:ext>
            </a:extLst>
          </p:cNvPr>
          <p:cNvSpPr/>
          <p:nvPr/>
        </p:nvSpPr>
        <p:spPr>
          <a:xfrm>
            <a:off x="2533009" y="529920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Device vendor</a:t>
            </a:r>
          </a:p>
        </p:txBody>
      </p:sp>
      <p:pic>
        <p:nvPicPr>
          <p:cNvPr id="8" name="Graphic 7" descr="Server outline">
            <a:extLst>
              <a:ext uri="{FF2B5EF4-FFF2-40B4-BE49-F238E27FC236}">
                <a16:creationId xmlns:a16="http://schemas.microsoft.com/office/drawing/2014/main" id="{38784F14-CC3E-63EE-5960-8B961C5DAE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53332" y="1034798"/>
            <a:ext cx="914400" cy="914400"/>
          </a:xfrm>
          <a:prstGeom prst="rect">
            <a:avLst/>
          </a:prstGeom>
        </p:spPr>
      </p:pic>
      <p:pic>
        <p:nvPicPr>
          <p:cNvPr id="9" name="Graphic 8" descr="Television with solid fill">
            <a:extLst>
              <a:ext uri="{FF2B5EF4-FFF2-40B4-BE49-F238E27FC236}">
                <a16:creationId xmlns:a16="http://schemas.microsoft.com/office/drawing/2014/main" id="{E0EE4543-67B9-0C98-DEB3-1AD89492E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5643" y="4592096"/>
            <a:ext cx="914400" cy="914400"/>
          </a:xfrm>
          <a:prstGeom prst="rect">
            <a:avLst/>
          </a:prstGeom>
        </p:spPr>
      </p:pic>
      <p:pic>
        <p:nvPicPr>
          <p:cNvPr id="10" name="Graphic 9" descr="Smart Phone with solid fill">
            <a:extLst>
              <a:ext uri="{FF2B5EF4-FFF2-40B4-BE49-F238E27FC236}">
                <a16:creationId xmlns:a16="http://schemas.microsoft.com/office/drawing/2014/main" id="{17A32594-6DBC-EF71-AE6B-6F4AA7C597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8883" y="4499193"/>
            <a:ext cx="914400" cy="914400"/>
          </a:xfrm>
          <a:prstGeom prst="rect">
            <a:avLst/>
          </a:prstGeom>
        </p:spPr>
      </p:pic>
      <p:pic>
        <p:nvPicPr>
          <p:cNvPr id="11" name="Graphic 10" descr="Processor with solid fill">
            <a:extLst>
              <a:ext uri="{FF2B5EF4-FFF2-40B4-BE49-F238E27FC236}">
                <a16:creationId xmlns:a16="http://schemas.microsoft.com/office/drawing/2014/main" id="{0A1167D6-8969-34BC-F177-851B9828C47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53412" y="2729412"/>
            <a:ext cx="914400" cy="914400"/>
          </a:xfrm>
          <a:prstGeom prst="rect">
            <a:avLst/>
          </a:prstGeom>
        </p:spPr>
      </p:pic>
      <p:pic>
        <p:nvPicPr>
          <p:cNvPr id="12" name="Graphic 11" descr="Cell Tower with solid fill">
            <a:extLst>
              <a:ext uri="{FF2B5EF4-FFF2-40B4-BE49-F238E27FC236}">
                <a16:creationId xmlns:a16="http://schemas.microsoft.com/office/drawing/2014/main" id="{5C2B2B66-1D0C-66D6-C77A-4E724F3113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070" y="2509259"/>
            <a:ext cx="914400" cy="1188825"/>
          </a:xfrm>
          <a:prstGeom prst="rect">
            <a:avLst/>
          </a:prstGeom>
        </p:spPr>
      </p:pic>
      <p:sp>
        <p:nvSpPr>
          <p:cNvPr id="13" name="AutoShape 6" descr="Grayscale Image">
            <a:extLst>
              <a:ext uri="{FF2B5EF4-FFF2-40B4-BE49-F238E27FC236}">
                <a16:creationId xmlns:a16="http://schemas.microsoft.com/office/drawing/2014/main" id="{99CE24BE-5EB7-D4AE-7CF7-6A2A6F0BFA44}"/>
              </a:ext>
            </a:extLst>
          </p:cNvPr>
          <p:cNvSpPr>
            <a:spLocks noChangeAspect="1" noChangeArrowheads="1"/>
          </p:cNvSpPr>
          <p:nvPr/>
        </p:nvSpPr>
        <p:spPr bwMode="auto">
          <a:xfrm>
            <a:off x="6874134" y="280317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DCEC33A2-2A19-002A-C65D-E0219D8F8D91}"/>
              </a:ext>
            </a:extLst>
          </p:cNvPr>
          <p:cNvPicPr>
            <a:picLocks noChangeAspect="1"/>
          </p:cNvPicPr>
          <p:nvPr/>
        </p:nvPicPr>
        <p:blipFill>
          <a:blip r:embed="rId12">
            <a:clrChange>
              <a:clrFrom>
                <a:srgbClr val="F7F7F7"/>
              </a:clrFrom>
              <a:clrTo>
                <a:srgbClr val="F7F7F7">
                  <a:alpha val="0"/>
                </a:srgbClr>
              </a:clrTo>
            </a:clrChange>
          </a:blip>
          <a:srcRect t="6568"/>
          <a:stretch/>
        </p:blipFill>
        <p:spPr>
          <a:xfrm>
            <a:off x="4032094" y="2652630"/>
            <a:ext cx="1129632" cy="723229"/>
          </a:xfrm>
          <a:prstGeom prst="rect">
            <a:avLst/>
          </a:prstGeom>
        </p:spPr>
      </p:pic>
      <p:pic>
        <p:nvPicPr>
          <p:cNvPr id="30" name="Picture 18" descr="Johann Mika">
            <a:extLst>
              <a:ext uri="{FF2B5EF4-FFF2-40B4-BE49-F238E27FC236}">
                <a16:creationId xmlns:a16="http://schemas.microsoft.com/office/drawing/2014/main" id="{BA0ED215-A004-A189-9D3D-E4529DE8C0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81719" y="2410889"/>
            <a:ext cx="1463040" cy="146304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A959DECF-E348-F979-84B6-83E08C2DD8B6}"/>
              </a:ext>
            </a:extLst>
          </p:cNvPr>
          <p:cNvCxnSpPr>
            <a:cxnSpLocks/>
            <a:stCxn id="8" idx="3"/>
          </p:cNvCxnSpPr>
          <p:nvPr/>
        </p:nvCxnSpPr>
        <p:spPr>
          <a:xfrm>
            <a:off x="5067732" y="1491998"/>
            <a:ext cx="1854194" cy="1041185"/>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017A2AB-57E1-38C6-F7D3-42334C532839}"/>
              </a:ext>
            </a:extLst>
          </p:cNvPr>
          <p:cNvCxnSpPr>
            <a:cxnSpLocks/>
            <a:stCxn id="8" idx="1"/>
          </p:cNvCxnSpPr>
          <p:nvPr/>
        </p:nvCxnSpPr>
        <p:spPr>
          <a:xfrm flipH="1">
            <a:off x="2546084" y="1491998"/>
            <a:ext cx="1607248" cy="1264154"/>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58BF04B-B00A-CEBB-4FC6-5313BDE69831}"/>
              </a:ext>
            </a:extLst>
          </p:cNvPr>
          <p:cNvCxnSpPr>
            <a:cxnSpLocks/>
          </p:cNvCxnSpPr>
          <p:nvPr/>
        </p:nvCxnSpPr>
        <p:spPr>
          <a:xfrm>
            <a:off x="2447165" y="3688712"/>
            <a:ext cx="633828" cy="722410"/>
          </a:xfrm>
          <a:prstGeom prst="straightConnector1">
            <a:avLst/>
          </a:prstGeom>
          <a:ln w="57150" cap="rnd">
            <a:solidFill>
              <a:srgbClr val="C00000"/>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63AA63B-E096-7373-FE9C-D6471CAA770D}"/>
              </a:ext>
            </a:extLst>
          </p:cNvPr>
          <p:cNvCxnSpPr>
            <a:cxnSpLocks/>
          </p:cNvCxnSpPr>
          <p:nvPr/>
        </p:nvCxnSpPr>
        <p:spPr>
          <a:xfrm>
            <a:off x="3726793" y="5045951"/>
            <a:ext cx="1473019" cy="0"/>
          </a:xfrm>
          <a:prstGeom prst="straightConnector1">
            <a:avLst/>
          </a:prstGeom>
          <a:ln w="57150" cap="rnd">
            <a:solidFill>
              <a:srgbClr val="C00000"/>
            </a:solidFill>
            <a:prstDash val="sysDash"/>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799869-4341-5B14-2558-14CAC64958C2}"/>
              </a:ext>
            </a:extLst>
          </p:cNvPr>
          <p:cNvCxnSpPr>
            <a:cxnSpLocks/>
            <a:stCxn id="9" idx="0"/>
          </p:cNvCxnSpPr>
          <p:nvPr/>
        </p:nvCxnSpPr>
        <p:spPr>
          <a:xfrm flipV="1">
            <a:off x="6012843" y="3756680"/>
            <a:ext cx="1002623" cy="835416"/>
          </a:xfrm>
          <a:prstGeom prst="straightConnector1">
            <a:avLst/>
          </a:prstGeom>
          <a:ln w="57150" cap="rnd">
            <a:solidFill>
              <a:srgbClr val="C00000"/>
            </a:solidFill>
            <a:prstDash val="sysDash"/>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31BD0F5F-B25F-83A9-8B76-64B66B70BD3A}"/>
              </a:ext>
            </a:extLst>
          </p:cNvPr>
          <p:cNvSpPr/>
          <p:nvPr/>
        </p:nvSpPr>
        <p:spPr>
          <a:xfrm>
            <a:off x="478151" y="170197"/>
            <a:ext cx="5617849"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D1B2E"/>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ulti-vendor Interoperability</a:t>
            </a:r>
          </a:p>
        </p:txBody>
      </p:sp>
      <p:sp>
        <p:nvSpPr>
          <p:cNvPr id="59" name="Rectangle: Rounded Corners 58">
            <a:extLst>
              <a:ext uri="{FF2B5EF4-FFF2-40B4-BE49-F238E27FC236}">
                <a16:creationId xmlns:a16="http://schemas.microsoft.com/office/drawing/2014/main" id="{2AEF40D9-BED9-9E2E-A433-F3B8FBA59D1C}"/>
              </a:ext>
            </a:extLst>
          </p:cNvPr>
          <p:cNvSpPr/>
          <p:nvPr/>
        </p:nvSpPr>
        <p:spPr>
          <a:xfrm>
            <a:off x="7877287" y="3873929"/>
            <a:ext cx="329604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Johann Mik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INO @ Big Blue Marble/ORS</a:t>
            </a:r>
          </a:p>
        </p:txBody>
      </p:sp>
      <p:sp>
        <p:nvSpPr>
          <p:cNvPr id="15" name="Date Placeholder 14">
            <a:extLst>
              <a:ext uri="{FF2B5EF4-FFF2-40B4-BE49-F238E27FC236}">
                <a16:creationId xmlns:a16="http://schemas.microsoft.com/office/drawing/2014/main" id="{B8783F98-8E53-FFDC-EE10-441B43B17038}"/>
              </a:ext>
            </a:extLst>
          </p:cNvPr>
          <p:cNvSpPr>
            <a:spLocks noGrp="1"/>
          </p:cNvSpPr>
          <p:nvPr>
            <p:ph type="dt" sz="half" idx="2"/>
          </p:nvPr>
        </p:nvSpPr>
        <p:spPr/>
        <p:txBody>
          <a:bodyPr/>
          <a:lstStyle/>
          <a:p>
            <a:pPr>
              <a:defRPr/>
            </a:pPr>
            <a:r>
              <a:rPr lang="en-US"/>
              <a:t>9/25/2025</a:t>
            </a:r>
            <a:endParaRPr lang="nl-NL" dirty="0"/>
          </a:p>
        </p:txBody>
      </p:sp>
    </p:spTree>
    <p:extLst>
      <p:ext uri="{BB962C8B-B14F-4D97-AF65-F5344CB8AC3E}">
        <p14:creationId xmlns:p14="http://schemas.microsoft.com/office/powerpoint/2010/main" val="2390970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408BF-7011-C53F-56F8-1CB6D1FB62AA}"/>
            </a:ext>
          </a:extLst>
        </p:cNvPr>
        <p:cNvGrpSpPr/>
        <p:nvPr/>
      </p:nvGrpSpPr>
      <p:grpSpPr>
        <a:xfrm>
          <a:off x="0" y="0"/>
          <a:ext cx="0" cy="0"/>
          <a:chOff x="0" y="0"/>
          <a:chExt cx="0" cy="0"/>
        </a:xfrm>
      </p:grpSpPr>
      <p:grpSp>
        <p:nvGrpSpPr>
          <p:cNvPr id="75" name="Group 74">
            <a:extLst>
              <a:ext uri="{FF2B5EF4-FFF2-40B4-BE49-F238E27FC236}">
                <a16:creationId xmlns:a16="http://schemas.microsoft.com/office/drawing/2014/main" id="{5EA959BA-E522-E8B3-8828-270CB8C0DA1F}"/>
              </a:ext>
            </a:extLst>
          </p:cNvPr>
          <p:cNvGrpSpPr/>
          <p:nvPr/>
        </p:nvGrpSpPr>
        <p:grpSpPr>
          <a:xfrm>
            <a:off x="6169531" y="-263357"/>
            <a:ext cx="6426200" cy="5768800"/>
            <a:chOff x="4627148" y="-197518"/>
            <a:chExt cx="4819650" cy="4326600"/>
          </a:xfrm>
          <a:solidFill>
            <a:srgbClr val="00A0D2"/>
          </a:solidFill>
        </p:grpSpPr>
        <p:sp>
          <p:nvSpPr>
            <p:cNvPr id="16" name="Oval 15">
              <a:extLst>
                <a:ext uri="{FF2B5EF4-FFF2-40B4-BE49-F238E27FC236}">
                  <a16:creationId xmlns:a16="http://schemas.microsoft.com/office/drawing/2014/main" id="{B644A300-24FB-DC85-22B5-D551F48AA20C}"/>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7" name="Oval 16">
              <a:extLst>
                <a:ext uri="{FF2B5EF4-FFF2-40B4-BE49-F238E27FC236}">
                  <a16:creationId xmlns:a16="http://schemas.microsoft.com/office/drawing/2014/main" id="{06AC7421-9174-2BCB-B52F-6EB6F826F4C1}"/>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8" name="Oval 17">
              <a:extLst>
                <a:ext uri="{FF2B5EF4-FFF2-40B4-BE49-F238E27FC236}">
                  <a16:creationId xmlns:a16="http://schemas.microsoft.com/office/drawing/2014/main" id="{02B9DE26-153B-51C5-87ED-F28ED37C410E}"/>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9" name="Oval 18">
              <a:extLst>
                <a:ext uri="{FF2B5EF4-FFF2-40B4-BE49-F238E27FC236}">
                  <a16:creationId xmlns:a16="http://schemas.microsoft.com/office/drawing/2014/main" id="{EC3B9B34-DF86-90CB-EE97-07DCF309DA6F}"/>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0" name="Oval 19">
              <a:extLst>
                <a:ext uri="{FF2B5EF4-FFF2-40B4-BE49-F238E27FC236}">
                  <a16:creationId xmlns:a16="http://schemas.microsoft.com/office/drawing/2014/main" id="{04144E6D-8450-355D-0464-6F815D38CAC0}"/>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1" name="Oval 20">
              <a:extLst>
                <a:ext uri="{FF2B5EF4-FFF2-40B4-BE49-F238E27FC236}">
                  <a16:creationId xmlns:a16="http://schemas.microsoft.com/office/drawing/2014/main" id="{AFBD77FE-A6E2-568B-63C5-49B413994C1A}"/>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2" name="Oval 21">
              <a:extLst>
                <a:ext uri="{FF2B5EF4-FFF2-40B4-BE49-F238E27FC236}">
                  <a16:creationId xmlns:a16="http://schemas.microsoft.com/office/drawing/2014/main" id="{4B8C3FD5-FE1D-76E1-225D-FD54A9E434F0}"/>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3" name="Oval 22">
              <a:extLst>
                <a:ext uri="{FF2B5EF4-FFF2-40B4-BE49-F238E27FC236}">
                  <a16:creationId xmlns:a16="http://schemas.microsoft.com/office/drawing/2014/main" id="{3EEF92DD-E0CA-8199-08B9-4DE512DD2659}"/>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4" name="Oval 23">
              <a:extLst>
                <a:ext uri="{FF2B5EF4-FFF2-40B4-BE49-F238E27FC236}">
                  <a16:creationId xmlns:a16="http://schemas.microsoft.com/office/drawing/2014/main" id="{6B5650E5-EFA9-43A7-5E78-E0A9F09CD6BE}"/>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5" name="Oval 24">
              <a:extLst>
                <a:ext uri="{FF2B5EF4-FFF2-40B4-BE49-F238E27FC236}">
                  <a16:creationId xmlns:a16="http://schemas.microsoft.com/office/drawing/2014/main" id="{3816B5F8-CD50-FB7E-A4C8-75D8A5CA3DC0}"/>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26" name="Oval 25">
              <a:extLst>
                <a:ext uri="{FF2B5EF4-FFF2-40B4-BE49-F238E27FC236}">
                  <a16:creationId xmlns:a16="http://schemas.microsoft.com/office/drawing/2014/main" id="{8C07ACB5-BF64-2121-2F94-443285A9AF8C}"/>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28" name="Straight Connector 27">
              <a:extLst>
                <a:ext uri="{FF2B5EF4-FFF2-40B4-BE49-F238E27FC236}">
                  <a16:creationId xmlns:a16="http://schemas.microsoft.com/office/drawing/2014/main" id="{C092990C-71CD-75F5-769B-7329B4CC9E53}"/>
                </a:ext>
              </a:extLst>
            </p:cNvPr>
            <p:cNvCxnSpPr>
              <a:stCxn id="16" idx="6"/>
              <a:endCxn id="17"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18B1BD-A4C5-B156-39F2-3F61423E9D2F}"/>
                </a:ext>
              </a:extLst>
            </p:cNvPr>
            <p:cNvCxnSpPr>
              <a:cxnSpLocks/>
              <a:endCxn id="18"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004802-EDEB-0EFF-6119-67B3A41BC700}"/>
                </a:ext>
              </a:extLst>
            </p:cNvPr>
            <p:cNvCxnSpPr>
              <a:cxnSpLocks/>
              <a:stCxn id="17" idx="3"/>
              <a:endCxn id="18"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656C437-BAA8-E895-22E2-0019A88B3966}"/>
                </a:ext>
              </a:extLst>
            </p:cNvPr>
            <p:cNvCxnSpPr>
              <a:cxnSpLocks/>
              <a:stCxn id="19" idx="1"/>
              <a:endCxn id="17"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251031-89DB-9195-F628-C6E1C9B33948}"/>
                </a:ext>
              </a:extLst>
            </p:cNvPr>
            <p:cNvCxnSpPr>
              <a:cxnSpLocks/>
              <a:stCxn id="26" idx="2"/>
              <a:endCxn id="19"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0CE30B4-E22E-6D96-9167-14180A17C70F}"/>
                </a:ext>
              </a:extLst>
            </p:cNvPr>
            <p:cNvCxnSpPr>
              <a:cxnSpLocks/>
              <a:stCxn id="19" idx="2"/>
              <a:endCxn id="18"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47D238-1F31-22A2-778D-E48518740004}"/>
                </a:ext>
              </a:extLst>
            </p:cNvPr>
            <p:cNvCxnSpPr>
              <a:cxnSpLocks/>
              <a:stCxn id="20" idx="1"/>
              <a:endCxn id="18"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439BBAA-6553-E54E-CA19-52EA111FFBF4}"/>
                </a:ext>
              </a:extLst>
            </p:cNvPr>
            <p:cNvCxnSpPr>
              <a:cxnSpLocks/>
              <a:stCxn id="26" idx="2"/>
              <a:endCxn id="20"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A2A095-A4C5-B37B-285D-5558D1D4E078}"/>
                </a:ext>
              </a:extLst>
            </p:cNvPr>
            <p:cNvCxnSpPr>
              <a:cxnSpLocks/>
              <a:stCxn id="25" idx="2"/>
              <a:endCxn id="20"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2072754-67CC-0760-9E20-F839C1910C72}"/>
                </a:ext>
              </a:extLst>
            </p:cNvPr>
            <p:cNvCxnSpPr>
              <a:cxnSpLocks/>
              <a:stCxn id="25" idx="3"/>
              <a:endCxn id="24"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1ACE92E-81EB-CA7A-55F0-54509B259CAF}"/>
                </a:ext>
              </a:extLst>
            </p:cNvPr>
            <p:cNvCxnSpPr>
              <a:cxnSpLocks/>
              <a:stCxn id="23" idx="0"/>
              <a:endCxn id="24"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8A266F-D68C-B822-ECAA-1509B457CE2C}"/>
                </a:ext>
              </a:extLst>
            </p:cNvPr>
            <p:cNvCxnSpPr>
              <a:cxnSpLocks/>
              <a:stCxn id="21" idx="7"/>
              <a:endCxn id="23"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511A34-3B6E-7B55-1694-91DC03F7C522}"/>
                </a:ext>
              </a:extLst>
            </p:cNvPr>
            <p:cNvCxnSpPr>
              <a:cxnSpLocks/>
              <a:stCxn id="21" idx="0"/>
              <a:endCxn id="20"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F9656A9-2F63-2051-0B1A-ADB59008FA9E}"/>
                </a:ext>
              </a:extLst>
            </p:cNvPr>
            <p:cNvCxnSpPr>
              <a:cxnSpLocks/>
              <a:stCxn id="22" idx="1"/>
              <a:endCxn id="21"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9E2A8B2F-FDAC-3035-4390-1A60005F34F0}"/>
              </a:ext>
            </a:extLst>
          </p:cNvPr>
          <p:cNvGrpSpPr/>
          <p:nvPr/>
        </p:nvGrpSpPr>
        <p:grpSpPr>
          <a:xfrm rot="10800000">
            <a:off x="-664407" y="1666360"/>
            <a:ext cx="6426200" cy="5768800"/>
            <a:chOff x="4627148" y="-197518"/>
            <a:chExt cx="4819650" cy="4326600"/>
          </a:xfrm>
          <a:solidFill>
            <a:srgbClr val="E40520"/>
          </a:solidFill>
        </p:grpSpPr>
        <p:sp>
          <p:nvSpPr>
            <p:cNvPr id="129" name="Oval 128">
              <a:extLst>
                <a:ext uri="{FF2B5EF4-FFF2-40B4-BE49-F238E27FC236}">
                  <a16:creationId xmlns:a16="http://schemas.microsoft.com/office/drawing/2014/main" id="{DA59ADC0-4120-7B0A-E66F-5F32FB626A7B}"/>
                </a:ext>
              </a:extLst>
            </p:cNvPr>
            <p:cNvSpPr/>
            <p:nvPr/>
          </p:nvSpPr>
          <p:spPr>
            <a:xfrm>
              <a:off x="4627148" y="-197518"/>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0" name="Oval 129">
              <a:extLst>
                <a:ext uri="{FF2B5EF4-FFF2-40B4-BE49-F238E27FC236}">
                  <a16:creationId xmlns:a16="http://schemas.microsoft.com/office/drawing/2014/main" id="{289CB157-C697-0B5D-172E-5CA151925857}"/>
                </a:ext>
              </a:extLst>
            </p:cNvPr>
            <p:cNvSpPr/>
            <p:nvPr/>
          </p:nvSpPr>
          <p:spPr>
            <a:xfrm>
              <a:off x="6436898" y="904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1" name="Oval 130">
              <a:extLst>
                <a:ext uri="{FF2B5EF4-FFF2-40B4-BE49-F238E27FC236}">
                  <a16:creationId xmlns:a16="http://schemas.microsoft.com/office/drawing/2014/main" id="{98C767EC-9BE0-EF3B-DFAA-D64D78C4872A}"/>
                </a:ext>
              </a:extLst>
            </p:cNvPr>
            <p:cNvSpPr/>
            <p:nvPr/>
          </p:nvSpPr>
          <p:spPr>
            <a:xfrm>
              <a:off x="586539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2" name="Oval 131">
              <a:extLst>
                <a:ext uri="{FF2B5EF4-FFF2-40B4-BE49-F238E27FC236}">
                  <a16:creationId xmlns:a16="http://schemas.microsoft.com/office/drawing/2014/main" id="{0E8A0D4D-4248-7D61-DBFD-CFDAD5D62BDB}"/>
                </a:ext>
              </a:extLst>
            </p:cNvPr>
            <p:cNvSpPr/>
            <p:nvPr/>
          </p:nvSpPr>
          <p:spPr>
            <a:xfrm>
              <a:off x="6875048" y="424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3" name="Oval 132">
              <a:extLst>
                <a:ext uri="{FF2B5EF4-FFF2-40B4-BE49-F238E27FC236}">
                  <a16:creationId xmlns:a16="http://schemas.microsoft.com/office/drawing/2014/main" id="{65D4F50E-38A0-D1E7-57EA-37E3F7DCBC58}"/>
                </a:ext>
              </a:extLst>
            </p:cNvPr>
            <p:cNvSpPr/>
            <p:nvPr/>
          </p:nvSpPr>
          <p:spPr>
            <a:xfrm>
              <a:off x="7732298" y="10463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4" name="Oval 133">
              <a:extLst>
                <a:ext uri="{FF2B5EF4-FFF2-40B4-BE49-F238E27FC236}">
                  <a16:creationId xmlns:a16="http://schemas.microsoft.com/office/drawing/2014/main" id="{D8DF6DD2-6BC7-6BE3-192E-ABA84F05F0D8}"/>
                </a:ext>
              </a:extLst>
            </p:cNvPr>
            <p:cNvSpPr/>
            <p:nvPr/>
          </p:nvSpPr>
          <p:spPr>
            <a:xfrm>
              <a:off x="8379998" y="25075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5" name="Oval 134">
              <a:extLst>
                <a:ext uri="{FF2B5EF4-FFF2-40B4-BE49-F238E27FC236}">
                  <a16:creationId xmlns:a16="http://schemas.microsoft.com/office/drawing/2014/main" id="{1BE951AF-C126-D4E0-47A4-1A159E2070EF}"/>
                </a:ext>
              </a:extLst>
            </p:cNvPr>
            <p:cNvSpPr/>
            <p:nvPr/>
          </p:nvSpPr>
          <p:spPr>
            <a:xfrm>
              <a:off x="9158798" y="384108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6" name="Oval 135">
              <a:extLst>
                <a:ext uri="{FF2B5EF4-FFF2-40B4-BE49-F238E27FC236}">
                  <a16:creationId xmlns:a16="http://schemas.microsoft.com/office/drawing/2014/main" id="{01106DDC-4559-F990-8DA2-C3825DF70D91}"/>
                </a:ext>
              </a:extLst>
            </p:cNvPr>
            <p:cNvSpPr/>
            <p:nvPr/>
          </p:nvSpPr>
          <p:spPr>
            <a:xfrm>
              <a:off x="9063548" y="17265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7" name="Oval 136">
              <a:extLst>
                <a:ext uri="{FF2B5EF4-FFF2-40B4-BE49-F238E27FC236}">
                  <a16:creationId xmlns:a16="http://schemas.microsoft.com/office/drawing/2014/main" id="{DFB810D5-0C87-3565-E0D7-FBC966E55AD0}"/>
                </a:ext>
              </a:extLst>
            </p:cNvPr>
            <p:cNvSpPr/>
            <p:nvPr/>
          </p:nvSpPr>
          <p:spPr>
            <a:xfrm>
              <a:off x="8775548" y="1105770"/>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8" name="Oval 137">
              <a:extLst>
                <a:ext uri="{FF2B5EF4-FFF2-40B4-BE49-F238E27FC236}">
                  <a16:creationId xmlns:a16="http://schemas.microsoft.com/office/drawing/2014/main" id="{5D176CE8-B1E8-0AB6-7784-923E06B6FDC1}"/>
                </a:ext>
              </a:extLst>
            </p:cNvPr>
            <p:cNvSpPr/>
            <p:nvPr/>
          </p:nvSpPr>
          <p:spPr>
            <a:xfrm>
              <a:off x="9080348" y="712426"/>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sp>
          <p:nvSpPr>
            <p:cNvPr id="139" name="Oval 138">
              <a:extLst>
                <a:ext uri="{FF2B5EF4-FFF2-40B4-BE49-F238E27FC236}">
                  <a16:creationId xmlns:a16="http://schemas.microsoft.com/office/drawing/2014/main" id="{74F0C171-F256-3E1E-8162-9C430A66CE30}"/>
                </a:ext>
              </a:extLst>
            </p:cNvPr>
            <p:cNvSpPr/>
            <p:nvPr/>
          </p:nvSpPr>
          <p:spPr>
            <a:xfrm>
              <a:off x="8631548" y="24932"/>
              <a:ext cx="288000" cy="288000"/>
            </a:xfrm>
            <a:prstGeom prst="ellipse">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A0D2"/>
                </a:solidFill>
                <a:effectLst/>
                <a:uLnTx/>
                <a:uFillTx/>
                <a:latin typeface="Poppins"/>
                <a:ea typeface="+mn-ea"/>
                <a:cs typeface="+mn-cs"/>
              </a:endParaRPr>
            </a:p>
          </p:txBody>
        </p:sp>
        <p:cxnSp>
          <p:nvCxnSpPr>
            <p:cNvPr id="140" name="Straight Connector 139">
              <a:extLst>
                <a:ext uri="{FF2B5EF4-FFF2-40B4-BE49-F238E27FC236}">
                  <a16:creationId xmlns:a16="http://schemas.microsoft.com/office/drawing/2014/main" id="{F22AE4FA-37DD-1E7A-63CD-3C1122ED3D88}"/>
                </a:ext>
              </a:extLst>
            </p:cNvPr>
            <p:cNvCxnSpPr>
              <a:stCxn id="129" idx="6"/>
              <a:endCxn id="130" idx="2"/>
            </p:cNvCxnSpPr>
            <p:nvPr/>
          </p:nvCxnSpPr>
          <p:spPr>
            <a:xfrm>
              <a:off x="4915148" y="-53518"/>
              <a:ext cx="1563927" cy="38982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EA3E17A-F724-DD79-AA51-DCA295D0C929}"/>
                </a:ext>
              </a:extLst>
            </p:cNvPr>
            <p:cNvCxnSpPr>
              <a:cxnSpLocks/>
              <a:endCxn id="131" idx="0"/>
            </p:cNvCxnSpPr>
            <p:nvPr/>
          </p:nvCxnSpPr>
          <p:spPr>
            <a:xfrm>
              <a:off x="5946098" y="-95695"/>
              <a:ext cx="63300" cy="52012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ABDA5CE-DC6A-4F1D-292B-CC17F86568EA}"/>
                </a:ext>
              </a:extLst>
            </p:cNvPr>
            <p:cNvCxnSpPr>
              <a:cxnSpLocks/>
              <a:stCxn id="130" idx="3"/>
              <a:endCxn id="131" idx="7"/>
            </p:cNvCxnSpPr>
            <p:nvPr/>
          </p:nvCxnSpPr>
          <p:spPr>
            <a:xfrm flipH="1">
              <a:off x="6111221" y="336305"/>
              <a:ext cx="36785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576B2926-9EA3-58FE-77A9-A618D312FACC}"/>
                </a:ext>
              </a:extLst>
            </p:cNvPr>
            <p:cNvCxnSpPr>
              <a:cxnSpLocks/>
              <a:stCxn id="132" idx="1"/>
              <a:endCxn id="130" idx="5"/>
            </p:cNvCxnSpPr>
            <p:nvPr/>
          </p:nvCxnSpPr>
          <p:spPr>
            <a:xfrm flipH="1" flipV="1">
              <a:off x="6682721" y="336305"/>
              <a:ext cx="234504" cy="130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2248E40-A598-985C-D324-5D4EEFCBD26F}"/>
                </a:ext>
              </a:extLst>
            </p:cNvPr>
            <p:cNvCxnSpPr>
              <a:cxnSpLocks/>
              <a:stCxn id="139" idx="2"/>
              <a:endCxn id="132" idx="7"/>
            </p:cNvCxnSpPr>
            <p:nvPr/>
          </p:nvCxnSpPr>
          <p:spPr>
            <a:xfrm flipH="1">
              <a:off x="7120871" y="168932"/>
              <a:ext cx="1510677" cy="297671"/>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CA56FD1-4805-7465-061F-869CF050CC81}"/>
                </a:ext>
              </a:extLst>
            </p:cNvPr>
            <p:cNvCxnSpPr>
              <a:cxnSpLocks/>
              <a:stCxn id="132" idx="2"/>
              <a:endCxn id="131" idx="6"/>
            </p:cNvCxnSpPr>
            <p:nvPr/>
          </p:nvCxnSpPr>
          <p:spPr>
            <a:xfrm flipH="1">
              <a:off x="6153398" y="568426"/>
              <a:ext cx="72165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289F644-B26A-6A42-DCF5-E1D01019D217}"/>
                </a:ext>
              </a:extLst>
            </p:cNvPr>
            <p:cNvCxnSpPr>
              <a:cxnSpLocks/>
              <a:stCxn id="133" idx="1"/>
              <a:endCxn id="131" idx="5"/>
            </p:cNvCxnSpPr>
            <p:nvPr/>
          </p:nvCxnSpPr>
          <p:spPr>
            <a:xfrm flipH="1" flipV="1">
              <a:off x="6111221" y="670249"/>
              <a:ext cx="1663254" cy="4182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126681B-6051-2430-C62D-E9C4A3F32149}"/>
                </a:ext>
              </a:extLst>
            </p:cNvPr>
            <p:cNvCxnSpPr>
              <a:cxnSpLocks/>
              <a:stCxn id="139" idx="2"/>
              <a:endCxn id="133" idx="7"/>
            </p:cNvCxnSpPr>
            <p:nvPr/>
          </p:nvCxnSpPr>
          <p:spPr>
            <a:xfrm flipH="1">
              <a:off x="7978121" y="168932"/>
              <a:ext cx="653427" cy="919615"/>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74C589A-E832-45EB-182A-F56707B8F3DB}"/>
                </a:ext>
              </a:extLst>
            </p:cNvPr>
            <p:cNvCxnSpPr>
              <a:cxnSpLocks/>
              <a:stCxn id="138" idx="2"/>
              <a:endCxn id="133" idx="6"/>
            </p:cNvCxnSpPr>
            <p:nvPr/>
          </p:nvCxnSpPr>
          <p:spPr>
            <a:xfrm flipH="1">
              <a:off x="8020298" y="856426"/>
              <a:ext cx="1060050" cy="33394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7514021-5885-F3EB-3146-BF5B7D8CF019}"/>
                </a:ext>
              </a:extLst>
            </p:cNvPr>
            <p:cNvCxnSpPr>
              <a:cxnSpLocks/>
              <a:stCxn id="138" idx="3"/>
              <a:endCxn id="137" idx="7"/>
            </p:cNvCxnSpPr>
            <p:nvPr/>
          </p:nvCxnSpPr>
          <p:spPr>
            <a:xfrm flipH="1">
              <a:off x="9021371" y="958249"/>
              <a:ext cx="101154" cy="18969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5902371-37F7-A071-9418-62055D57C178}"/>
                </a:ext>
              </a:extLst>
            </p:cNvPr>
            <p:cNvCxnSpPr>
              <a:cxnSpLocks/>
              <a:stCxn id="136" idx="0"/>
              <a:endCxn id="137" idx="5"/>
            </p:cNvCxnSpPr>
            <p:nvPr/>
          </p:nvCxnSpPr>
          <p:spPr>
            <a:xfrm flipH="1" flipV="1">
              <a:off x="9021371" y="1351593"/>
              <a:ext cx="186177" cy="37493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B5DC62F-080C-1B99-82AC-1CE6199DB851}"/>
                </a:ext>
              </a:extLst>
            </p:cNvPr>
            <p:cNvCxnSpPr>
              <a:cxnSpLocks/>
              <a:stCxn id="134" idx="7"/>
              <a:endCxn id="136" idx="3"/>
            </p:cNvCxnSpPr>
            <p:nvPr/>
          </p:nvCxnSpPr>
          <p:spPr>
            <a:xfrm flipV="1">
              <a:off x="8625821" y="1972355"/>
              <a:ext cx="479904" cy="57740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9CC80FC0-2FD6-E606-C86B-7AC978D57282}"/>
                </a:ext>
              </a:extLst>
            </p:cNvPr>
            <p:cNvCxnSpPr>
              <a:cxnSpLocks/>
              <a:stCxn id="134" idx="0"/>
              <a:endCxn id="133" idx="5"/>
            </p:cNvCxnSpPr>
            <p:nvPr/>
          </p:nvCxnSpPr>
          <p:spPr>
            <a:xfrm flipH="1" flipV="1">
              <a:off x="7978121" y="1292193"/>
              <a:ext cx="545877" cy="1215389"/>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B7EEA82-6C90-4F04-714A-7389A880CDA9}"/>
                </a:ext>
              </a:extLst>
            </p:cNvPr>
            <p:cNvCxnSpPr>
              <a:cxnSpLocks/>
              <a:stCxn id="135" idx="1"/>
              <a:endCxn id="134" idx="5"/>
            </p:cNvCxnSpPr>
            <p:nvPr/>
          </p:nvCxnSpPr>
          <p:spPr>
            <a:xfrm flipH="1" flipV="1">
              <a:off x="8625821" y="2753405"/>
              <a:ext cx="575154" cy="1129854"/>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C9779552-3A84-F69D-AAA8-74E34BDFD77B}"/>
              </a:ext>
            </a:extLst>
          </p:cNvPr>
          <p:cNvSpPr/>
          <p:nvPr/>
        </p:nvSpPr>
        <p:spPr>
          <a:xfrm>
            <a:off x="3032422" y="878368"/>
            <a:ext cx="1011284"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Infra </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vendor</a:t>
            </a:r>
          </a:p>
        </p:txBody>
      </p:sp>
      <p:sp>
        <p:nvSpPr>
          <p:cNvPr id="3" name="Rectangle: Rounded Corners 2">
            <a:extLst>
              <a:ext uri="{FF2B5EF4-FFF2-40B4-BE49-F238E27FC236}">
                <a16:creationId xmlns:a16="http://schemas.microsoft.com/office/drawing/2014/main" id="{5EB87B08-A88A-1313-464B-CB940FEF99CC}"/>
              </a:ext>
            </a:extLst>
          </p:cNvPr>
          <p:cNvSpPr/>
          <p:nvPr/>
        </p:nvSpPr>
        <p:spPr>
          <a:xfrm>
            <a:off x="930534" y="279852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SOC vendor</a:t>
            </a:r>
          </a:p>
        </p:txBody>
      </p:sp>
      <p:sp>
        <p:nvSpPr>
          <p:cNvPr id="4" name="Rectangle: Rounded Corners 3">
            <a:extLst>
              <a:ext uri="{FF2B5EF4-FFF2-40B4-BE49-F238E27FC236}">
                <a16:creationId xmlns:a16="http://schemas.microsoft.com/office/drawing/2014/main" id="{D13C8745-CD27-B84E-FC3A-3B05C776E361}"/>
              </a:ext>
            </a:extLst>
          </p:cNvPr>
          <p:cNvSpPr/>
          <p:nvPr/>
        </p:nvSpPr>
        <p:spPr>
          <a:xfrm>
            <a:off x="6887270" y="2837958"/>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NO</a:t>
            </a:r>
          </a:p>
        </p:txBody>
      </p:sp>
      <p:sp>
        <p:nvSpPr>
          <p:cNvPr id="5" name="Rectangle: Rounded Corners 4">
            <a:extLst>
              <a:ext uri="{FF2B5EF4-FFF2-40B4-BE49-F238E27FC236}">
                <a16:creationId xmlns:a16="http://schemas.microsoft.com/office/drawing/2014/main" id="{D89AEAC1-953E-BC66-D564-F3AD0C8CE6C6}"/>
              </a:ext>
            </a:extLst>
          </p:cNvPr>
          <p:cNvSpPr/>
          <p:nvPr/>
        </p:nvSpPr>
        <p:spPr>
          <a:xfrm>
            <a:off x="4978337" y="5305324"/>
            <a:ext cx="2111201"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Broadcaster</a:t>
            </a:r>
            <a:b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tent Owner</a:t>
            </a:r>
          </a:p>
        </p:txBody>
      </p:sp>
      <p:sp>
        <p:nvSpPr>
          <p:cNvPr id="6" name="Rectangle: Rounded Corners 5">
            <a:extLst>
              <a:ext uri="{FF2B5EF4-FFF2-40B4-BE49-F238E27FC236}">
                <a16:creationId xmlns:a16="http://schemas.microsoft.com/office/drawing/2014/main" id="{735D75C9-96E4-64FB-315A-D547BB0295C8}"/>
              </a:ext>
            </a:extLst>
          </p:cNvPr>
          <p:cNvSpPr/>
          <p:nvPr/>
        </p:nvSpPr>
        <p:spPr>
          <a:xfrm>
            <a:off x="3893526" y="3372917"/>
            <a:ext cx="1306286" cy="316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Consumer</a:t>
            </a:r>
          </a:p>
        </p:txBody>
      </p:sp>
      <p:sp>
        <p:nvSpPr>
          <p:cNvPr id="7" name="Rectangle: Rounded Corners 6">
            <a:extLst>
              <a:ext uri="{FF2B5EF4-FFF2-40B4-BE49-F238E27FC236}">
                <a16:creationId xmlns:a16="http://schemas.microsoft.com/office/drawing/2014/main" id="{DAB8A707-0B17-ED94-398D-9F4F8D0B425F}"/>
              </a:ext>
            </a:extLst>
          </p:cNvPr>
          <p:cNvSpPr/>
          <p:nvPr/>
        </p:nvSpPr>
        <p:spPr>
          <a:xfrm>
            <a:off x="2533009" y="5299209"/>
            <a:ext cx="130628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Device vendor</a:t>
            </a:r>
          </a:p>
        </p:txBody>
      </p:sp>
      <p:pic>
        <p:nvPicPr>
          <p:cNvPr id="8" name="Graphic 7" descr="Server outline">
            <a:extLst>
              <a:ext uri="{FF2B5EF4-FFF2-40B4-BE49-F238E27FC236}">
                <a16:creationId xmlns:a16="http://schemas.microsoft.com/office/drawing/2014/main" id="{06CDAB29-6232-9CE4-CCC6-E0B2247412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53332" y="1034798"/>
            <a:ext cx="914400" cy="914400"/>
          </a:xfrm>
          <a:prstGeom prst="rect">
            <a:avLst/>
          </a:prstGeom>
        </p:spPr>
      </p:pic>
      <p:pic>
        <p:nvPicPr>
          <p:cNvPr id="9" name="Graphic 8" descr="Television with solid fill">
            <a:extLst>
              <a:ext uri="{FF2B5EF4-FFF2-40B4-BE49-F238E27FC236}">
                <a16:creationId xmlns:a16="http://schemas.microsoft.com/office/drawing/2014/main" id="{A8D2D85A-C718-868F-59DF-7A5D45201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5643" y="4592096"/>
            <a:ext cx="914400" cy="914400"/>
          </a:xfrm>
          <a:prstGeom prst="rect">
            <a:avLst/>
          </a:prstGeom>
        </p:spPr>
      </p:pic>
      <p:pic>
        <p:nvPicPr>
          <p:cNvPr id="10" name="Graphic 9" descr="Smart Phone with solid fill">
            <a:extLst>
              <a:ext uri="{FF2B5EF4-FFF2-40B4-BE49-F238E27FC236}">
                <a16:creationId xmlns:a16="http://schemas.microsoft.com/office/drawing/2014/main" id="{1795F09F-69B5-22E5-1308-B71B597839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8883" y="4499193"/>
            <a:ext cx="914400" cy="914400"/>
          </a:xfrm>
          <a:prstGeom prst="rect">
            <a:avLst/>
          </a:prstGeom>
        </p:spPr>
      </p:pic>
      <p:pic>
        <p:nvPicPr>
          <p:cNvPr id="11" name="Graphic 10" descr="Processor with solid fill">
            <a:extLst>
              <a:ext uri="{FF2B5EF4-FFF2-40B4-BE49-F238E27FC236}">
                <a16:creationId xmlns:a16="http://schemas.microsoft.com/office/drawing/2014/main" id="{5402A46B-6E14-EE1B-1C7D-C81F442A9A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53412" y="2729412"/>
            <a:ext cx="914400" cy="914400"/>
          </a:xfrm>
          <a:prstGeom prst="rect">
            <a:avLst/>
          </a:prstGeom>
        </p:spPr>
      </p:pic>
      <p:pic>
        <p:nvPicPr>
          <p:cNvPr id="12" name="Graphic 11" descr="Cell Tower with solid fill">
            <a:extLst>
              <a:ext uri="{FF2B5EF4-FFF2-40B4-BE49-F238E27FC236}">
                <a16:creationId xmlns:a16="http://schemas.microsoft.com/office/drawing/2014/main" id="{E3454558-B129-9EAE-13C7-329CB4114A0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30070" y="2509259"/>
            <a:ext cx="914400" cy="1188825"/>
          </a:xfrm>
          <a:prstGeom prst="rect">
            <a:avLst/>
          </a:prstGeom>
        </p:spPr>
      </p:pic>
      <p:sp>
        <p:nvSpPr>
          <p:cNvPr id="13" name="AutoShape 6" descr="Grayscale Image">
            <a:extLst>
              <a:ext uri="{FF2B5EF4-FFF2-40B4-BE49-F238E27FC236}">
                <a16:creationId xmlns:a16="http://schemas.microsoft.com/office/drawing/2014/main" id="{D632D7BF-A8FC-AC2A-C5DC-6BE909DD163F}"/>
              </a:ext>
            </a:extLst>
          </p:cNvPr>
          <p:cNvSpPr>
            <a:spLocks noChangeAspect="1" noChangeArrowheads="1"/>
          </p:cNvSpPr>
          <p:nvPr/>
        </p:nvSpPr>
        <p:spPr bwMode="auto">
          <a:xfrm>
            <a:off x="6874134" y="280317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28697C7B-17DC-542A-486C-47631E4CF70B}"/>
              </a:ext>
            </a:extLst>
          </p:cNvPr>
          <p:cNvPicPr>
            <a:picLocks noChangeAspect="1"/>
          </p:cNvPicPr>
          <p:nvPr/>
        </p:nvPicPr>
        <p:blipFill>
          <a:blip r:embed="rId12">
            <a:clrChange>
              <a:clrFrom>
                <a:srgbClr val="F7F7F7"/>
              </a:clrFrom>
              <a:clrTo>
                <a:srgbClr val="F7F7F7">
                  <a:alpha val="0"/>
                </a:srgbClr>
              </a:clrTo>
            </a:clrChange>
          </a:blip>
          <a:srcRect t="6568"/>
          <a:stretch/>
        </p:blipFill>
        <p:spPr>
          <a:xfrm>
            <a:off x="4032094" y="2652630"/>
            <a:ext cx="1129632" cy="723229"/>
          </a:xfrm>
          <a:prstGeom prst="rect">
            <a:avLst/>
          </a:prstGeom>
        </p:spPr>
      </p:pic>
      <p:sp>
        <p:nvSpPr>
          <p:cNvPr id="58" name="Rectangle: Rounded Corners 57">
            <a:extLst>
              <a:ext uri="{FF2B5EF4-FFF2-40B4-BE49-F238E27FC236}">
                <a16:creationId xmlns:a16="http://schemas.microsoft.com/office/drawing/2014/main" id="{2631374E-21B7-6718-3897-C9260AB083BA}"/>
              </a:ext>
            </a:extLst>
          </p:cNvPr>
          <p:cNvSpPr/>
          <p:nvPr/>
        </p:nvSpPr>
        <p:spPr>
          <a:xfrm>
            <a:off x="478151" y="170197"/>
            <a:ext cx="5617849"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D1B2E"/>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ulti-Player Business Model</a:t>
            </a:r>
          </a:p>
        </p:txBody>
      </p:sp>
      <p:sp>
        <p:nvSpPr>
          <p:cNvPr id="59" name="Rectangle: Rounded Corners 58">
            <a:extLst>
              <a:ext uri="{FF2B5EF4-FFF2-40B4-BE49-F238E27FC236}">
                <a16:creationId xmlns:a16="http://schemas.microsoft.com/office/drawing/2014/main" id="{8200A2E0-BC6F-2F8F-1A9C-FA91AEEABC34}"/>
              </a:ext>
            </a:extLst>
          </p:cNvPr>
          <p:cNvSpPr/>
          <p:nvPr/>
        </p:nvSpPr>
        <p:spPr>
          <a:xfrm>
            <a:off x="7830259" y="5610903"/>
            <a:ext cx="370251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arkus Schneider</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5G BC Business TF</a:t>
            </a:r>
            <a:b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Media Broadcast</a:t>
            </a:r>
          </a:p>
        </p:txBody>
      </p:sp>
      <p:cxnSp>
        <p:nvCxnSpPr>
          <p:cNvPr id="15" name="Straight Arrow Connector 14">
            <a:extLst>
              <a:ext uri="{FF2B5EF4-FFF2-40B4-BE49-F238E27FC236}">
                <a16:creationId xmlns:a16="http://schemas.microsoft.com/office/drawing/2014/main" id="{DD01EFD0-60FD-0624-4C46-32FF0AA81706}"/>
              </a:ext>
            </a:extLst>
          </p:cNvPr>
          <p:cNvCxnSpPr>
            <a:cxnSpLocks/>
          </p:cNvCxnSpPr>
          <p:nvPr/>
        </p:nvCxnSpPr>
        <p:spPr>
          <a:xfrm>
            <a:off x="2506962" y="3645054"/>
            <a:ext cx="480914" cy="724394"/>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955A1C0-7770-44F5-5F77-535C470E0B99}"/>
              </a:ext>
            </a:extLst>
          </p:cNvPr>
          <p:cNvCxnSpPr>
            <a:cxnSpLocks/>
          </p:cNvCxnSpPr>
          <p:nvPr/>
        </p:nvCxnSpPr>
        <p:spPr>
          <a:xfrm flipV="1">
            <a:off x="3429477" y="3751517"/>
            <a:ext cx="973065" cy="634078"/>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F8F5FC3-7401-2DD1-A061-7CFD4AB07504}"/>
              </a:ext>
            </a:extLst>
          </p:cNvPr>
          <p:cNvCxnSpPr>
            <a:cxnSpLocks/>
          </p:cNvCxnSpPr>
          <p:nvPr/>
        </p:nvCxnSpPr>
        <p:spPr>
          <a:xfrm flipH="1" flipV="1">
            <a:off x="5109627" y="3799816"/>
            <a:ext cx="813668" cy="783826"/>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F16C4E-C83E-CDB5-F057-7A0A617C05D4}"/>
              </a:ext>
            </a:extLst>
          </p:cNvPr>
          <p:cNvCxnSpPr>
            <a:cxnSpLocks/>
          </p:cNvCxnSpPr>
          <p:nvPr/>
        </p:nvCxnSpPr>
        <p:spPr>
          <a:xfrm flipH="1">
            <a:off x="6184553" y="3616209"/>
            <a:ext cx="605641" cy="924373"/>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860E794-AEA3-9E52-DF03-50989CBA6527}"/>
              </a:ext>
            </a:extLst>
          </p:cNvPr>
          <p:cNvCxnSpPr>
            <a:cxnSpLocks/>
          </p:cNvCxnSpPr>
          <p:nvPr/>
        </p:nvCxnSpPr>
        <p:spPr>
          <a:xfrm>
            <a:off x="5064083" y="1440484"/>
            <a:ext cx="1498802" cy="970409"/>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2EB7B57-199E-BAA0-D653-05CF8D38AF70}"/>
              </a:ext>
            </a:extLst>
          </p:cNvPr>
          <p:cNvCxnSpPr>
            <a:cxnSpLocks/>
          </p:cNvCxnSpPr>
          <p:nvPr/>
        </p:nvCxnSpPr>
        <p:spPr>
          <a:xfrm flipH="1">
            <a:off x="2578067" y="1735211"/>
            <a:ext cx="1298984" cy="933607"/>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F776E4D-B9CA-EFCC-C62B-F58797726E2B}"/>
              </a:ext>
            </a:extLst>
          </p:cNvPr>
          <p:cNvCxnSpPr>
            <a:cxnSpLocks/>
          </p:cNvCxnSpPr>
          <p:nvPr/>
        </p:nvCxnSpPr>
        <p:spPr>
          <a:xfrm flipH="1">
            <a:off x="3204619" y="1876752"/>
            <a:ext cx="1129632" cy="2281656"/>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3180DE2-DD1F-DEFC-8BA1-F300E359F1E6}"/>
              </a:ext>
            </a:extLst>
          </p:cNvPr>
          <p:cNvCxnSpPr>
            <a:cxnSpLocks/>
          </p:cNvCxnSpPr>
          <p:nvPr/>
        </p:nvCxnSpPr>
        <p:spPr>
          <a:xfrm flipH="1">
            <a:off x="3598250" y="3490174"/>
            <a:ext cx="2940329" cy="1033974"/>
          </a:xfrm>
          <a:prstGeom prst="straightConnector1">
            <a:avLst/>
          </a:prstGeom>
          <a:ln w="38100" cap="rnd">
            <a:solidFill>
              <a:srgbClr val="ED1B2E"/>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pic>
        <p:nvPicPr>
          <p:cNvPr id="47" name="Picture 2" descr="Profile photo of Markus Schneider">
            <a:extLst>
              <a:ext uri="{FF2B5EF4-FFF2-40B4-BE49-F238E27FC236}">
                <a16:creationId xmlns:a16="http://schemas.microsoft.com/office/drawing/2014/main" id="{37C28905-6EEF-96CE-8A8A-E4C30A58C1C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752890" y="4147862"/>
            <a:ext cx="1463041" cy="146304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8" name="Picture 30" descr="aytac biber portrait 3 1">
            <a:extLst>
              <a:ext uri="{FF2B5EF4-FFF2-40B4-BE49-F238E27FC236}">
                <a16:creationId xmlns:a16="http://schemas.microsoft.com/office/drawing/2014/main" id="{F037222E-F67A-B56D-116F-36A6FB30EF0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67993" y="1666512"/>
            <a:ext cx="1293398" cy="118882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51" name="Rectangle: Rounded Corners 50">
            <a:extLst>
              <a:ext uri="{FF2B5EF4-FFF2-40B4-BE49-F238E27FC236}">
                <a16:creationId xmlns:a16="http://schemas.microsoft.com/office/drawing/2014/main" id="{5A8C02A1-D9AB-1986-062F-509DAF897249}"/>
              </a:ext>
            </a:extLst>
          </p:cNvPr>
          <p:cNvSpPr/>
          <p:nvPr/>
        </p:nvSpPr>
        <p:spPr>
          <a:xfrm>
            <a:off x="7633876" y="2934666"/>
            <a:ext cx="3702516" cy="80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Aytac Biber</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Qualcomm</a:t>
            </a:r>
            <a:b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br>
            <a:r>
              <a:rPr kumimoji="0" lang="en-US" sz="1800" b="1" i="0" u="none" strike="noStrike" kern="1200" cap="none" spc="0" normalizeH="0" baseline="0" noProof="0" dirty="0">
                <a:ln>
                  <a:noFill/>
                </a:ln>
                <a:solidFill>
                  <a:srgbClr val="00B0F0"/>
                </a:solidFill>
                <a:effectLst/>
                <a:uLnTx/>
                <a:uFillTx/>
                <a:latin typeface="Aptos" panose="020B0004020202020204" pitchFamily="34" charset="0"/>
                <a:ea typeface="Microsoft Sans Serif" panose="020B0604020202020204" pitchFamily="34" charset="0"/>
                <a:cs typeface="Microsoft Sans Serif" panose="020B0604020202020204" pitchFamily="34" charset="0"/>
              </a:rPr>
              <a:t>Product Management</a:t>
            </a:r>
          </a:p>
        </p:txBody>
      </p:sp>
      <p:sp>
        <p:nvSpPr>
          <p:cNvPr id="30" name="Date Placeholder 29">
            <a:extLst>
              <a:ext uri="{FF2B5EF4-FFF2-40B4-BE49-F238E27FC236}">
                <a16:creationId xmlns:a16="http://schemas.microsoft.com/office/drawing/2014/main" id="{B88C87E1-2B3D-8783-6438-7223854D97B4}"/>
              </a:ext>
            </a:extLst>
          </p:cNvPr>
          <p:cNvSpPr>
            <a:spLocks noGrp="1"/>
          </p:cNvSpPr>
          <p:nvPr>
            <p:ph type="dt" sz="half" idx="2"/>
          </p:nvPr>
        </p:nvSpPr>
        <p:spPr/>
        <p:txBody>
          <a:bodyPr/>
          <a:lstStyle/>
          <a:p>
            <a:pPr>
              <a:defRPr/>
            </a:pPr>
            <a:r>
              <a:rPr lang="en-US"/>
              <a:t>9/25/2025</a:t>
            </a:r>
            <a:endParaRPr lang="nl-NL" dirty="0"/>
          </a:p>
        </p:txBody>
      </p:sp>
    </p:spTree>
    <p:extLst>
      <p:ext uri="{BB962C8B-B14F-4D97-AF65-F5344CB8AC3E}">
        <p14:creationId xmlns:p14="http://schemas.microsoft.com/office/powerpoint/2010/main" val="2840881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A82548-9B16-C2F2-BC14-15289C81803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think-cell data - do not delete" hidden="1">
                        <a:extLst>
                          <a:ext uri="{FF2B5EF4-FFF2-40B4-BE49-F238E27FC236}">
                            <a16:creationId xmlns:a16="http://schemas.microsoft.com/office/drawing/2014/main" id="{0CA82548-9B16-C2F2-BC14-15289C81803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EB61BC-18FE-F30F-6ADA-0952A7F62CFA}"/>
              </a:ext>
            </a:extLst>
          </p:cNvPr>
          <p:cNvSpPr>
            <a:spLocks noGrp="1"/>
          </p:cNvSpPr>
          <p:nvPr>
            <p:ph type="title"/>
          </p:nvPr>
        </p:nvSpPr>
        <p:spPr>
          <a:xfrm>
            <a:off x="252512" y="455132"/>
            <a:ext cx="11328000" cy="634701"/>
          </a:xfrm>
        </p:spPr>
        <p:txBody>
          <a:bodyPr vert="horz">
            <a:normAutofit fontScale="90000"/>
          </a:bodyPr>
          <a:lstStyle/>
          <a:p>
            <a:r>
              <a:rPr lang="de-DE" sz="3200" dirty="0"/>
              <a:t>POPULATION COVERAGE PLANNING </a:t>
            </a:r>
            <a:br>
              <a:rPr lang="de-DE" sz="3200" dirty="0"/>
            </a:br>
            <a:r>
              <a:rPr lang="de-DE" sz="2400" dirty="0"/>
              <a:t>EU MARKETS COMBINED</a:t>
            </a:r>
            <a:endParaRPr lang="de-DE" sz="3200" dirty="0"/>
          </a:p>
        </p:txBody>
      </p:sp>
      <p:graphicFrame>
        <p:nvGraphicFramePr>
          <p:cNvPr id="17" name="Chart 16">
            <a:extLst>
              <a:ext uri="{FF2B5EF4-FFF2-40B4-BE49-F238E27FC236}">
                <a16:creationId xmlns:a16="http://schemas.microsoft.com/office/drawing/2014/main" id="{BD536A9F-294F-3E19-A479-8D43784619BC}"/>
              </a:ext>
            </a:extLst>
          </p:cNvPr>
          <p:cNvGraphicFramePr/>
          <p:nvPr/>
        </p:nvGraphicFramePr>
        <p:xfrm>
          <a:off x="245340" y="1316766"/>
          <a:ext cx="7618289" cy="4875613"/>
        </p:xfrm>
        <a:graphic>
          <a:graphicData uri="http://schemas.openxmlformats.org/drawingml/2006/chart">
            <c:chart xmlns:c="http://schemas.openxmlformats.org/drawingml/2006/chart" xmlns:r="http://schemas.openxmlformats.org/officeDocument/2006/relationships" r:id="rId5"/>
          </a:graphicData>
        </a:graphic>
      </p:graphicFrame>
      <p:grpSp>
        <p:nvGrpSpPr>
          <p:cNvPr id="18" name="Group 17">
            <a:extLst>
              <a:ext uri="{FF2B5EF4-FFF2-40B4-BE49-F238E27FC236}">
                <a16:creationId xmlns:a16="http://schemas.microsoft.com/office/drawing/2014/main" id="{62EB7A39-D28B-2811-B48E-FA5F7AB735F0}"/>
              </a:ext>
            </a:extLst>
          </p:cNvPr>
          <p:cNvGrpSpPr/>
          <p:nvPr/>
        </p:nvGrpSpPr>
        <p:grpSpPr>
          <a:xfrm>
            <a:off x="7949329" y="1889534"/>
            <a:ext cx="3981489" cy="3685237"/>
            <a:chOff x="338505" y="958770"/>
            <a:chExt cx="3570444" cy="3369974"/>
          </a:xfrm>
        </p:grpSpPr>
        <p:sp>
          <p:nvSpPr>
            <p:cNvPr id="19" name="Freeform: Shape 18">
              <a:extLst>
                <a:ext uri="{FF2B5EF4-FFF2-40B4-BE49-F238E27FC236}">
                  <a16:creationId xmlns:a16="http://schemas.microsoft.com/office/drawing/2014/main" id="{AEECF810-BAB0-CC05-BCD6-809596BB6BC1}"/>
                </a:ext>
              </a:extLst>
            </p:cNvPr>
            <p:cNvSpPr/>
            <p:nvPr/>
          </p:nvSpPr>
          <p:spPr>
            <a:xfrm>
              <a:off x="1086812" y="958770"/>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68681" tIns="483895" rIns="368681" bIns="1036916"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Content Provider’s customers</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DC17FFF6-3940-E115-0F4C-9424AB45783D}"/>
                </a:ext>
              </a:extLst>
            </p:cNvPr>
            <p:cNvSpPr/>
            <p:nvPr/>
          </p:nvSpPr>
          <p:spPr>
            <a:xfrm>
              <a:off x="1835119" y="2254914"/>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845663" tIns="714320" rIns="260380" bIns="529979"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OEM Devices</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C27D562C-BBD2-DC2E-C050-89E54B9FC6C3}"/>
                </a:ext>
              </a:extLst>
            </p:cNvPr>
            <p:cNvSpPr/>
            <p:nvPr/>
          </p:nvSpPr>
          <p:spPr>
            <a:xfrm>
              <a:off x="338505" y="2254914"/>
              <a:ext cx="2073830" cy="2073830"/>
            </a:xfrm>
            <a:custGeom>
              <a:avLst/>
              <a:gdLst>
                <a:gd name="connsiteX0" fmla="*/ 0 w 2073830"/>
                <a:gd name="connsiteY0" fmla="*/ 1036915 h 2073830"/>
                <a:gd name="connsiteX1" fmla="*/ 1036915 w 2073830"/>
                <a:gd name="connsiteY1" fmla="*/ 0 h 2073830"/>
                <a:gd name="connsiteX2" fmla="*/ 2073830 w 2073830"/>
                <a:gd name="connsiteY2" fmla="*/ 1036915 h 2073830"/>
                <a:gd name="connsiteX3" fmla="*/ 1036915 w 2073830"/>
                <a:gd name="connsiteY3" fmla="*/ 2073830 h 2073830"/>
                <a:gd name="connsiteX4" fmla="*/ 0 w 2073830"/>
                <a:gd name="connsiteY4" fmla="*/ 1036915 h 207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830" h="2073830">
                  <a:moveTo>
                    <a:pt x="0" y="1036915"/>
                  </a:moveTo>
                  <a:cubicBezTo>
                    <a:pt x="0" y="464243"/>
                    <a:pt x="464243" y="0"/>
                    <a:pt x="1036915" y="0"/>
                  </a:cubicBezTo>
                  <a:cubicBezTo>
                    <a:pt x="1609587" y="0"/>
                    <a:pt x="2073830" y="464243"/>
                    <a:pt x="2073830" y="1036915"/>
                  </a:cubicBezTo>
                  <a:cubicBezTo>
                    <a:pt x="2073830" y="1609587"/>
                    <a:pt x="1609587" y="2073830"/>
                    <a:pt x="1036915" y="2073830"/>
                  </a:cubicBezTo>
                  <a:cubicBezTo>
                    <a:pt x="464243" y="2073830"/>
                    <a:pt x="0" y="1609587"/>
                    <a:pt x="0" y="1036915"/>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260383" tIns="714320" rIns="845663" bIns="529979" numCol="1" spcCol="1270" anchor="ctr" anchorCtr="0">
              <a:noAutofit/>
            </a:bodyPr>
            <a:lstStyle/>
            <a:p>
              <a:pPr marL="0" marR="0" lvl="0" indent="0" algn="ctr" defTabSz="1185274" rtl="0" eaLnBrk="1" fontAlgn="auto" latinLnBrk="0" hangingPunct="1">
                <a:lnSpc>
                  <a:spcPct val="90000"/>
                </a:lnSpc>
                <a:spcBef>
                  <a:spcPct val="0"/>
                </a:spcBef>
                <a:spcAft>
                  <a:spcPct val="3500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mn-ea"/>
                  <a:cs typeface="+mn-cs"/>
                </a:rPr>
                <a:t>5G BC Pop Coverage</a:t>
              </a:r>
              <a:endParaRPr kumimoji="0" lang="en-US" sz="1867"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2A5EE1A0-15C9-062A-5F4C-8608307F6862}"/>
              </a:ext>
            </a:extLst>
          </p:cNvPr>
          <p:cNvGrpSpPr/>
          <p:nvPr/>
        </p:nvGrpSpPr>
        <p:grpSpPr>
          <a:xfrm>
            <a:off x="8429379" y="4949004"/>
            <a:ext cx="1440108" cy="533305"/>
            <a:chOff x="8643777" y="3591073"/>
            <a:chExt cx="466592" cy="360039"/>
          </a:xfrm>
        </p:grpSpPr>
        <p:sp>
          <p:nvSpPr>
            <p:cNvPr id="23" name="Oval 22">
              <a:extLst>
                <a:ext uri="{FF2B5EF4-FFF2-40B4-BE49-F238E27FC236}">
                  <a16:creationId xmlns:a16="http://schemas.microsoft.com/office/drawing/2014/main" id="{132A6677-1EE5-086F-3B82-8F08177A15A3}"/>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24" name="Inhaltsplatzhalter 8">
              <a:extLst>
                <a:ext uri="{FF2B5EF4-FFF2-40B4-BE49-F238E27FC236}">
                  <a16:creationId xmlns:a16="http://schemas.microsoft.com/office/drawing/2014/main" id="{5C4738CE-F2EC-4820-7ECB-1C4F73BD7E34}"/>
                </a:ext>
              </a:extLst>
            </p:cNvPr>
            <p:cNvSpPr txBox="1">
              <a:spLocks/>
            </p:cNvSpPr>
            <p:nvPr/>
          </p:nvSpPr>
          <p:spPr>
            <a:xfrm>
              <a:off x="8643777" y="3634858"/>
              <a:ext cx="466592" cy="31625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125M*</a:t>
              </a:r>
            </a:p>
          </p:txBody>
        </p:sp>
      </p:grpSp>
      <p:grpSp>
        <p:nvGrpSpPr>
          <p:cNvPr id="25" name="Group 24">
            <a:extLst>
              <a:ext uri="{FF2B5EF4-FFF2-40B4-BE49-F238E27FC236}">
                <a16:creationId xmlns:a16="http://schemas.microsoft.com/office/drawing/2014/main" id="{2478FC3D-1C11-CF37-D286-647056389EC8}"/>
              </a:ext>
            </a:extLst>
          </p:cNvPr>
          <p:cNvGrpSpPr/>
          <p:nvPr/>
        </p:nvGrpSpPr>
        <p:grpSpPr>
          <a:xfrm>
            <a:off x="9487667" y="3099967"/>
            <a:ext cx="993751" cy="620740"/>
            <a:chOff x="8671872" y="3591073"/>
            <a:chExt cx="454995" cy="360039"/>
          </a:xfrm>
        </p:grpSpPr>
        <p:sp>
          <p:nvSpPr>
            <p:cNvPr id="26" name="Oval 25">
              <a:extLst>
                <a:ext uri="{FF2B5EF4-FFF2-40B4-BE49-F238E27FC236}">
                  <a16:creationId xmlns:a16="http://schemas.microsoft.com/office/drawing/2014/main" id="{EAEAA003-FDF9-E42E-3860-21E7DFE5FB5A}"/>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27" name="Inhaltsplatzhalter 8">
              <a:extLst>
                <a:ext uri="{FF2B5EF4-FFF2-40B4-BE49-F238E27FC236}">
                  <a16:creationId xmlns:a16="http://schemas.microsoft.com/office/drawing/2014/main" id="{5683FE23-5259-0CDB-6A68-EEB3A99CF485}"/>
                </a:ext>
              </a:extLst>
            </p:cNvPr>
            <p:cNvSpPr txBox="1">
              <a:spLocks/>
            </p:cNvSpPr>
            <p:nvPr/>
          </p:nvSpPr>
          <p:spPr>
            <a:xfrm>
              <a:off x="8671872" y="3630956"/>
              <a:ext cx="454995" cy="29124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78%</a:t>
              </a:r>
            </a:p>
          </p:txBody>
        </p:sp>
      </p:grpSp>
      <p:grpSp>
        <p:nvGrpSpPr>
          <p:cNvPr id="28" name="Group 27">
            <a:extLst>
              <a:ext uri="{FF2B5EF4-FFF2-40B4-BE49-F238E27FC236}">
                <a16:creationId xmlns:a16="http://schemas.microsoft.com/office/drawing/2014/main" id="{4A7DD3DC-E7AD-189D-E509-047C12C62ED8}"/>
              </a:ext>
            </a:extLst>
          </p:cNvPr>
          <p:cNvGrpSpPr/>
          <p:nvPr/>
        </p:nvGrpSpPr>
        <p:grpSpPr>
          <a:xfrm>
            <a:off x="10169168" y="4949003"/>
            <a:ext cx="1369217" cy="561973"/>
            <a:chOff x="8671872" y="3591073"/>
            <a:chExt cx="438199" cy="360039"/>
          </a:xfrm>
        </p:grpSpPr>
        <p:sp>
          <p:nvSpPr>
            <p:cNvPr id="29" name="Oval 28">
              <a:extLst>
                <a:ext uri="{FF2B5EF4-FFF2-40B4-BE49-F238E27FC236}">
                  <a16:creationId xmlns:a16="http://schemas.microsoft.com/office/drawing/2014/main" id="{1194E2B3-82EE-E6EC-9342-BB8544411407}"/>
                </a:ext>
              </a:extLst>
            </p:cNvPr>
            <p:cNvSpPr/>
            <p:nvPr/>
          </p:nvSpPr>
          <p:spPr>
            <a:xfrm>
              <a:off x="8671872" y="3591073"/>
              <a:ext cx="414287" cy="360039"/>
            </a:xfrm>
            <a:prstGeom prst="ellipse">
              <a:avLst/>
            </a:prstGeom>
            <a:ln/>
          </p:spPr>
          <p:style>
            <a:lnRef idx="2">
              <a:schemeClr val="accent3"/>
            </a:lnRef>
            <a:fillRef idx="1">
              <a:schemeClr val="lt1"/>
            </a:fillRef>
            <a:effectRef idx="0">
              <a:schemeClr val="accent3"/>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3E76"/>
                </a:solidFill>
                <a:effectLst/>
                <a:uLnTx/>
                <a:uFillTx/>
                <a:latin typeface="Arial"/>
                <a:ea typeface="+mn-ea"/>
                <a:cs typeface="+mn-cs"/>
              </a:endParaRPr>
            </a:p>
          </p:txBody>
        </p:sp>
        <p:sp>
          <p:nvSpPr>
            <p:cNvPr id="30" name="Inhaltsplatzhalter 8">
              <a:extLst>
                <a:ext uri="{FF2B5EF4-FFF2-40B4-BE49-F238E27FC236}">
                  <a16:creationId xmlns:a16="http://schemas.microsoft.com/office/drawing/2014/main" id="{D3CE6528-425C-2F67-B08F-2E2D3A84379A}"/>
                </a:ext>
              </a:extLst>
            </p:cNvPr>
            <p:cNvSpPr txBox="1">
              <a:spLocks/>
            </p:cNvSpPr>
            <p:nvPr/>
          </p:nvSpPr>
          <p:spPr>
            <a:xfrm>
              <a:off x="8673073" y="3622259"/>
              <a:ext cx="436998" cy="316254"/>
            </a:xfrm>
            <a:prstGeom prst="rect">
              <a:avLst/>
            </a:prstGeom>
          </p:spPr>
          <p:txBody>
            <a:bodyPr/>
            <a:lstStyle>
              <a:lvl1pPr marL="252000" indent="-252000" algn="l" defTabSz="914400" rtl="0" eaLnBrk="1" latinLnBrk="0" hangingPunct="1">
                <a:lnSpc>
                  <a:spcPct val="105000"/>
                </a:lnSpc>
                <a:spcBef>
                  <a:spcPts val="0"/>
                </a:spcBef>
                <a:spcAft>
                  <a:spcPts val="400"/>
                </a:spcAft>
                <a:buSzPct val="90000"/>
                <a:buFont typeface="Arial" panose="020B0604020202020204" pitchFamily="34" charset="0"/>
                <a:buChar char="►"/>
                <a:defRPr sz="1500" b="0" kern="1200">
                  <a:solidFill>
                    <a:schemeClr val="tx1"/>
                  </a:solidFill>
                  <a:latin typeface="+mn-lt"/>
                  <a:ea typeface="+mn-ea"/>
                  <a:cs typeface="+mn-cs"/>
                </a:defRPr>
              </a:lvl1pPr>
              <a:lvl2pPr marL="4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2pPr>
              <a:lvl3pPr marL="6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3pPr>
              <a:lvl4pPr marL="8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4pPr>
              <a:lvl5pPr marL="99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5pPr>
              <a:lvl6pPr marL="117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6pPr>
              <a:lvl7pPr marL="135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7pPr>
              <a:lvl8pPr marL="153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8pPr>
              <a:lvl9pPr marL="1710000" indent="-180000" algn="l" defTabSz="914400" rtl="0" eaLnBrk="1" latinLnBrk="0" hangingPunct="1">
                <a:lnSpc>
                  <a:spcPct val="105000"/>
                </a:lnSpc>
                <a:spcBef>
                  <a:spcPts val="0"/>
                </a:spcBef>
                <a:spcAft>
                  <a:spcPts val="400"/>
                </a:spcAft>
                <a:buSzPct val="90000"/>
                <a:buFont typeface="Symbol" panose="05050102010706020507" pitchFamily="18" charset="2"/>
                <a:buChar char="-"/>
                <a:defRPr sz="15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533"/>
                </a:spcAft>
                <a:buClrTx/>
                <a:buSzPct val="90000"/>
                <a:buFont typeface="Arial" panose="020B0604020202020204" pitchFamily="34" charset="0"/>
                <a:buNone/>
                <a:tabLst/>
                <a:defRPr/>
              </a:pPr>
              <a:r>
                <a:rPr kumimoji="0" lang="de-DE" sz="1867" b="1" i="0" u="none" strike="noStrike" kern="1200" cap="none" spc="0" normalizeH="0" baseline="0" noProof="0" dirty="0">
                  <a:ln>
                    <a:noFill/>
                  </a:ln>
                  <a:solidFill>
                    <a:srgbClr val="003E76"/>
                  </a:solidFill>
                  <a:effectLst/>
                  <a:uLnTx/>
                  <a:uFillTx/>
                  <a:latin typeface="Arial"/>
                  <a:ea typeface="+mn-ea"/>
                  <a:cs typeface="+mn-cs"/>
                </a:rPr>
                <a:t>39,2M**</a:t>
              </a:r>
            </a:p>
          </p:txBody>
        </p:sp>
      </p:grpSp>
      <p:sp>
        <p:nvSpPr>
          <p:cNvPr id="31" name="TextBox 30">
            <a:extLst>
              <a:ext uri="{FF2B5EF4-FFF2-40B4-BE49-F238E27FC236}">
                <a16:creationId xmlns:a16="http://schemas.microsoft.com/office/drawing/2014/main" id="{C2DF2510-861C-A865-0792-26EE87EF84F5}"/>
              </a:ext>
            </a:extLst>
          </p:cNvPr>
          <p:cNvSpPr txBox="1"/>
          <p:nvPr/>
        </p:nvSpPr>
        <p:spPr>
          <a:xfrm>
            <a:off x="6960096" y="5713513"/>
            <a:ext cx="272576"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Arial"/>
                <a:ea typeface="+mn-ea"/>
                <a:cs typeface="+mn-cs"/>
              </a:rPr>
              <a:t>*</a:t>
            </a:r>
          </a:p>
        </p:txBody>
      </p:sp>
      <p:sp>
        <p:nvSpPr>
          <p:cNvPr id="38" name="TextBox 37">
            <a:extLst>
              <a:ext uri="{FF2B5EF4-FFF2-40B4-BE49-F238E27FC236}">
                <a16:creationId xmlns:a16="http://schemas.microsoft.com/office/drawing/2014/main" id="{C0ECD74C-2896-BDB3-5A52-A868605150AA}"/>
              </a:ext>
            </a:extLst>
          </p:cNvPr>
          <p:cNvSpPr txBox="1"/>
          <p:nvPr/>
        </p:nvSpPr>
        <p:spPr>
          <a:xfrm>
            <a:off x="1871531" y="6180893"/>
            <a:ext cx="9090744" cy="64633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Arial"/>
                <a:ea typeface="+mn-ea"/>
                <a:cs typeface="+mn-cs"/>
              </a:rPr>
              <a:t>All numbers are assumptions of major BNOs in their countries, based on the precondition of market readiness.</a:t>
            </a:r>
            <a:endParaRPr kumimoji="0" lang="en-US" sz="1200" b="1" i="1" u="none" strike="noStrike" kern="1200" cap="none" spc="0" normalizeH="0" baseline="0" noProof="0" dirty="0">
              <a:ln>
                <a:noFill/>
              </a:ln>
              <a:solidFill>
                <a:prstClr val="white">
                  <a:lumMod val="65000"/>
                </a:prstClr>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lumMod val="65000"/>
                  </a:prstClr>
                </a:solidFill>
                <a:effectLst/>
                <a:uLnTx/>
                <a:uFillTx/>
                <a:latin typeface="Arial"/>
                <a:ea typeface="+mn-ea"/>
                <a:cs typeface="+mn-cs"/>
              </a:rPr>
              <a:t>* Numbers for Italy refer to the pre-commercial transmissions started in 2024. No concrete plans yet in Italy.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lumMod val="65000"/>
                  </a:prstClr>
                </a:solidFill>
                <a:effectLst/>
                <a:uLnTx/>
                <a:uFillTx/>
                <a:latin typeface="Arial"/>
                <a:ea typeface="+mn-ea"/>
                <a:cs typeface="+mn-cs"/>
              </a:rPr>
              <a:t>** Current reports indicate that 40% of all streaming is performed on mobile devices</a:t>
            </a:r>
            <a:endParaRPr kumimoji="0" lang="en-US" sz="1200" b="1" i="1" u="none" strike="noStrike" kern="1200" cap="none" spc="0" normalizeH="0" baseline="0" noProof="0" dirty="0">
              <a:ln>
                <a:noFill/>
              </a:ln>
              <a:solidFill>
                <a:prstClr val="white">
                  <a:lumMod val="65000"/>
                </a:prstClr>
              </a:solidFill>
              <a:effectLst/>
              <a:uLnTx/>
              <a:uFillTx/>
              <a:latin typeface="Arial"/>
              <a:ea typeface="+mn-ea"/>
              <a:cs typeface="+mn-cs"/>
            </a:endParaRPr>
          </a:p>
        </p:txBody>
      </p:sp>
      <p:sp>
        <p:nvSpPr>
          <p:cNvPr id="39" name="RS_Classification">
            <a:extLst>
              <a:ext uri="{FF2B5EF4-FFF2-40B4-BE49-F238E27FC236}">
                <a16:creationId xmlns:a16="http://schemas.microsoft.com/office/drawing/2014/main" id="{670E2B72-99B7-B313-1AA7-A42934171AC4}"/>
              </a:ext>
            </a:extLst>
          </p:cNvPr>
          <p:cNvSpPr txBox="1"/>
          <p:nvPr/>
        </p:nvSpPr>
        <p:spPr>
          <a:xfrm>
            <a:off x="11928681" y="6443122"/>
            <a:ext cx="267017" cy="281444"/>
          </a:xfrm>
          <a:prstGeom prst="rect">
            <a:avLst/>
          </a:prstGeom>
          <a:solidFill>
            <a:srgbClr val="FFFFFF">
              <a:alpha val="0"/>
            </a:srgbClr>
          </a:solidFill>
        </p:spPr>
        <p:txBody>
          <a:bodyPr vert="horz" wrap="none" lIns="100753" tIns="47921" rIns="100753" bIns="47921"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200" b="1" i="0" u="none" strike="noStrike" kern="100" cap="none" spc="133" normalizeH="0" baseline="0" noProof="0">
                <a:ln>
                  <a:noFill/>
                </a:ln>
                <a:solidFill>
                  <a:prstClr val="black"/>
                </a:solidFill>
                <a:effectLst/>
                <a:uLnTx/>
                <a:uFillTx/>
                <a:latin typeface="Trebuchet MS" panose="020B0603020202020204"/>
                <a:ea typeface="+mn-ea"/>
                <a:cs typeface="+mn-cs"/>
              </a:rPr>
              <a:t> </a:t>
            </a:r>
            <a:endParaRPr kumimoji="0" lang="de-DE" sz="1200" b="1" i="0" u="none" strike="noStrike" kern="100" cap="none" spc="133" normalizeH="0" baseline="0" noProof="0" dirty="0" err="1">
              <a:ln>
                <a:noFill/>
              </a:ln>
              <a:solidFill>
                <a:prstClr val="black"/>
              </a:solidFill>
              <a:effectLst/>
              <a:uLnTx/>
              <a:uFillTx/>
              <a:latin typeface="Trebuchet MS" panose="020B0603020202020204"/>
              <a:ea typeface="+mn-ea"/>
              <a:cs typeface="+mn-cs"/>
            </a:endParaRPr>
          </a:p>
        </p:txBody>
      </p:sp>
      <p:sp>
        <p:nvSpPr>
          <p:cNvPr id="3" name="Date Placeholder 2">
            <a:extLst>
              <a:ext uri="{FF2B5EF4-FFF2-40B4-BE49-F238E27FC236}">
                <a16:creationId xmlns:a16="http://schemas.microsoft.com/office/drawing/2014/main" id="{BF592A5F-C8AC-974F-22F1-FCF81B704CBF}"/>
              </a:ext>
            </a:extLst>
          </p:cNvPr>
          <p:cNvSpPr>
            <a:spLocks noGrp="1"/>
          </p:cNvSpPr>
          <p:nvPr>
            <p:ph type="dt" sz="half" idx="10"/>
          </p:nvPr>
        </p:nvSpPr>
        <p:spPr>
          <a:xfrm>
            <a:off x="10894812" y="6631174"/>
            <a:ext cx="1101333" cy="180000"/>
          </a:xfrm>
        </p:spPr>
        <p:txBody>
          <a:bodyPr/>
          <a:lstStyle/>
          <a:p>
            <a:pPr algn="ctr"/>
            <a:r>
              <a:rPr lang="en-US" dirty="0"/>
              <a:t>9/25/2025</a:t>
            </a:r>
          </a:p>
        </p:txBody>
      </p:sp>
      <p:sp>
        <p:nvSpPr>
          <p:cNvPr id="4" name="Footer Placeholder 3">
            <a:extLst>
              <a:ext uri="{FF2B5EF4-FFF2-40B4-BE49-F238E27FC236}">
                <a16:creationId xmlns:a16="http://schemas.microsoft.com/office/drawing/2014/main" id="{80C48B86-D93C-2552-5E1A-D389A8B84507}"/>
              </a:ext>
            </a:extLst>
          </p:cNvPr>
          <p:cNvSpPr>
            <a:spLocks noGrp="1"/>
          </p:cNvSpPr>
          <p:nvPr>
            <p:ph type="ftr" sz="quarter" idx="11"/>
          </p:nvPr>
        </p:nvSpPr>
        <p:spPr>
          <a:xfrm>
            <a:off x="8652466" y="6631174"/>
            <a:ext cx="3936000" cy="180000"/>
          </a:xfrm>
        </p:spPr>
        <p:txBody>
          <a:bodyPr/>
          <a:lstStyle/>
          <a:p>
            <a:r>
              <a:rPr lang="en-US" dirty="0"/>
              <a:t>5G Broadcast Conference</a:t>
            </a:r>
          </a:p>
        </p:txBody>
      </p:sp>
    </p:spTree>
    <p:extLst>
      <p:ext uri="{BB962C8B-B14F-4D97-AF65-F5344CB8AC3E}">
        <p14:creationId xmlns:p14="http://schemas.microsoft.com/office/powerpoint/2010/main" val="120340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8F9C0-8C58-F8B0-F73F-FD79AE15B1F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958CB39-FB47-BFF2-2113-01B154922F0A}"/>
              </a:ext>
            </a:extLst>
          </p:cNvPr>
          <p:cNvSpPr/>
          <p:nvPr/>
        </p:nvSpPr>
        <p:spPr>
          <a:xfrm>
            <a:off x="0" y="-26152"/>
            <a:ext cx="12192000" cy="1149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 name="Title 3">
            <a:extLst>
              <a:ext uri="{FF2B5EF4-FFF2-40B4-BE49-F238E27FC236}">
                <a16:creationId xmlns:a16="http://schemas.microsoft.com/office/drawing/2014/main" id="{94A8F79D-A0A5-67D7-D28E-22F25FF93D15}"/>
              </a:ext>
            </a:extLst>
          </p:cNvPr>
          <p:cNvSpPr txBox="1">
            <a:spLocks/>
          </p:cNvSpPr>
          <p:nvPr/>
        </p:nvSpPr>
        <p:spPr>
          <a:xfrm>
            <a:off x="293349" y="500265"/>
            <a:ext cx="11187112" cy="997694"/>
          </a:xfrm>
          <a:prstGeom prst="rect">
            <a:avLst/>
          </a:prstGeom>
        </p:spPr>
        <p:txBody>
          <a:bodyPr/>
          <a:lst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a:lstStyle>
          <a:p>
            <a:pPr marL="0" marR="0" lvl="0" indent="0" algn="l" defTabSz="914400" rtl="0" eaLnBrk="1" fontAlgn="auto" latinLnBrk="0" hangingPunct="1">
              <a:lnSpc>
                <a:spcPct val="84000"/>
              </a:lnSpc>
              <a:spcBef>
                <a:spcPct val="0"/>
              </a:spcBef>
              <a:spcAft>
                <a:spcPts val="0"/>
              </a:spcAft>
              <a:buClrTx/>
              <a:buSzTx/>
              <a:buFontTx/>
              <a:buNone/>
              <a:tabLst/>
              <a:defRPr/>
            </a:pPr>
            <a:r>
              <a:rPr kumimoji="0" lang="en-US" sz="2800" b="0" i="0" u="none" strike="noStrike" kern="2000" cap="none" spc="-50" normalizeH="0" baseline="0" noProof="0" dirty="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est platforms</a:t>
            </a:r>
          </a:p>
        </p:txBody>
      </p:sp>
      <p:grpSp>
        <p:nvGrpSpPr>
          <p:cNvPr id="1045" name="Group 1044">
            <a:extLst>
              <a:ext uri="{FF2B5EF4-FFF2-40B4-BE49-F238E27FC236}">
                <a16:creationId xmlns:a16="http://schemas.microsoft.com/office/drawing/2014/main" id="{4C2C5560-57BE-29EE-2DCA-DDC549AFE7C4}"/>
              </a:ext>
            </a:extLst>
          </p:cNvPr>
          <p:cNvGrpSpPr/>
          <p:nvPr/>
        </p:nvGrpSpPr>
        <p:grpSpPr>
          <a:xfrm>
            <a:off x="6326484" y="3207723"/>
            <a:ext cx="3630270" cy="3425596"/>
            <a:chOff x="6326484" y="3207723"/>
            <a:chExt cx="3630270" cy="3425596"/>
          </a:xfrm>
        </p:grpSpPr>
        <p:pic>
          <p:nvPicPr>
            <p:cNvPr id="1027" name="Picture 8" descr="OnePlus 10T (5G) - Clove Technology">
              <a:extLst>
                <a:ext uri="{FF2B5EF4-FFF2-40B4-BE49-F238E27FC236}">
                  <a16:creationId xmlns:a16="http://schemas.microsoft.com/office/drawing/2014/main" id="{E5F3B51E-50B6-7C07-686D-B057E669528F}"/>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3019" y="3715008"/>
              <a:ext cx="2093377" cy="2093377"/>
            </a:xfrm>
            <a:prstGeom prst="rect">
              <a:avLst/>
            </a:prstGeom>
            <a:noFill/>
            <a:extLst>
              <a:ext uri="{909E8E84-426E-40DD-AFC4-6F175D3DCCD1}">
                <a14:hiddenFill xmlns:a14="http://schemas.microsoft.com/office/drawing/2010/main">
                  <a:solidFill>
                    <a:srgbClr val="FFFFFF"/>
                  </a:solidFill>
                </a14:hiddenFill>
              </a:ext>
            </a:extLst>
          </p:spPr>
        </p:pic>
        <p:sp>
          <p:nvSpPr>
            <p:cNvPr id="1028" name="TextBox 1027">
              <a:extLst>
                <a:ext uri="{FF2B5EF4-FFF2-40B4-BE49-F238E27FC236}">
                  <a16:creationId xmlns:a16="http://schemas.microsoft.com/office/drawing/2014/main" id="{9FAEDA5B-9E6D-87B4-E57E-53E0D10503B7}"/>
                </a:ext>
              </a:extLst>
            </p:cNvPr>
            <p:cNvSpPr txBox="1"/>
            <p:nvPr/>
          </p:nvSpPr>
          <p:spPr>
            <a:xfrm>
              <a:off x="7064937" y="6032238"/>
              <a:ext cx="2891817"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C</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ommercial </a:t>
              </a: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R</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eference </a:t>
              </a: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D</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esign</a:t>
              </a:r>
            </a:p>
          </p:txBody>
        </p:sp>
        <p:sp>
          <p:nvSpPr>
            <p:cNvPr id="1035" name="TextBox 1034">
              <a:extLst>
                <a:ext uri="{FF2B5EF4-FFF2-40B4-BE49-F238E27FC236}">
                  <a16:creationId xmlns:a16="http://schemas.microsoft.com/office/drawing/2014/main" id="{E4500471-DB0C-9691-1420-98E92F460B8B}"/>
                </a:ext>
              </a:extLst>
            </p:cNvPr>
            <p:cNvSpPr txBox="1"/>
            <p:nvPr/>
          </p:nvSpPr>
          <p:spPr>
            <a:xfrm>
              <a:off x="7880480" y="6367412"/>
              <a:ext cx="500137" cy="26590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CRD</a:t>
              </a:r>
            </a:p>
          </p:txBody>
        </p:sp>
        <p:cxnSp>
          <p:nvCxnSpPr>
            <p:cNvPr id="1036" name="Straight Arrow Connector 1035">
              <a:extLst>
                <a:ext uri="{FF2B5EF4-FFF2-40B4-BE49-F238E27FC236}">
                  <a16:creationId xmlns:a16="http://schemas.microsoft.com/office/drawing/2014/main" id="{C61D0684-3DED-9A3B-CA2B-D88C5F7BF4DC}"/>
                </a:ext>
              </a:extLst>
            </p:cNvPr>
            <p:cNvCxnSpPr>
              <a:cxnSpLocks/>
            </p:cNvCxnSpPr>
            <p:nvPr/>
          </p:nvCxnSpPr>
          <p:spPr>
            <a:xfrm flipV="1">
              <a:off x="6326484" y="3419399"/>
              <a:ext cx="3418407" cy="20888"/>
            </a:xfrm>
            <a:prstGeom prst="straightConnector1">
              <a:avLst/>
            </a:prstGeom>
            <a:noFill/>
            <a:ln w="9525" cap="flat" cmpd="sng" algn="ctr">
              <a:solidFill>
                <a:srgbClr val="FFC000"/>
              </a:solidFill>
              <a:prstDash val="solid"/>
              <a:headEnd type="triangle" w="med" len="med"/>
              <a:tailEnd type="triangle" w="med" len="med"/>
            </a:ln>
            <a:effectLst/>
          </p:spPr>
        </p:cxnSp>
        <p:sp>
          <p:nvSpPr>
            <p:cNvPr id="1037" name="TextBox 1036">
              <a:extLst>
                <a:ext uri="{FF2B5EF4-FFF2-40B4-BE49-F238E27FC236}">
                  <a16:creationId xmlns:a16="http://schemas.microsoft.com/office/drawing/2014/main" id="{03D6972B-637E-FE55-5101-86C02546D864}"/>
                </a:ext>
              </a:extLst>
            </p:cNvPr>
            <p:cNvSpPr txBox="1"/>
            <p:nvPr/>
          </p:nvSpPr>
          <p:spPr>
            <a:xfrm>
              <a:off x="7587337" y="3207723"/>
              <a:ext cx="1403817" cy="162480"/>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C71E"/>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n71 (617-698 MHz)</a:t>
              </a:r>
            </a:p>
          </p:txBody>
        </p:sp>
      </p:grpSp>
      <p:grpSp>
        <p:nvGrpSpPr>
          <p:cNvPr id="1044" name="Group 1043">
            <a:extLst>
              <a:ext uri="{FF2B5EF4-FFF2-40B4-BE49-F238E27FC236}">
                <a16:creationId xmlns:a16="http://schemas.microsoft.com/office/drawing/2014/main" id="{8416A8E6-6724-614C-39D1-8B4864127544}"/>
              </a:ext>
            </a:extLst>
          </p:cNvPr>
          <p:cNvGrpSpPr/>
          <p:nvPr/>
        </p:nvGrpSpPr>
        <p:grpSpPr>
          <a:xfrm>
            <a:off x="2320921" y="2829218"/>
            <a:ext cx="7423970" cy="3811599"/>
            <a:chOff x="2320921" y="2829218"/>
            <a:chExt cx="7423970" cy="3811599"/>
          </a:xfrm>
        </p:grpSpPr>
        <p:sp>
          <p:nvSpPr>
            <p:cNvPr id="1025" name="TextBox 1024">
              <a:extLst>
                <a:ext uri="{FF2B5EF4-FFF2-40B4-BE49-F238E27FC236}">
                  <a16:creationId xmlns:a16="http://schemas.microsoft.com/office/drawing/2014/main" id="{08A7123F-1179-F33D-FFF5-720921B9844F}"/>
                </a:ext>
              </a:extLst>
            </p:cNvPr>
            <p:cNvSpPr txBox="1"/>
            <p:nvPr/>
          </p:nvSpPr>
          <p:spPr>
            <a:xfrm>
              <a:off x="2619966" y="6032239"/>
              <a:ext cx="2789225"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Q</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ualcomm </a:t>
              </a: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R</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eference </a:t>
              </a:r>
              <a:r>
                <a:rPr kumimoji="0" lang="en-US" sz="16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D</a:t>
              </a: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esign</a:t>
              </a:r>
            </a:p>
          </p:txBody>
        </p:sp>
        <p:pic>
          <p:nvPicPr>
            <p:cNvPr id="1026" name="Picture 6" descr="The Antenna Company Announces Support for Qualcomm’s Fixed Wireless Access Ultra Gen-3 Platform ...">
              <a:extLst>
                <a:ext uri="{FF2B5EF4-FFF2-40B4-BE49-F238E27FC236}">
                  <a16:creationId xmlns:a16="http://schemas.microsoft.com/office/drawing/2014/main" id="{81A60853-3C63-63FB-B340-1405C470E65D}"/>
                </a:ext>
              </a:extLst>
            </p:cNvPr>
            <p:cNvPicPr>
              <a:picLocks noChangeAspect="1" noChangeArrowheads="1"/>
            </p:cNvPicPr>
            <p:nvPr/>
          </p:nvPicPr>
          <p:blipFill rotWithShape="1">
            <a:blip r:embed="rId4">
              <a:clrChange>
                <a:clrFrom>
                  <a:srgbClr val="D3D7E2"/>
                </a:clrFrom>
                <a:clrTo>
                  <a:srgbClr val="D3D7E2">
                    <a:alpha val="0"/>
                  </a:srgbClr>
                </a:clrTo>
              </a:clrChange>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l="2992" t="6831" r="55741" b="4963"/>
            <a:stretch/>
          </p:blipFill>
          <p:spPr bwMode="auto">
            <a:xfrm>
              <a:off x="2320921" y="3535518"/>
              <a:ext cx="1865121" cy="2242472"/>
            </a:xfrm>
            <a:prstGeom prst="rect">
              <a:avLst/>
            </a:prstGeom>
            <a:noFill/>
            <a:extLst>
              <a:ext uri="{909E8E84-426E-40DD-AFC4-6F175D3DCCD1}">
                <a14:hiddenFill xmlns:a14="http://schemas.microsoft.com/office/drawing/2010/main">
                  <a:solidFill>
                    <a:srgbClr val="FFFFFF"/>
                  </a:solidFill>
                </a14:hiddenFill>
              </a:ext>
            </a:extLst>
          </p:spPr>
        </p:pic>
        <p:grpSp>
          <p:nvGrpSpPr>
            <p:cNvPr id="1029" name="Group 1028">
              <a:extLst>
                <a:ext uri="{FF2B5EF4-FFF2-40B4-BE49-F238E27FC236}">
                  <a16:creationId xmlns:a16="http://schemas.microsoft.com/office/drawing/2014/main" id="{E06E8F67-4DFB-FDE3-DB30-F97F6D36BBA9}"/>
                </a:ext>
              </a:extLst>
            </p:cNvPr>
            <p:cNvGrpSpPr/>
            <p:nvPr/>
          </p:nvGrpSpPr>
          <p:grpSpPr>
            <a:xfrm>
              <a:off x="4417949" y="3570634"/>
              <a:ext cx="1468956" cy="2151087"/>
              <a:chOff x="8114303" y="2287760"/>
              <a:chExt cx="480156" cy="778537"/>
            </a:xfrm>
          </p:grpSpPr>
          <p:pic>
            <p:nvPicPr>
              <p:cNvPr id="1031" name="Picture 8" descr="A Quick Look at Qualcomm’s 5G Smartphone Reference Design">
                <a:extLst>
                  <a:ext uri="{FF2B5EF4-FFF2-40B4-BE49-F238E27FC236}">
                    <a16:creationId xmlns:a16="http://schemas.microsoft.com/office/drawing/2014/main" id="{D780153E-48D1-11AB-39AD-9773E967FF8F}"/>
                  </a:ext>
                </a:extLst>
              </p:cNvPr>
              <p:cNvPicPr>
                <a:picLocks noChangeAspect="1" noChangeArrowheads="1"/>
              </p:cNvPicPr>
              <p:nvPr/>
            </p:nvPicPr>
            <p:blipFill rotWithShape="1">
              <a:blip r:embed="rId6">
                <a:clrChange>
                  <a:clrFrom>
                    <a:srgbClr val="D0CDC4"/>
                  </a:clrFrom>
                  <a:clrTo>
                    <a:srgbClr val="D0CDC4">
                      <a:alpha val="0"/>
                    </a:srgbClr>
                  </a:clrTo>
                </a:clrChange>
                <a:extLst>
                  <a:ext uri="{28A0092B-C50C-407E-A947-70E740481C1C}">
                    <a14:useLocalDpi xmlns:a14="http://schemas.microsoft.com/office/drawing/2010/main" val="0"/>
                  </a:ext>
                </a:extLst>
              </a:blip>
              <a:srcRect l="5659" t="-844" b="-1"/>
              <a:stretch/>
            </p:blipFill>
            <p:spPr bwMode="auto">
              <a:xfrm>
                <a:off x="8203711" y="2403390"/>
                <a:ext cx="390748" cy="662907"/>
              </a:xfrm>
              <a:prstGeom prst="rect">
                <a:avLst/>
              </a:prstGeom>
              <a:noFill/>
              <a:extLst>
                <a:ext uri="{909E8E84-426E-40DD-AFC4-6F175D3DCCD1}">
                  <a14:hiddenFill xmlns:a14="http://schemas.microsoft.com/office/drawing/2010/main">
                    <a:solidFill>
                      <a:srgbClr val="FFFFFF"/>
                    </a:solidFill>
                  </a14:hiddenFill>
                </a:ext>
              </a:extLst>
            </p:spPr>
          </p:pic>
          <p:sp>
            <p:nvSpPr>
              <p:cNvPr id="1033" name="Rectangle 1032">
                <a:extLst>
                  <a:ext uri="{FF2B5EF4-FFF2-40B4-BE49-F238E27FC236}">
                    <a16:creationId xmlns:a16="http://schemas.microsoft.com/office/drawing/2014/main" id="{F532FA26-C7B9-EAD6-5BB1-7074BC51E05C}"/>
                  </a:ext>
                </a:extLst>
              </p:cNvPr>
              <p:cNvSpPr/>
              <p:nvPr/>
            </p:nvSpPr>
            <p:spPr>
              <a:xfrm>
                <a:off x="8114303" y="2287760"/>
                <a:ext cx="115938" cy="294300"/>
              </a:xfrm>
              <a:prstGeom prst="rect">
                <a:avLst/>
              </a:prstGeom>
              <a:solidFill>
                <a:srgbClr val="EF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sp>
          <p:nvSpPr>
            <p:cNvPr id="1034" name="TextBox 1033">
              <a:extLst>
                <a:ext uri="{FF2B5EF4-FFF2-40B4-BE49-F238E27FC236}">
                  <a16:creationId xmlns:a16="http://schemas.microsoft.com/office/drawing/2014/main" id="{7E2C4753-2347-7DD2-BC79-E41D26E768A6}"/>
                </a:ext>
              </a:extLst>
            </p:cNvPr>
            <p:cNvSpPr txBox="1"/>
            <p:nvPr/>
          </p:nvSpPr>
          <p:spPr>
            <a:xfrm>
              <a:off x="3622786" y="6374910"/>
              <a:ext cx="512961" cy="26590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QRD</a:t>
              </a:r>
            </a:p>
          </p:txBody>
        </p:sp>
        <p:cxnSp>
          <p:nvCxnSpPr>
            <p:cNvPr id="1039" name="Straight Arrow Connector 1038">
              <a:extLst>
                <a:ext uri="{FF2B5EF4-FFF2-40B4-BE49-F238E27FC236}">
                  <a16:creationId xmlns:a16="http://schemas.microsoft.com/office/drawing/2014/main" id="{3468D283-6BC7-D353-94C4-49866C4752D1}"/>
                </a:ext>
              </a:extLst>
            </p:cNvPr>
            <p:cNvCxnSpPr>
              <a:cxnSpLocks/>
            </p:cNvCxnSpPr>
            <p:nvPr/>
          </p:nvCxnSpPr>
          <p:spPr>
            <a:xfrm>
              <a:off x="3617873" y="3026517"/>
              <a:ext cx="6127018" cy="0"/>
            </a:xfrm>
            <a:prstGeom prst="straightConnector1">
              <a:avLst/>
            </a:prstGeom>
            <a:noFill/>
            <a:ln w="9525" cap="flat" cmpd="sng" algn="ctr">
              <a:solidFill>
                <a:srgbClr val="FFC000"/>
              </a:solidFill>
              <a:prstDash val="solid"/>
              <a:headEnd type="triangle" w="med" len="med"/>
              <a:tailEnd type="triangle" w="med" len="med"/>
            </a:ln>
            <a:effectLst/>
          </p:spPr>
        </p:cxnSp>
        <p:sp>
          <p:nvSpPr>
            <p:cNvPr id="1040" name="TextBox 1039">
              <a:extLst>
                <a:ext uri="{FF2B5EF4-FFF2-40B4-BE49-F238E27FC236}">
                  <a16:creationId xmlns:a16="http://schemas.microsoft.com/office/drawing/2014/main" id="{BC3DB16A-7C20-13E9-8C13-A0287C79F8F1}"/>
                </a:ext>
              </a:extLst>
            </p:cNvPr>
            <p:cNvSpPr txBox="1"/>
            <p:nvPr/>
          </p:nvSpPr>
          <p:spPr>
            <a:xfrm>
              <a:off x="4407398" y="2829218"/>
              <a:ext cx="1403817" cy="162480"/>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C71E"/>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550Mhz and higher</a:t>
              </a:r>
            </a:p>
          </p:txBody>
        </p:sp>
      </p:grpSp>
      <p:grpSp>
        <p:nvGrpSpPr>
          <p:cNvPr id="1043" name="Group 1042">
            <a:extLst>
              <a:ext uri="{FF2B5EF4-FFF2-40B4-BE49-F238E27FC236}">
                <a16:creationId xmlns:a16="http://schemas.microsoft.com/office/drawing/2014/main" id="{271BD2BB-C4D2-AF24-7C4E-6D0B8E65382D}"/>
              </a:ext>
            </a:extLst>
          </p:cNvPr>
          <p:cNvGrpSpPr/>
          <p:nvPr/>
        </p:nvGrpSpPr>
        <p:grpSpPr>
          <a:xfrm>
            <a:off x="186876" y="1300381"/>
            <a:ext cx="9725633" cy="1630466"/>
            <a:chOff x="186876" y="1300381"/>
            <a:chExt cx="9725633" cy="1630466"/>
          </a:xfrm>
        </p:grpSpPr>
        <p:sp>
          <p:nvSpPr>
            <p:cNvPr id="61" name="Arrow: Left-Right 60">
              <a:extLst>
                <a:ext uri="{FF2B5EF4-FFF2-40B4-BE49-F238E27FC236}">
                  <a16:creationId xmlns:a16="http://schemas.microsoft.com/office/drawing/2014/main" id="{EBA2BBA6-D571-CA9B-6756-B19E7882DF6F}"/>
                </a:ext>
              </a:extLst>
            </p:cNvPr>
            <p:cNvSpPr/>
            <p:nvPr/>
          </p:nvSpPr>
          <p:spPr>
            <a:xfrm>
              <a:off x="1878796" y="2016878"/>
              <a:ext cx="8033713" cy="400893"/>
            </a:xfrm>
            <a:prstGeom prst="leftRightArrow">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Band 108 (470-698Mhz)</a:t>
              </a:r>
            </a:p>
          </p:txBody>
        </p:sp>
        <p:sp>
          <p:nvSpPr>
            <p:cNvPr id="62" name="Arrow: Left-Right 61">
              <a:extLst>
                <a:ext uri="{FF2B5EF4-FFF2-40B4-BE49-F238E27FC236}">
                  <a16:creationId xmlns:a16="http://schemas.microsoft.com/office/drawing/2014/main" id="{0C555F57-CB7E-5FE3-19F2-A1555C6DAEAD}"/>
                </a:ext>
              </a:extLst>
            </p:cNvPr>
            <p:cNvSpPr/>
            <p:nvPr/>
          </p:nvSpPr>
          <p:spPr>
            <a:xfrm>
              <a:off x="5779436" y="2339980"/>
              <a:ext cx="3326794" cy="400893"/>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Band 107 (612-652Mhz)</a:t>
              </a:r>
            </a:p>
          </p:txBody>
        </p:sp>
        <p:sp>
          <p:nvSpPr>
            <p:cNvPr id="63" name="Arrow: Left-Right 62">
              <a:extLst>
                <a:ext uri="{FF2B5EF4-FFF2-40B4-BE49-F238E27FC236}">
                  <a16:creationId xmlns:a16="http://schemas.microsoft.com/office/drawing/2014/main" id="{059A0B54-DE91-3FE0-782F-5A37A816CE72}"/>
                </a:ext>
              </a:extLst>
            </p:cNvPr>
            <p:cNvSpPr/>
            <p:nvPr/>
          </p:nvSpPr>
          <p:spPr>
            <a:xfrm>
              <a:off x="1878796" y="1300381"/>
              <a:ext cx="3900640" cy="400893"/>
            </a:xfrm>
            <a:prstGeom prst="leftRightArrow">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Band 112 (470-608Mhz)</a:t>
              </a:r>
            </a:p>
          </p:txBody>
        </p:sp>
        <p:sp>
          <p:nvSpPr>
            <p:cNvPr id="1024" name="Arrow: Left-Right 1023">
              <a:extLst>
                <a:ext uri="{FF2B5EF4-FFF2-40B4-BE49-F238E27FC236}">
                  <a16:creationId xmlns:a16="http://schemas.microsoft.com/office/drawing/2014/main" id="{636A975B-BF03-446F-6B59-B8B8E41A7660}"/>
                </a:ext>
              </a:extLst>
            </p:cNvPr>
            <p:cNvSpPr/>
            <p:nvPr/>
          </p:nvSpPr>
          <p:spPr>
            <a:xfrm>
              <a:off x="5514905" y="1623483"/>
              <a:ext cx="4349103" cy="400893"/>
            </a:xfrm>
            <a:prstGeom prst="lef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Band 113 (606-698Mhz)</a:t>
              </a:r>
            </a:p>
          </p:txBody>
        </p:sp>
        <p:sp>
          <p:nvSpPr>
            <p:cNvPr id="1042" name="TextBox 1041">
              <a:extLst>
                <a:ext uri="{FF2B5EF4-FFF2-40B4-BE49-F238E27FC236}">
                  <a16:creationId xmlns:a16="http://schemas.microsoft.com/office/drawing/2014/main" id="{82E3A0AC-320B-6D76-C5ED-D8AAE449CCBD}"/>
                </a:ext>
              </a:extLst>
            </p:cNvPr>
            <p:cNvSpPr txBox="1"/>
            <p:nvPr/>
          </p:nvSpPr>
          <p:spPr>
            <a:xfrm>
              <a:off x="186876" y="1985460"/>
              <a:ext cx="1485169" cy="945387"/>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3GPP defined receive-only broadcast bands</a:t>
              </a:r>
            </a:p>
          </p:txBody>
        </p:sp>
      </p:grpSp>
      <p:sp>
        <p:nvSpPr>
          <p:cNvPr id="4" name="Footer Placeholder 3">
            <a:extLst>
              <a:ext uri="{FF2B5EF4-FFF2-40B4-BE49-F238E27FC236}">
                <a16:creationId xmlns:a16="http://schemas.microsoft.com/office/drawing/2014/main" id="{F34B3EF3-B67C-55E8-DBE7-1141C41D85DB}"/>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370329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31C851-256E-0CB6-59C6-53E3EA359CBF}"/>
              </a:ext>
            </a:extLst>
          </p:cNvPr>
          <p:cNvSpPr>
            <a:spLocks noGrp="1"/>
          </p:cNvSpPr>
          <p:nvPr>
            <p:ph sz="quarter" idx="10"/>
          </p:nvPr>
        </p:nvSpPr>
        <p:spPr/>
        <p:txBody>
          <a:bodyPr>
            <a:normAutofit/>
          </a:bodyPr>
          <a:lstStyle/>
          <a:p>
            <a:r>
              <a:rPr lang="en-US" sz="4800" dirty="0"/>
              <a:t>5G Broadcast for Qualcomm</a:t>
            </a:r>
          </a:p>
          <a:p>
            <a:r>
              <a:rPr lang="en-US" sz="4800" dirty="0"/>
              <a:t>Standards</a:t>
            </a:r>
          </a:p>
          <a:p>
            <a:r>
              <a:rPr lang="en-US" sz="4800" dirty="0"/>
              <a:t>Technologies</a:t>
            </a:r>
          </a:p>
          <a:p>
            <a:r>
              <a:rPr lang="en-US" sz="4800" dirty="0"/>
              <a:t>Adoption Path</a:t>
            </a:r>
          </a:p>
        </p:txBody>
      </p:sp>
    </p:spTree>
    <p:extLst>
      <p:ext uri="{BB962C8B-B14F-4D97-AF65-F5344CB8AC3E}">
        <p14:creationId xmlns:p14="http://schemas.microsoft.com/office/powerpoint/2010/main" val="324568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D4A5B356-7281-302E-EB9A-5662912D81AA}"/>
              </a:ext>
            </a:extLst>
          </p:cNvPr>
          <p:cNvGraphicFramePr/>
          <p:nvPr>
            <p:extLst>
              <p:ext uri="{D42A27DB-BD31-4B8C-83A1-F6EECF244321}">
                <p14:modId xmlns:p14="http://schemas.microsoft.com/office/powerpoint/2010/main" val="2299960614"/>
              </p:ext>
            </p:extLst>
          </p:nvPr>
        </p:nvGraphicFramePr>
        <p:xfrm>
          <a:off x="833719" y="242047"/>
          <a:ext cx="11044516" cy="62483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ooter Placeholder 9">
            <a:extLst>
              <a:ext uri="{FF2B5EF4-FFF2-40B4-BE49-F238E27FC236}">
                <a16:creationId xmlns:a16="http://schemas.microsoft.com/office/drawing/2014/main" id="{2FA61489-7D2B-D81C-12C5-A3F4D7008CD9}"/>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245840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6C25CF88-5CBE-4148-8034-0A6A56AB4124}"/>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graphicEl>
                                              <a:dgm id="{5B64F774-3DA4-43F1-9F94-CC6471A1899B}"/>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graphicEl>
                                              <a:dgm id="{2A377818-515F-446A-BAEC-7BF1BB2C3954}"/>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graphicEl>
                                              <a:dgm id="{4DD5D522-3BCD-4540-B8C6-B6D4883DF1C5}"/>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graphicEl>
                                              <a:dgm id="{6DFFB650-5E3D-411B-A7C5-DB6CDA83B7AF}"/>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graphicEl>
                                              <a:dgm id="{003AE034-038E-44A6-A789-D9FC8053BAFE}"/>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graphicEl>
                                              <a:dgm id="{77FEFFDA-F0FF-4248-8E56-B2C565C42EF6}"/>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graphicEl>
                                              <a:dgm id="{B32D2186-26B7-49C3-87E3-A04B344BD735}"/>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graphicEl>
                                              <a:dgm id="{D59A891D-2475-4C92-9241-9B5DFE372351}"/>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graphicEl>
                                              <a:dgm id="{AD28C696-A664-4B93-8474-1271A2945BCC}"/>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graphicEl>
                                              <a:dgm id="{A2FAA643-2175-451B-B0B3-FCDE5DD084E9}"/>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7">
                                            <p:graphicEl>
                                              <a:dgm id="{9C670752-98F3-459F-BF4A-8D12CE95A93C}"/>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
                                            <p:graphicEl>
                                              <a:dgm id="{E1EB28D9-D921-4E76-8682-6A0EFE839E4F}"/>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graphicEl>
                                              <a:dgm id="{FF95AD77-2631-444D-A95B-26372ECCA71C}"/>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
                                            <p:graphicEl>
                                              <a:dgm id="{CE8C9198-E3D9-4F5E-948C-F8DB93219873}"/>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graphicEl>
                                              <a:dgm id="{6AC74C17-4678-4232-BBDE-AEB4078522A9}"/>
                                            </p:graphic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
                                            <p:graphicEl>
                                              <a:dgm id="{E4071922-FA39-4936-BC6C-6F9869F94C9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42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65125"/>
            <a:ext cx="11187112" cy="439479"/>
          </a:xfrm>
        </p:spPr>
        <p:txBody>
          <a:bodyPr/>
          <a:lstStyle/>
          <a:p>
            <a:r>
              <a:rPr lang="en-US" spc="-151"/>
              <a:t>General technology introduction</a:t>
            </a:r>
            <a:endParaRPr lang="en-US"/>
          </a:p>
        </p:txBody>
      </p:sp>
      <p:sp>
        <p:nvSpPr>
          <p:cNvPr id="3" name="Content Placeholder 2">
            <a:extLst>
              <a:ext uri="{FF2B5EF4-FFF2-40B4-BE49-F238E27FC236}">
                <a16:creationId xmlns:a16="http://schemas.microsoft.com/office/drawing/2014/main" id="{9EC1CCEB-3125-433C-AAF7-F7487D795A9E}"/>
              </a:ext>
            </a:extLst>
          </p:cNvPr>
          <p:cNvSpPr>
            <a:spLocks noGrp="1"/>
          </p:cNvSpPr>
          <p:nvPr>
            <p:ph sz="quarter" idx="14"/>
          </p:nvPr>
        </p:nvSpPr>
        <p:spPr>
          <a:xfrm>
            <a:off x="495300" y="1719072"/>
            <a:ext cx="11187112" cy="4681727"/>
          </a:xfrm>
        </p:spPr>
        <p:txBody>
          <a:bodyPr/>
          <a:lstStyle/>
          <a:p>
            <a:r>
              <a:rPr lang="en-US" sz="2000"/>
              <a:t>“5G broadcast” is a broadcasting standard defined by 3GPP (Release 16 - 2020)</a:t>
            </a:r>
          </a:p>
          <a:p>
            <a:pPr lvl="1"/>
            <a:r>
              <a:rPr lang="en-US"/>
              <a:t>3GPP is the industry group responsible for defining global cellular tech standards (e.g. 4G / 5G)</a:t>
            </a:r>
          </a:p>
          <a:p>
            <a:pPr lvl="1"/>
            <a:r>
              <a:rPr lang="en-US"/>
              <a:t>In the last few years 3GPP has expanded to new </a:t>
            </a:r>
            <a:r>
              <a:rPr lang="en-US" i="1">
                <a:solidFill>
                  <a:srgbClr val="FF0000"/>
                </a:solidFill>
              </a:rPr>
              <a:t>verticals</a:t>
            </a:r>
            <a:r>
              <a:rPr lang="en-US"/>
              <a:t> (e.g. broadcast, automotive, satellite, etc.) hence it should not be regarded as a surprise that a broadcasting tech is coming out of 3GPP</a:t>
            </a:r>
          </a:p>
          <a:p>
            <a:pPr lvl="1"/>
            <a:endParaRPr lang="en-US"/>
          </a:p>
          <a:p>
            <a:r>
              <a:rPr lang="en-US" sz="2000"/>
              <a:t>Even though 5G Broadcast has been standardized by 3GPP, </a:t>
            </a:r>
            <a:r>
              <a:rPr lang="en-US" sz="2000" b="1" u="sng"/>
              <a:t>it is a broadcasting technology</a:t>
            </a:r>
          </a:p>
          <a:p>
            <a:pPr lvl="1"/>
            <a:r>
              <a:rPr lang="en-US"/>
              <a:t>I.e. meant to be used by </a:t>
            </a:r>
            <a:r>
              <a:rPr lang="en-US">
                <a:solidFill>
                  <a:srgbClr val="FF0000"/>
                </a:solidFill>
              </a:rPr>
              <a:t>broadcasting operators</a:t>
            </a:r>
            <a:r>
              <a:rPr lang="en-US"/>
              <a:t>, in </a:t>
            </a:r>
            <a:r>
              <a:rPr lang="en-US">
                <a:solidFill>
                  <a:srgbClr val="FF0000"/>
                </a:solidFill>
              </a:rPr>
              <a:t>broadcasting spectrum</a:t>
            </a:r>
          </a:p>
          <a:p>
            <a:pPr lvl="1"/>
            <a:r>
              <a:rPr lang="en-US"/>
              <a:t>No need of supporting a unicast network. 5G Broadcast does not have anything to do with unicast</a:t>
            </a:r>
          </a:p>
          <a:p>
            <a:pPr lvl="1"/>
            <a:endParaRPr lang="en-US"/>
          </a:p>
          <a:p>
            <a:r>
              <a:rPr lang="en-US" sz="2000"/>
              <a:t>The main design target &amp; “reason for being” of 5G broadcast is to enable operation of a broadcast network where the receivers are </a:t>
            </a:r>
            <a:r>
              <a:rPr lang="en-US" sz="2000">
                <a:solidFill>
                  <a:schemeClr val="bg2"/>
                </a:solidFill>
              </a:rPr>
              <a:t>hardware-compatible</a:t>
            </a:r>
            <a:r>
              <a:rPr lang="en-US" sz="2000">
                <a:solidFill>
                  <a:srgbClr val="FF0000"/>
                </a:solidFill>
              </a:rPr>
              <a:t> </a:t>
            </a:r>
            <a:r>
              <a:rPr lang="en-US" sz="2000"/>
              <a:t>with cellular modems</a:t>
            </a:r>
          </a:p>
          <a:p>
            <a:pPr lvl="1"/>
            <a:r>
              <a:rPr lang="en-US"/>
              <a:t>“Hardware compatible” means lower barrier to adoption in mobile devices compared to other broadcasting technologies</a:t>
            </a:r>
          </a:p>
          <a:p>
            <a:pPr lvl="2"/>
            <a:r>
              <a:rPr lang="en-US" sz="1400"/>
              <a:t>This is because several 5G Broadcast building blocks are already there in a 4G/5G modem, hence the additions are marginal. </a:t>
            </a:r>
          </a:p>
          <a:p>
            <a:pPr lvl="2"/>
            <a:r>
              <a:rPr lang="en-US" sz="1400"/>
              <a:t>For other technologies, a separate piece of silicon / die area would be required</a:t>
            </a:r>
          </a:p>
          <a:p>
            <a:pPr lvl="1"/>
            <a:r>
              <a:rPr lang="en-US"/>
              <a:t>To be clear, 5G Broadcast has nothing to do with “cellular operators trying to take over from broadcasters”</a:t>
            </a:r>
            <a:endParaRPr lang="en-US" sz="1400"/>
          </a:p>
        </p:txBody>
      </p:sp>
      <p:sp>
        <p:nvSpPr>
          <p:cNvPr id="5" name="Subtitle 4">
            <a:extLst>
              <a:ext uri="{FF2B5EF4-FFF2-40B4-BE49-F238E27FC236}">
                <a16:creationId xmlns:a16="http://schemas.microsoft.com/office/drawing/2014/main" id="{A562B7B8-CF1C-28E3-6C25-8A2EC2B992A8}"/>
              </a:ext>
            </a:extLst>
          </p:cNvPr>
          <p:cNvSpPr>
            <a:spLocks noGrp="1"/>
          </p:cNvSpPr>
          <p:nvPr>
            <p:ph type="subTitle" idx="1"/>
          </p:nvPr>
        </p:nvSpPr>
        <p:spPr>
          <a:xfrm>
            <a:off x="494189" y="1088135"/>
            <a:ext cx="11188223" cy="265907"/>
          </a:xfrm>
        </p:spPr>
        <p:txBody>
          <a:bodyPr/>
          <a:lstStyle/>
          <a:p>
            <a:r>
              <a:rPr lang="en-US"/>
              <a:t>5G broadcast and 3GPP</a:t>
            </a:r>
          </a:p>
        </p:txBody>
      </p:sp>
      <p:sp>
        <p:nvSpPr>
          <p:cNvPr id="4" name="Footer Placeholder 3">
            <a:extLst>
              <a:ext uri="{FF2B5EF4-FFF2-40B4-BE49-F238E27FC236}">
                <a16:creationId xmlns:a16="http://schemas.microsoft.com/office/drawing/2014/main" id="{57B7E9C5-7389-C4B2-EFDA-D494EADC1E5B}"/>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17146262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2ECD694-4D71-17F4-73D1-AE95E5129CEB}"/>
              </a:ext>
            </a:extLst>
          </p:cNvPr>
          <p:cNvSpPr>
            <a:spLocks noGrp="1"/>
          </p:cNvSpPr>
          <p:nvPr>
            <p:ph type="title"/>
          </p:nvPr>
        </p:nvSpPr>
        <p:spPr>
          <a:xfrm>
            <a:off x="495300" y="642644"/>
            <a:ext cx="11187112" cy="361959"/>
          </a:xfrm>
        </p:spPr>
        <p:txBody>
          <a:bodyPr/>
          <a:lstStyle/>
          <a:p>
            <a:r>
              <a:rPr lang="de-DE"/>
              <a:t>5G Broadcast and other radio technologies</a:t>
            </a:r>
            <a:endParaRPr lang="en-US"/>
          </a:p>
        </p:txBody>
      </p:sp>
      <p:sp>
        <p:nvSpPr>
          <p:cNvPr id="9" name="Content Placeholder 8">
            <a:extLst>
              <a:ext uri="{FF2B5EF4-FFF2-40B4-BE49-F238E27FC236}">
                <a16:creationId xmlns:a16="http://schemas.microsoft.com/office/drawing/2014/main" id="{95531C19-C4EC-8112-5FC1-6F8EBBE7C6BA}"/>
              </a:ext>
            </a:extLst>
          </p:cNvPr>
          <p:cNvSpPr>
            <a:spLocks noGrp="1"/>
          </p:cNvSpPr>
          <p:nvPr>
            <p:ph sz="quarter" idx="14"/>
          </p:nvPr>
        </p:nvSpPr>
        <p:spPr/>
        <p:txBody>
          <a:bodyPr/>
          <a:lstStyle/>
          <a:p>
            <a:endParaRPr lang="en-US"/>
          </a:p>
          <a:p>
            <a:pPr lvl="1"/>
            <a:endParaRPr lang="de-DE"/>
          </a:p>
          <a:p>
            <a:pPr lvl="1"/>
            <a:endParaRPr lang="en-US"/>
          </a:p>
        </p:txBody>
      </p:sp>
      <p:sp>
        <p:nvSpPr>
          <p:cNvPr id="8" name="Subtitle 7">
            <a:extLst>
              <a:ext uri="{FF2B5EF4-FFF2-40B4-BE49-F238E27FC236}">
                <a16:creationId xmlns:a16="http://schemas.microsoft.com/office/drawing/2014/main" id="{0D6AF231-DC44-2F27-2534-8C38EF71A55C}"/>
              </a:ext>
            </a:extLst>
          </p:cNvPr>
          <p:cNvSpPr>
            <a:spLocks noGrp="1"/>
          </p:cNvSpPr>
          <p:nvPr>
            <p:ph type="subTitle" idx="1"/>
          </p:nvPr>
        </p:nvSpPr>
        <p:spPr/>
        <p:txBody>
          <a:bodyPr/>
          <a:lstStyle/>
          <a:p>
            <a:r>
              <a:rPr lang="de-DE"/>
              <a:t>5G Broadcast is generally </a:t>
            </a:r>
            <a:r>
              <a:rPr lang="de-DE">
                <a:solidFill>
                  <a:srgbClr val="FF40FF"/>
                </a:solidFill>
              </a:rPr>
              <a:t>not</a:t>
            </a:r>
            <a:r>
              <a:rPr lang="de-DE"/>
              <a:t> expected to be deployed as </a:t>
            </a:r>
            <a:r>
              <a:rPr lang="de-DE">
                <a:solidFill>
                  <a:srgbClr val="FF40FF"/>
                </a:solidFill>
              </a:rPr>
              <a:t>greenfield</a:t>
            </a:r>
            <a:r>
              <a:rPr lang="de-DE"/>
              <a:t> or as </a:t>
            </a:r>
            <a:r>
              <a:rPr lang="de-DE">
                <a:solidFill>
                  <a:srgbClr val="FF40FF"/>
                </a:solidFill>
              </a:rPr>
              <a:t>standalone</a:t>
            </a:r>
            <a:r>
              <a:rPr lang="de-DE"/>
              <a:t> technology</a:t>
            </a:r>
            <a:endParaRPr lang="en-US"/>
          </a:p>
        </p:txBody>
      </p:sp>
      <p:pic>
        <p:nvPicPr>
          <p:cNvPr id="1028" name="Picture 4">
            <a:extLst>
              <a:ext uri="{FF2B5EF4-FFF2-40B4-BE49-F238E27FC236}">
                <a16:creationId xmlns:a16="http://schemas.microsoft.com/office/drawing/2014/main" id="{BEB6125A-36C9-ED15-6C5D-B18B441369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21" y="1624426"/>
            <a:ext cx="8766164" cy="44488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953B0BB-5A3C-22AA-6449-E5420170AA4B}"/>
              </a:ext>
            </a:extLst>
          </p:cNvPr>
          <p:cNvSpPr txBox="1"/>
          <p:nvPr/>
        </p:nvSpPr>
        <p:spPr>
          <a:xfrm>
            <a:off x="9738638" y="299723"/>
            <a:ext cx="2039340" cy="12003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3171F"/>
                </a:solidFill>
                <a:effectLst/>
                <a:uLnTx/>
                <a:uFillTx/>
                <a:latin typeface="Microsoft Sans Serif"/>
                <a:ea typeface="+mn-ea"/>
                <a:cs typeface="+mn-cs"/>
              </a:rPr>
              <a:t>Cellular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53DC"/>
                </a:solidFill>
                <a:effectLst/>
                <a:uLnTx/>
                <a:uFillTx/>
                <a:latin typeface="Microsoft Sans Serif"/>
                <a:ea typeface="+mn-ea"/>
                <a:cs typeface="+mn-cs"/>
              </a:rPr>
              <a:t>5G</a:t>
            </a:r>
            <a:r>
              <a:rPr kumimoji="0" lang="en-US" sz="1800" b="1" i="0" u="none" strike="noStrike" kern="1200" cap="none" spc="0" normalizeH="0" baseline="0" noProof="0">
                <a:ln>
                  <a:noFill/>
                </a:ln>
                <a:solidFill>
                  <a:srgbClr val="13171F"/>
                </a:solidFill>
                <a:effectLst/>
                <a:uLnTx/>
                <a:uFillTx/>
                <a:latin typeface="Microsoft Sans Serif"/>
                <a:ea typeface="+mn-ea"/>
                <a:cs typeface="+mn-cs"/>
              </a:rPr>
              <a:t> </a:t>
            </a:r>
            <a:r>
              <a:rPr kumimoji="0" lang="en-US" sz="1800" b="1" i="0" u="none" strike="noStrike" kern="1200" cap="none" spc="0" normalizeH="0" baseline="0" noProof="0">
                <a:ln>
                  <a:noFill/>
                </a:ln>
                <a:solidFill>
                  <a:srgbClr val="2853DC"/>
                </a:solidFill>
                <a:effectLst/>
                <a:uLnTx/>
                <a:uFillTx/>
                <a:latin typeface="Microsoft Sans Serif"/>
                <a:ea typeface="+mn-ea"/>
                <a:cs typeface="+mn-cs"/>
              </a:rPr>
              <a:t>Broadcast</a:t>
            </a:r>
            <a:r>
              <a:rPr kumimoji="0" lang="en-US" sz="1800" b="1" i="0" u="none" strike="noStrike" kern="1200" cap="none" spc="0" normalizeH="0" baseline="0" noProof="0">
                <a:ln>
                  <a:noFill/>
                </a:ln>
                <a:solidFill>
                  <a:srgbClr val="13171F"/>
                </a:solidFill>
                <a:effectLst/>
                <a:uLnTx/>
                <a:uFillTx/>
                <a:latin typeface="Microsoft Sans Serif"/>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outerShdw blurRad="38100" dist="38100" dir="2700000" algn="tl">
                    <a:srgbClr val="000000">
                      <a:alpha val="43137"/>
                    </a:srgbClr>
                  </a:outerShdw>
                </a:effectLst>
                <a:uLnTx/>
                <a:uFillTx/>
                <a:latin typeface="Microsoft Sans Serif"/>
                <a:ea typeface="+mn-ea"/>
                <a:cs typeface="+mn-cs"/>
              </a:rPr>
              <a:t>Converged</a:t>
            </a:r>
            <a:r>
              <a:rPr kumimoji="0" lang="en-US" sz="1800" b="1" i="0" u="none" strike="noStrike" kern="1200" cap="none" spc="0" normalizeH="0" baseline="0" noProof="0">
                <a:ln>
                  <a:noFill/>
                </a:ln>
                <a:solidFill>
                  <a:srgbClr val="13171F"/>
                </a:solidFill>
                <a:effectLst/>
                <a:uLnTx/>
                <a:uFillTx/>
                <a:latin typeface="Microsoft Sans Serif"/>
                <a:ea typeface="+mn-ea"/>
                <a:cs typeface="+mn-cs"/>
              </a:rPr>
              <a:t> – </a:t>
            </a:r>
            <a:br>
              <a:rPr kumimoji="0" lang="en-US" sz="1800" b="1" i="0" u="none" strike="noStrike" kern="1200" cap="none" spc="0" normalizeH="0" baseline="0" noProof="0">
                <a:ln>
                  <a:noFill/>
                </a:ln>
                <a:solidFill>
                  <a:srgbClr val="13171F"/>
                </a:solidFill>
                <a:effectLst/>
                <a:uLnTx/>
                <a:uFillTx/>
                <a:latin typeface="Microsoft Sans Serif"/>
                <a:ea typeface="+mn-ea"/>
                <a:cs typeface="+mn-cs"/>
              </a:rPr>
            </a:br>
            <a:r>
              <a:rPr kumimoji="0" lang="en-US" sz="1800" b="1" i="0" u="none" strike="noStrike" kern="1200" cap="none" spc="0" normalizeH="0" baseline="0" noProof="0">
                <a:ln>
                  <a:noFill/>
                </a:ln>
                <a:solidFill>
                  <a:srgbClr val="13171F"/>
                </a:solidFill>
                <a:effectLst/>
                <a:uLnTx/>
                <a:uFillTx/>
                <a:latin typeface="Microsoft Sans Serif"/>
                <a:ea typeface="+mn-ea"/>
                <a:cs typeface="+mn-cs"/>
              </a:rPr>
              <a:t>Apps and Devices</a:t>
            </a:r>
          </a:p>
        </p:txBody>
      </p:sp>
      <p:sp>
        <p:nvSpPr>
          <p:cNvPr id="5" name="TextBox 4">
            <a:extLst>
              <a:ext uri="{FF2B5EF4-FFF2-40B4-BE49-F238E27FC236}">
                <a16:creationId xmlns:a16="http://schemas.microsoft.com/office/drawing/2014/main" id="{D7EAADE8-09A9-3A77-40B6-9E21B08CB842}"/>
              </a:ext>
            </a:extLst>
          </p:cNvPr>
          <p:cNvSpPr txBox="1"/>
          <p:nvPr/>
        </p:nvSpPr>
        <p:spPr>
          <a:xfrm>
            <a:off x="10796620" y="1674297"/>
            <a:ext cx="105990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71F"/>
                </a:solidFill>
                <a:effectLst/>
                <a:uLnTx/>
                <a:uFillTx/>
                <a:latin typeface="Microsoft Sans Serif"/>
                <a:ea typeface="+mn-ea"/>
                <a:cs typeface="+mn-cs"/>
              </a:rPr>
              <a:t>Linear T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71F"/>
                </a:solidFill>
                <a:effectLst/>
                <a:uLnTx/>
                <a:uFillTx/>
                <a:latin typeface="Microsoft Sans Serif"/>
                <a:ea typeface="+mn-ea"/>
                <a:cs typeface="+mn-cs"/>
              </a:rPr>
              <a:t>Radio</a:t>
            </a:r>
          </a:p>
        </p:txBody>
      </p:sp>
      <p:cxnSp>
        <p:nvCxnSpPr>
          <p:cNvPr id="6" name="Straight Arrow Connector 5">
            <a:extLst>
              <a:ext uri="{FF2B5EF4-FFF2-40B4-BE49-F238E27FC236}">
                <a16:creationId xmlns:a16="http://schemas.microsoft.com/office/drawing/2014/main" id="{A9B8850D-344B-40AE-8427-79F67A7C8A39}"/>
              </a:ext>
            </a:extLst>
          </p:cNvPr>
          <p:cNvCxnSpPr>
            <a:stCxn id="5" idx="2"/>
          </p:cNvCxnSpPr>
          <p:nvPr/>
        </p:nvCxnSpPr>
        <p:spPr>
          <a:xfrm>
            <a:off x="11326573" y="2320628"/>
            <a:ext cx="0" cy="380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Graphic 9" descr="Cell Tower outline">
            <a:extLst>
              <a:ext uri="{FF2B5EF4-FFF2-40B4-BE49-F238E27FC236}">
                <a16:creationId xmlns:a16="http://schemas.microsoft.com/office/drawing/2014/main" id="{489E86A5-15FB-4DFF-D801-D3F922B35F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52998" y="2829772"/>
            <a:ext cx="914400" cy="914400"/>
          </a:xfrm>
          <a:prstGeom prst="rect">
            <a:avLst/>
          </a:prstGeom>
        </p:spPr>
      </p:pic>
      <p:pic>
        <p:nvPicPr>
          <p:cNvPr id="11" name="Graphic 10" descr="Smart Phone outline">
            <a:extLst>
              <a:ext uri="{FF2B5EF4-FFF2-40B4-BE49-F238E27FC236}">
                <a16:creationId xmlns:a16="http://schemas.microsoft.com/office/drawing/2014/main" id="{55EB9F98-EEBE-F519-BE86-2EF74C3876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25083" y="4426230"/>
            <a:ext cx="724988" cy="724988"/>
          </a:xfrm>
          <a:prstGeom prst="rect">
            <a:avLst/>
          </a:prstGeom>
        </p:spPr>
      </p:pic>
      <p:sp>
        <p:nvSpPr>
          <p:cNvPr id="12" name="Rectangle 11">
            <a:extLst>
              <a:ext uri="{FF2B5EF4-FFF2-40B4-BE49-F238E27FC236}">
                <a16:creationId xmlns:a16="http://schemas.microsoft.com/office/drawing/2014/main" id="{4217039F-CAD5-634E-4F5C-7E2511AFDE18}"/>
              </a:ext>
            </a:extLst>
          </p:cNvPr>
          <p:cNvSpPr/>
          <p:nvPr/>
        </p:nvSpPr>
        <p:spPr>
          <a:xfrm>
            <a:off x="9769931" y="5157215"/>
            <a:ext cx="1744373" cy="2699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7F8FA"/>
                </a:solidFill>
                <a:effectLst/>
                <a:uLnTx/>
                <a:uFillTx/>
                <a:latin typeface="Microsoft Sans Serif"/>
                <a:ea typeface="+mn-ea"/>
                <a:cs typeface="+mn-cs"/>
              </a:rPr>
              <a:t>Cellular Modem</a:t>
            </a:r>
          </a:p>
        </p:txBody>
      </p:sp>
      <p:cxnSp>
        <p:nvCxnSpPr>
          <p:cNvPr id="13" name="Straight Connector 12">
            <a:extLst>
              <a:ext uri="{FF2B5EF4-FFF2-40B4-BE49-F238E27FC236}">
                <a16:creationId xmlns:a16="http://schemas.microsoft.com/office/drawing/2014/main" id="{5FB9E582-DE26-A136-0EE0-9C2245BCFB77}"/>
              </a:ext>
            </a:extLst>
          </p:cNvPr>
          <p:cNvCxnSpPr>
            <a:cxnSpLocks/>
            <a:endCxn id="11" idx="0"/>
          </p:cNvCxnSpPr>
          <p:nvPr/>
        </p:nvCxnSpPr>
        <p:spPr>
          <a:xfrm flipH="1">
            <a:off x="10587577" y="3744172"/>
            <a:ext cx="730345" cy="68205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06B363-E481-214E-1D2C-B8EF3579D07E}"/>
              </a:ext>
            </a:extLst>
          </p:cNvPr>
          <p:cNvSpPr txBox="1"/>
          <p:nvPr/>
        </p:nvSpPr>
        <p:spPr>
          <a:xfrm>
            <a:off x="10127052" y="5483100"/>
            <a:ext cx="17236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Microsoft Sans Serif"/>
                <a:ea typeface="+mn-ea"/>
                <a:cs typeface="+mn-cs"/>
              </a:rPr>
              <a:t>UHF band support</a:t>
            </a:r>
          </a:p>
        </p:txBody>
      </p:sp>
      <p:sp>
        <p:nvSpPr>
          <p:cNvPr id="15" name="Cross 14">
            <a:extLst>
              <a:ext uri="{FF2B5EF4-FFF2-40B4-BE49-F238E27FC236}">
                <a16:creationId xmlns:a16="http://schemas.microsoft.com/office/drawing/2014/main" id="{7D786F13-F042-E3FE-6031-611EBC313F69}"/>
              </a:ext>
            </a:extLst>
          </p:cNvPr>
          <p:cNvSpPr/>
          <p:nvPr/>
        </p:nvSpPr>
        <p:spPr>
          <a:xfrm>
            <a:off x="9929249" y="5513513"/>
            <a:ext cx="229964" cy="229964"/>
          </a:xfrm>
          <a:prstGeom prst="plus">
            <a:avLst>
              <a:gd name="adj" fmla="val 435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pic>
        <p:nvPicPr>
          <p:cNvPr id="16" name="Graphic 15" descr="Download from cloud outline">
            <a:extLst>
              <a:ext uri="{FF2B5EF4-FFF2-40B4-BE49-F238E27FC236}">
                <a16:creationId xmlns:a16="http://schemas.microsoft.com/office/drawing/2014/main" id="{494EC974-D517-DAE4-22BF-B40B426E21D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49007" y="1880375"/>
            <a:ext cx="914400" cy="914400"/>
          </a:xfrm>
          <a:prstGeom prst="rect">
            <a:avLst/>
          </a:prstGeom>
        </p:spPr>
      </p:pic>
      <p:sp>
        <p:nvSpPr>
          <p:cNvPr id="17" name="TextBox 16">
            <a:extLst>
              <a:ext uri="{FF2B5EF4-FFF2-40B4-BE49-F238E27FC236}">
                <a16:creationId xmlns:a16="http://schemas.microsoft.com/office/drawing/2014/main" id="{FCFDAE14-9829-D2BD-081F-4F7061D02DCB}"/>
              </a:ext>
            </a:extLst>
          </p:cNvPr>
          <p:cNvSpPr txBox="1"/>
          <p:nvPr/>
        </p:nvSpPr>
        <p:spPr>
          <a:xfrm>
            <a:off x="9547919" y="1664004"/>
            <a:ext cx="9450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71F"/>
                </a:solidFill>
                <a:effectLst/>
                <a:uLnTx/>
                <a:uFillTx/>
                <a:latin typeface="Microsoft Sans Serif"/>
                <a:ea typeface="+mn-ea"/>
                <a:cs typeface="+mn-cs"/>
              </a:rPr>
              <a:t>Internet</a:t>
            </a:r>
          </a:p>
        </p:txBody>
      </p:sp>
      <p:cxnSp>
        <p:nvCxnSpPr>
          <p:cNvPr id="18" name="Straight Connector 17">
            <a:extLst>
              <a:ext uri="{FF2B5EF4-FFF2-40B4-BE49-F238E27FC236}">
                <a16:creationId xmlns:a16="http://schemas.microsoft.com/office/drawing/2014/main" id="{DE9F6D58-D6D0-81EB-6660-490B0CDE0716}"/>
              </a:ext>
            </a:extLst>
          </p:cNvPr>
          <p:cNvCxnSpPr>
            <a:cxnSpLocks/>
            <a:stCxn id="10" idx="2"/>
            <a:endCxn id="11" idx="0"/>
          </p:cNvCxnSpPr>
          <p:nvPr/>
        </p:nvCxnSpPr>
        <p:spPr>
          <a:xfrm>
            <a:off x="10010198" y="3744172"/>
            <a:ext cx="577379" cy="6820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phic 18" descr="Cell Tower with solid fill">
            <a:extLst>
              <a:ext uri="{FF2B5EF4-FFF2-40B4-BE49-F238E27FC236}">
                <a16:creationId xmlns:a16="http://schemas.microsoft.com/office/drawing/2014/main" id="{C14106A0-012B-05C6-4BFD-2AEE7C9DFF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03536" y="2789659"/>
            <a:ext cx="914400" cy="914400"/>
          </a:xfrm>
          <a:prstGeom prst="rect">
            <a:avLst/>
          </a:prstGeom>
        </p:spPr>
      </p:pic>
      <p:sp>
        <p:nvSpPr>
          <p:cNvPr id="20" name="Rectangle 19">
            <a:extLst>
              <a:ext uri="{FF2B5EF4-FFF2-40B4-BE49-F238E27FC236}">
                <a16:creationId xmlns:a16="http://schemas.microsoft.com/office/drawing/2014/main" id="{D236B0C0-7835-D431-1595-C409659F90FC}"/>
              </a:ext>
            </a:extLst>
          </p:cNvPr>
          <p:cNvSpPr/>
          <p:nvPr/>
        </p:nvSpPr>
        <p:spPr>
          <a:xfrm>
            <a:off x="9398001" y="2801496"/>
            <a:ext cx="2418702" cy="9143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pic>
        <p:nvPicPr>
          <p:cNvPr id="21" name="Picture 2" descr="About 3GPP">
            <a:extLst>
              <a:ext uri="{FF2B5EF4-FFF2-40B4-BE49-F238E27FC236}">
                <a16:creationId xmlns:a16="http://schemas.microsoft.com/office/drawing/2014/main" id="{131767AF-3216-C623-FBFD-278FBF57C5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13081" y="2845568"/>
            <a:ext cx="404865" cy="235834"/>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789DA6AC-A10C-9CAD-DB14-9A6CFD5AF7F0}"/>
              </a:ext>
            </a:extLst>
          </p:cNvPr>
          <p:cNvCxnSpPr>
            <a:cxnSpLocks/>
          </p:cNvCxnSpPr>
          <p:nvPr/>
        </p:nvCxnSpPr>
        <p:spPr>
          <a:xfrm>
            <a:off x="10467398" y="3311135"/>
            <a:ext cx="489144" cy="0"/>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5B01C5E-E68B-0CBD-851B-7F8501E29C6F}"/>
              </a:ext>
            </a:extLst>
          </p:cNvPr>
          <p:cNvSpPr txBox="1"/>
          <p:nvPr/>
        </p:nvSpPr>
        <p:spPr>
          <a:xfrm>
            <a:off x="728608" y="6058235"/>
            <a:ext cx="8848576" cy="295466"/>
          </a:xfrm>
          <a:prstGeom prst="rect">
            <a:avLst/>
          </a:prstGeom>
        </p:spPr>
        <p:txBody>
          <a:bodyPr wrap="none" lIns="0" tIns="0" rIns="0" bIns="0" rtlCol="0">
            <a:spAutoFit/>
          </a:bodyPr>
          <a:lstStyle/>
          <a:p>
            <a:pPr algn="l">
              <a:lnSpc>
                <a:spcPct val="96000"/>
              </a:lnSpc>
            </a:pPr>
            <a:r>
              <a:rPr lang="de-DE" sz="2000" b="1">
                <a:solidFill>
                  <a:schemeClr val="tx2"/>
                </a:solidFill>
                <a:latin typeface="Microsoft Sans Serif"/>
                <a:cs typeface="Microsoft Sans Serif" panose="020B0604020202020204" pitchFamily="34" charset="0"/>
              </a:rPr>
              <a:t>Technical aspects and opportunities of co-existence presented in the following</a:t>
            </a:r>
            <a:endParaRPr lang="en-US" sz="2000" b="1">
              <a:solidFill>
                <a:schemeClr val="tx2"/>
              </a:solidFill>
              <a:latin typeface="Microsoft Sans Serif"/>
              <a:cs typeface="Microsoft Sans Serif" panose="020B0604020202020204" pitchFamily="34" charset="0"/>
            </a:endParaRPr>
          </a:p>
        </p:txBody>
      </p:sp>
      <p:sp>
        <p:nvSpPr>
          <p:cNvPr id="2" name="Footer Placeholder 1">
            <a:extLst>
              <a:ext uri="{FF2B5EF4-FFF2-40B4-BE49-F238E27FC236}">
                <a16:creationId xmlns:a16="http://schemas.microsoft.com/office/drawing/2014/main" id="{CB063755-AF7E-0C91-C393-EDD8F927697A}"/>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15079940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2D272-5597-1330-AF67-4F70AEA6765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472C84E-5CC6-D4C8-AA67-CEBA7E45CFAA}"/>
              </a:ext>
            </a:extLst>
          </p:cNvPr>
          <p:cNvSpPr>
            <a:spLocks noGrp="1"/>
          </p:cNvSpPr>
          <p:nvPr>
            <p:ph type="title"/>
          </p:nvPr>
        </p:nvSpPr>
        <p:spPr>
          <a:xfrm>
            <a:off x="495300" y="642646"/>
            <a:ext cx="11187112" cy="361959"/>
          </a:xfrm>
        </p:spPr>
        <p:txBody>
          <a:bodyPr/>
          <a:lstStyle/>
          <a:p>
            <a:r>
              <a:rPr lang="en-US" dirty="0"/>
              <a:t>#1 Sharing UHF Resources with legacy broadcast systems</a:t>
            </a:r>
          </a:p>
        </p:txBody>
      </p:sp>
      <p:sp>
        <p:nvSpPr>
          <p:cNvPr id="4" name="Content Placeholder 3">
            <a:extLst>
              <a:ext uri="{FF2B5EF4-FFF2-40B4-BE49-F238E27FC236}">
                <a16:creationId xmlns:a16="http://schemas.microsoft.com/office/drawing/2014/main" id="{BC82DCA0-BDE8-9DF6-DE2A-263376E7BBDC}"/>
              </a:ext>
            </a:extLst>
          </p:cNvPr>
          <p:cNvSpPr>
            <a:spLocks noGrp="1"/>
          </p:cNvSpPr>
          <p:nvPr>
            <p:ph type="subTitle" idx="1"/>
          </p:nvPr>
        </p:nvSpPr>
        <p:spPr>
          <a:xfrm>
            <a:off x="494190" y="1088136"/>
            <a:ext cx="11188223" cy="236347"/>
          </a:xfrm>
        </p:spPr>
        <p:txBody>
          <a:bodyPr/>
          <a:lstStyle/>
          <a:p>
            <a:r>
              <a:rPr lang="de-DE" dirty="0" err="1"/>
              <a:t>Frequency</a:t>
            </a:r>
            <a:r>
              <a:rPr lang="de-DE" dirty="0"/>
              <a:t> Division Multiplex (FDM) on different </a:t>
            </a:r>
            <a:r>
              <a:rPr lang="de-DE" dirty="0" err="1"/>
              <a:t>carriers</a:t>
            </a:r>
            <a:r>
              <a:rPr lang="de-DE" dirty="0"/>
              <a:t> </a:t>
            </a:r>
            <a:r>
              <a:rPr lang="de-DE" dirty="0" err="1"/>
              <a:t>or</a:t>
            </a:r>
            <a:r>
              <a:rPr lang="de-DE" dirty="0"/>
              <a:t> </a:t>
            </a:r>
            <a:r>
              <a:rPr lang="de-DE" dirty="0">
                <a:solidFill>
                  <a:srgbClr val="FF40FF"/>
                </a:solidFill>
              </a:rPr>
              <a:t>Time Division Multiplex (TDM) </a:t>
            </a:r>
            <a:r>
              <a:rPr lang="de-DE" dirty="0"/>
              <a:t>on the same </a:t>
            </a:r>
            <a:r>
              <a:rPr lang="de-DE" dirty="0" err="1"/>
              <a:t>carrier</a:t>
            </a:r>
            <a:endParaRPr lang="en-US" dirty="0"/>
          </a:p>
        </p:txBody>
      </p:sp>
      <p:sp>
        <p:nvSpPr>
          <p:cNvPr id="14" name="Rectangle 13">
            <a:extLst>
              <a:ext uri="{FF2B5EF4-FFF2-40B4-BE49-F238E27FC236}">
                <a16:creationId xmlns:a16="http://schemas.microsoft.com/office/drawing/2014/main" id="{B7903055-262D-52B7-C7AB-60BE2427415C}"/>
              </a:ext>
            </a:extLst>
          </p:cNvPr>
          <p:cNvSpPr/>
          <p:nvPr/>
        </p:nvSpPr>
        <p:spPr>
          <a:xfrm>
            <a:off x="3241036" y="5516159"/>
            <a:ext cx="616227"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CAS</a:t>
            </a:r>
            <a:endParaRPr lang="en-US" sz="2000">
              <a:solidFill>
                <a:srgbClr val="F7F8FA"/>
              </a:solidFill>
              <a:latin typeface="Aptos" panose="020B0004020202020204" pitchFamily="34" charset="0"/>
            </a:endParaRPr>
          </a:p>
        </p:txBody>
      </p:sp>
      <p:sp>
        <p:nvSpPr>
          <p:cNvPr id="15" name="Rectangle 14">
            <a:extLst>
              <a:ext uri="{FF2B5EF4-FFF2-40B4-BE49-F238E27FC236}">
                <a16:creationId xmlns:a16="http://schemas.microsoft.com/office/drawing/2014/main" id="{74207B0C-A06D-CE29-10E9-23279472F026}"/>
              </a:ext>
            </a:extLst>
          </p:cNvPr>
          <p:cNvSpPr/>
          <p:nvPr/>
        </p:nvSpPr>
        <p:spPr>
          <a:xfrm>
            <a:off x="3857263" y="5516159"/>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PMCH</a:t>
            </a:r>
          </a:p>
          <a:p>
            <a:pPr algn="ctr" defTabSz="914377"/>
            <a:r>
              <a:rPr lang="en-US" sz="1400">
                <a:solidFill>
                  <a:srgbClr val="F7F8FA"/>
                </a:solidFill>
                <a:latin typeface="Aptos" panose="020B0004020202020204" pitchFamily="34" charset="0"/>
              </a:rPr>
              <a:t># 0</a:t>
            </a:r>
            <a:endParaRPr lang="en-US" sz="1200">
              <a:solidFill>
                <a:srgbClr val="F7F8FA"/>
              </a:solidFill>
              <a:latin typeface="Aptos" panose="020B0004020202020204" pitchFamily="34" charset="0"/>
            </a:endParaRPr>
          </a:p>
        </p:txBody>
      </p:sp>
      <p:sp>
        <p:nvSpPr>
          <p:cNvPr id="16" name="Rectangle 15">
            <a:extLst>
              <a:ext uri="{FF2B5EF4-FFF2-40B4-BE49-F238E27FC236}">
                <a16:creationId xmlns:a16="http://schemas.microsoft.com/office/drawing/2014/main" id="{587EC7B9-910B-11D8-097D-D388F88A4DC6}"/>
              </a:ext>
            </a:extLst>
          </p:cNvPr>
          <p:cNvSpPr/>
          <p:nvPr/>
        </p:nvSpPr>
        <p:spPr>
          <a:xfrm>
            <a:off x="5136100" y="5516159"/>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PMCH </a:t>
            </a:r>
          </a:p>
          <a:p>
            <a:pPr algn="ctr" defTabSz="914377"/>
            <a:r>
              <a:rPr lang="en-US" sz="1400">
                <a:solidFill>
                  <a:srgbClr val="F7F8FA"/>
                </a:solidFill>
                <a:latin typeface="Aptos" panose="020B0004020202020204" pitchFamily="34" charset="0"/>
              </a:rPr>
              <a:t># 1</a:t>
            </a:r>
            <a:endParaRPr lang="en-US" sz="1200">
              <a:solidFill>
                <a:srgbClr val="F7F8FA"/>
              </a:solidFill>
              <a:latin typeface="Aptos" panose="020B0004020202020204" pitchFamily="34" charset="0"/>
            </a:endParaRPr>
          </a:p>
        </p:txBody>
      </p:sp>
      <p:sp>
        <p:nvSpPr>
          <p:cNvPr id="17" name="TextBox 16">
            <a:extLst>
              <a:ext uri="{FF2B5EF4-FFF2-40B4-BE49-F238E27FC236}">
                <a16:creationId xmlns:a16="http://schemas.microsoft.com/office/drawing/2014/main" id="{494ABA63-8990-AB99-4C6E-81BF5E17DBE3}"/>
              </a:ext>
            </a:extLst>
          </p:cNvPr>
          <p:cNvSpPr txBox="1"/>
          <p:nvPr/>
        </p:nvSpPr>
        <p:spPr>
          <a:xfrm>
            <a:off x="6435916" y="5516157"/>
            <a:ext cx="416339" cy="369332"/>
          </a:xfrm>
          <a:prstGeom prst="rect">
            <a:avLst/>
          </a:prstGeom>
          <a:noFill/>
        </p:spPr>
        <p:txBody>
          <a:bodyPr wrap="square" rtlCol="0">
            <a:spAutoFit/>
          </a:bodyPr>
          <a:lstStyle/>
          <a:p>
            <a:pPr defTabSz="914377"/>
            <a:r>
              <a:rPr lang="en-US">
                <a:solidFill>
                  <a:srgbClr val="13161E"/>
                </a:solidFill>
                <a:latin typeface="Aptos" panose="020B0004020202020204" pitchFamily="34" charset="0"/>
              </a:rPr>
              <a:t>…</a:t>
            </a:r>
          </a:p>
        </p:txBody>
      </p:sp>
      <p:sp>
        <p:nvSpPr>
          <p:cNvPr id="18" name="TextBox 17">
            <a:extLst>
              <a:ext uri="{FF2B5EF4-FFF2-40B4-BE49-F238E27FC236}">
                <a16:creationId xmlns:a16="http://schemas.microsoft.com/office/drawing/2014/main" id="{3256CAA9-5A80-5DA4-30FD-1387E89460DF}"/>
              </a:ext>
            </a:extLst>
          </p:cNvPr>
          <p:cNvSpPr txBox="1"/>
          <p:nvPr/>
        </p:nvSpPr>
        <p:spPr>
          <a:xfrm>
            <a:off x="11632145" y="5516157"/>
            <a:ext cx="416339" cy="369332"/>
          </a:xfrm>
          <a:prstGeom prst="rect">
            <a:avLst/>
          </a:prstGeom>
          <a:noFill/>
        </p:spPr>
        <p:txBody>
          <a:bodyPr wrap="square" rtlCol="0">
            <a:spAutoFit/>
          </a:bodyPr>
          <a:lstStyle/>
          <a:p>
            <a:pPr defTabSz="914377"/>
            <a:r>
              <a:rPr lang="en-US">
                <a:solidFill>
                  <a:srgbClr val="13161E"/>
                </a:solidFill>
                <a:latin typeface="Aptos" panose="020B0004020202020204" pitchFamily="34" charset="0"/>
              </a:rPr>
              <a:t>…</a:t>
            </a:r>
          </a:p>
        </p:txBody>
      </p:sp>
      <p:sp>
        <p:nvSpPr>
          <p:cNvPr id="19" name="Rectangle 18">
            <a:extLst>
              <a:ext uri="{FF2B5EF4-FFF2-40B4-BE49-F238E27FC236}">
                <a16:creationId xmlns:a16="http://schemas.microsoft.com/office/drawing/2014/main" id="{FFEE1606-4D97-74AE-E734-3CBB70F66B84}"/>
              </a:ext>
            </a:extLst>
          </p:cNvPr>
          <p:cNvSpPr/>
          <p:nvPr/>
        </p:nvSpPr>
        <p:spPr>
          <a:xfrm>
            <a:off x="6902855" y="5516159"/>
            <a:ext cx="614743"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CAS</a:t>
            </a:r>
            <a:endParaRPr lang="en-US" sz="2000">
              <a:solidFill>
                <a:srgbClr val="F7F8FA"/>
              </a:solidFill>
              <a:latin typeface="Aptos" panose="020B0004020202020204" pitchFamily="34" charset="0"/>
            </a:endParaRPr>
          </a:p>
        </p:txBody>
      </p:sp>
      <p:sp>
        <p:nvSpPr>
          <p:cNvPr id="20" name="Rectangle 19">
            <a:extLst>
              <a:ext uri="{FF2B5EF4-FFF2-40B4-BE49-F238E27FC236}">
                <a16:creationId xmlns:a16="http://schemas.microsoft.com/office/drawing/2014/main" id="{C409DF0D-E4F4-87D2-F354-63BEAA2F9577}"/>
              </a:ext>
            </a:extLst>
          </p:cNvPr>
          <p:cNvSpPr/>
          <p:nvPr/>
        </p:nvSpPr>
        <p:spPr>
          <a:xfrm>
            <a:off x="9725229" y="5505475"/>
            <a:ext cx="616227" cy="513352"/>
          </a:xfrm>
          <a:prstGeom prst="rect">
            <a:avLst/>
          </a:prstGeom>
          <a:solidFill>
            <a:srgbClr val="FF0000">
              <a:alpha val="5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CAS</a:t>
            </a:r>
            <a:endParaRPr lang="en-US" sz="2000">
              <a:solidFill>
                <a:srgbClr val="F7F8FA"/>
              </a:solidFill>
              <a:latin typeface="Aptos" panose="020B0004020202020204" pitchFamily="34" charset="0"/>
            </a:endParaRPr>
          </a:p>
        </p:txBody>
      </p:sp>
      <p:sp>
        <p:nvSpPr>
          <p:cNvPr id="21" name="Rectangle 20">
            <a:extLst>
              <a:ext uri="{FF2B5EF4-FFF2-40B4-BE49-F238E27FC236}">
                <a16:creationId xmlns:a16="http://schemas.microsoft.com/office/drawing/2014/main" id="{E33FF9E0-8CF6-EFEB-B8C1-0EB7808CC27A}"/>
              </a:ext>
            </a:extLst>
          </p:cNvPr>
          <p:cNvSpPr/>
          <p:nvPr/>
        </p:nvSpPr>
        <p:spPr>
          <a:xfrm>
            <a:off x="10361369" y="5505475"/>
            <a:ext cx="1280160" cy="513352"/>
          </a:xfrm>
          <a:prstGeom prst="rect">
            <a:avLst/>
          </a:prstGeom>
          <a:solidFill>
            <a:schemeClr val="accent2">
              <a:lumMod val="75000"/>
              <a:alpha val="56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400">
                <a:solidFill>
                  <a:srgbClr val="F7F8FA"/>
                </a:solidFill>
                <a:latin typeface="Aptos" panose="020B0004020202020204" pitchFamily="34" charset="0"/>
              </a:rPr>
              <a:t>PMCH</a:t>
            </a:r>
          </a:p>
          <a:p>
            <a:pPr algn="ctr" defTabSz="914377"/>
            <a:r>
              <a:rPr lang="en-US" sz="1400">
                <a:solidFill>
                  <a:srgbClr val="F7F8FA"/>
                </a:solidFill>
                <a:latin typeface="Aptos" panose="020B0004020202020204" pitchFamily="34" charset="0"/>
              </a:rPr>
              <a:t># 0</a:t>
            </a:r>
            <a:endParaRPr lang="en-US" sz="1200">
              <a:solidFill>
                <a:srgbClr val="F7F8FA"/>
              </a:solidFill>
              <a:latin typeface="Aptos" panose="020B0004020202020204" pitchFamily="34" charset="0"/>
            </a:endParaRPr>
          </a:p>
        </p:txBody>
      </p:sp>
      <p:sp>
        <p:nvSpPr>
          <p:cNvPr id="22" name="Rectangle 21">
            <a:extLst>
              <a:ext uri="{FF2B5EF4-FFF2-40B4-BE49-F238E27FC236}">
                <a16:creationId xmlns:a16="http://schemas.microsoft.com/office/drawing/2014/main" id="{87BCC3C9-5D63-F894-6DE3-4BA46EA4FFAC}"/>
              </a:ext>
            </a:extLst>
          </p:cNvPr>
          <p:cNvSpPr/>
          <p:nvPr/>
        </p:nvSpPr>
        <p:spPr>
          <a:xfrm>
            <a:off x="7544073" y="5512553"/>
            <a:ext cx="2161243" cy="52056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7F8FA"/>
              </a:solidFill>
              <a:latin typeface="Aptos" panose="020B0004020202020204" pitchFamily="34" charset="0"/>
            </a:endParaRPr>
          </a:p>
        </p:txBody>
      </p:sp>
      <p:sp>
        <p:nvSpPr>
          <p:cNvPr id="23" name="Rectangle 22">
            <a:extLst>
              <a:ext uri="{FF2B5EF4-FFF2-40B4-BE49-F238E27FC236}">
                <a16:creationId xmlns:a16="http://schemas.microsoft.com/office/drawing/2014/main" id="{41A38F85-B7C4-C5A2-BF60-B4CF05D9965C}"/>
              </a:ext>
            </a:extLst>
          </p:cNvPr>
          <p:cNvSpPr/>
          <p:nvPr/>
        </p:nvSpPr>
        <p:spPr>
          <a:xfrm>
            <a:off x="1039242" y="5521007"/>
            <a:ext cx="2181881" cy="52056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7F8FA"/>
              </a:solidFill>
              <a:latin typeface="Aptos" panose="020B0004020202020204" pitchFamily="34" charset="0"/>
            </a:endParaRPr>
          </a:p>
        </p:txBody>
      </p:sp>
      <p:sp>
        <p:nvSpPr>
          <p:cNvPr id="24" name="TextBox 23">
            <a:extLst>
              <a:ext uri="{FF2B5EF4-FFF2-40B4-BE49-F238E27FC236}">
                <a16:creationId xmlns:a16="http://schemas.microsoft.com/office/drawing/2014/main" id="{64F125CE-AA01-51B1-2350-0EAA60F8D682}"/>
              </a:ext>
            </a:extLst>
          </p:cNvPr>
          <p:cNvSpPr txBox="1"/>
          <p:nvPr/>
        </p:nvSpPr>
        <p:spPr>
          <a:xfrm>
            <a:off x="7544073" y="5562095"/>
            <a:ext cx="2226555" cy="369332"/>
          </a:xfrm>
          <a:prstGeom prst="rect">
            <a:avLst/>
          </a:prstGeom>
          <a:noFill/>
        </p:spPr>
        <p:txBody>
          <a:bodyPr wrap="square" rtlCol="0">
            <a:spAutoFit/>
          </a:bodyPr>
          <a:lstStyle/>
          <a:p>
            <a:pPr defTabSz="914377"/>
            <a:r>
              <a:rPr lang="en-US">
                <a:solidFill>
                  <a:srgbClr val="13161E"/>
                </a:solidFill>
                <a:latin typeface="Aptos" panose="020B0004020202020204" pitchFamily="34" charset="0"/>
              </a:rPr>
              <a:t>CAS-muted region</a:t>
            </a:r>
          </a:p>
        </p:txBody>
      </p:sp>
      <p:sp>
        <p:nvSpPr>
          <p:cNvPr id="25" name="TextBox 24">
            <a:extLst>
              <a:ext uri="{FF2B5EF4-FFF2-40B4-BE49-F238E27FC236}">
                <a16:creationId xmlns:a16="http://schemas.microsoft.com/office/drawing/2014/main" id="{C4525607-CE45-4ABB-DCA7-1C1DDABAC2E8}"/>
              </a:ext>
            </a:extLst>
          </p:cNvPr>
          <p:cNvSpPr txBox="1"/>
          <p:nvPr/>
        </p:nvSpPr>
        <p:spPr>
          <a:xfrm>
            <a:off x="1086595" y="5561274"/>
            <a:ext cx="2226555" cy="369332"/>
          </a:xfrm>
          <a:prstGeom prst="rect">
            <a:avLst/>
          </a:prstGeom>
          <a:noFill/>
        </p:spPr>
        <p:txBody>
          <a:bodyPr wrap="square" rtlCol="0">
            <a:spAutoFit/>
          </a:bodyPr>
          <a:lstStyle/>
          <a:p>
            <a:pPr defTabSz="914377"/>
            <a:r>
              <a:rPr lang="en-US">
                <a:solidFill>
                  <a:srgbClr val="13161E"/>
                </a:solidFill>
                <a:latin typeface="Aptos" panose="020B0004020202020204" pitchFamily="34" charset="0"/>
              </a:rPr>
              <a:t>CAS-muted region</a:t>
            </a:r>
          </a:p>
        </p:txBody>
      </p:sp>
      <p:cxnSp>
        <p:nvCxnSpPr>
          <p:cNvPr id="27" name="Connector: Curved 26">
            <a:extLst>
              <a:ext uri="{FF2B5EF4-FFF2-40B4-BE49-F238E27FC236}">
                <a16:creationId xmlns:a16="http://schemas.microsoft.com/office/drawing/2014/main" id="{70FD315D-77DF-AB49-85EB-628201135F17}"/>
              </a:ext>
            </a:extLst>
          </p:cNvPr>
          <p:cNvCxnSpPr>
            <a:cxnSpLocks/>
          </p:cNvCxnSpPr>
          <p:nvPr/>
        </p:nvCxnSpPr>
        <p:spPr>
          <a:xfrm rot="16200000" flipH="1">
            <a:off x="7907602" y="5332064"/>
            <a:ext cx="3607" cy="1493979"/>
          </a:xfrm>
          <a:prstGeom prst="curvedConnector3">
            <a:avLst>
              <a:gd name="adj1" fmla="val 6439434"/>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5D85C0D-20B5-AF06-7F80-F16CFCFCAAC7}"/>
              </a:ext>
            </a:extLst>
          </p:cNvPr>
          <p:cNvSpPr txBox="1"/>
          <p:nvPr/>
        </p:nvSpPr>
        <p:spPr>
          <a:xfrm>
            <a:off x="7162417" y="6276222"/>
            <a:ext cx="1692271" cy="369332"/>
          </a:xfrm>
          <a:prstGeom prst="rect">
            <a:avLst/>
          </a:prstGeom>
          <a:noFill/>
        </p:spPr>
        <p:txBody>
          <a:bodyPr wrap="square" rtlCol="0">
            <a:spAutoFit/>
          </a:bodyPr>
          <a:lstStyle/>
          <a:p>
            <a:pPr defTabSz="914377"/>
            <a:r>
              <a:rPr lang="en-US">
                <a:solidFill>
                  <a:srgbClr val="2853DC"/>
                </a:solidFill>
                <a:latin typeface="Microsoft Sans Serif"/>
              </a:rPr>
              <a:t>SIB-indication</a:t>
            </a:r>
          </a:p>
        </p:txBody>
      </p:sp>
      <p:sp>
        <p:nvSpPr>
          <p:cNvPr id="30" name="TextBox 29">
            <a:extLst>
              <a:ext uri="{FF2B5EF4-FFF2-40B4-BE49-F238E27FC236}">
                <a16:creationId xmlns:a16="http://schemas.microsoft.com/office/drawing/2014/main" id="{63BD4DE4-B3D1-4D7C-D042-237B12DFF191}"/>
              </a:ext>
            </a:extLst>
          </p:cNvPr>
          <p:cNvSpPr txBox="1"/>
          <p:nvPr/>
        </p:nvSpPr>
        <p:spPr>
          <a:xfrm>
            <a:off x="120355" y="5605549"/>
            <a:ext cx="931615" cy="400110"/>
          </a:xfrm>
          <a:prstGeom prst="rect">
            <a:avLst/>
          </a:prstGeom>
          <a:noFill/>
        </p:spPr>
        <p:txBody>
          <a:bodyPr wrap="square" rtlCol="0">
            <a:spAutoFit/>
          </a:bodyPr>
          <a:lstStyle/>
          <a:p>
            <a:pPr algn="ctr" defTabSz="914377"/>
            <a:r>
              <a:rPr lang="en-US" sz="2000">
                <a:solidFill>
                  <a:srgbClr val="2853DC"/>
                </a:solidFill>
                <a:latin typeface="Aptos" panose="020B0004020202020204" pitchFamily="34" charset="0"/>
              </a:rPr>
              <a:t>5GB</a:t>
            </a:r>
          </a:p>
        </p:txBody>
      </p:sp>
      <p:graphicFrame>
        <p:nvGraphicFramePr>
          <p:cNvPr id="2" name="Table 6">
            <a:extLst>
              <a:ext uri="{FF2B5EF4-FFF2-40B4-BE49-F238E27FC236}">
                <a16:creationId xmlns:a16="http://schemas.microsoft.com/office/drawing/2014/main" id="{60799F4F-1F47-DE8B-F5C1-2047FDF69A28}"/>
              </a:ext>
            </a:extLst>
          </p:cNvPr>
          <p:cNvGraphicFramePr>
            <a:graphicFrameLocks noGrp="1"/>
          </p:cNvGraphicFramePr>
          <p:nvPr/>
        </p:nvGraphicFramePr>
        <p:xfrm>
          <a:off x="576076" y="2285584"/>
          <a:ext cx="10801076" cy="370840"/>
        </p:xfrm>
        <a:graphic>
          <a:graphicData uri="http://schemas.openxmlformats.org/drawingml/2006/table">
            <a:tbl>
              <a:tblPr firstRow="1" bandRow="1"/>
              <a:tblGrid>
                <a:gridCol w="1212457">
                  <a:extLst>
                    <a:ext uri="{9D8B030D-6E8A-4147-A177-3AD203B41FA5}">
                      <a16:colId xmlns:a16="http://schemas.microsoft.com/office/drawing/2014/main" val="1108404918"/>
                    </a:ext>
                  </a:extLst>
                </a:gridCol>
                <a:gridCol w="1174459">
                  <a:extLst>
                    <a:ext uri="{9D8B030D-6E8A-4147-A177-3AD203B41FA5}">
                      <a16:colId xmlns:a16="http://schemas.microsoft.com/office/drawing/2014/main" val="1431854110"/>
                    </a:ext>
                  </a:extLst>
                </a:gridCol>
                <a:gridCol w="1828800">
                  <a:extLst>
                    <a:ext uri="{9D8B030D-6E8A-4147-A177-3AD203B41FA5}">
                      <a16:colId xmlns:a16="http://schemas.microsoft.com/office/drawing/2014/main" val="482222412"/>
                    </a:ext>
                  </a:extLst>
                </a:gridCol>
                <a:gridCol w="2223083">
                  <a:extLst>
                    <a:ext uri="{9D8B030D-6E8A-4147-A177-3AD203B41FA5}">
                      <a16:colId xmlns:a16="http://schemas.microsoft.com/office/drawing/2014/main" val="1423493162"/>
                    </a:ext>
                  </a:extLst>
                </a:gridCol>
                <a:gridCol w="1182847">
                  <a:extLst>
                    <a:ext uri="{9D8B030D-6E8A-4147-A177-3AD203B41FA5}">
                      <a16:colId xmlns:a16="http://schemas.microsoft.com/office/drawing/2014/main" val="1323009794"/>
                    </a:ext>
                  </a:extLst>
                </a:gridCol>
                <a:gridCol w="1266739">
                  <a:extLst>
                    <a:ext uri="{9D8B030D-6E8A-4147-A177-3AD203B41FA5}">
                      <a16:colId xmlns:a16="http://schemas.microsoft.com/office/drawing/2014/main" val="2449777931"/>
                    </a:ext>
                  </a:extLst>
                </a:gridCol>
                <a:gridCol w="1610687">
                  <a:extLst>
                    <a:ext uri="{9D8B030D-6E8A-4147-A177-3AD203B41FA5}">
                      <a16:colId xmlns:a16="http://schemas.microsoft.com/office/drawing/2014/main" val="383800788"/>
                    </a:ext>
                  </a:extLst>
                </a:gridCol>
                <a:gridCol w="302004">
                  <a:extLst>
                    <a:ext uri="{9D8B030D-6E8A-4147-A177-3AD203B41FA5}">
                      <a16:colId xmlns:a16="http://schemas.microsoft.com/office/drawing/2014/main" val="1905218954"/>
                    </a:ext>
                  </a:extLst>
                </a:gridCol>
              </a:tblGrid>
              <a:tr h="370840">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dirty="0"/>
                        <a:t>Bootstrap</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a:t>Preamble</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a:t>ATSC Frame</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pPr algn="ctr"/>
                      <a:endParaRPr lang="en-US" sz="1600" b="0"/>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ACBACF">
                        <a:lumMod val="60000"/>
                        <a:lumOff val="40000"/>
                      </a:srgbClr>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a:t>Bootstrap</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a:t>Preamble</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600" b="0"/>
                        <a:t>ATSC Frame</a:t>
                      </a:r>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E04F4F"/>
                    </a:solidFill>
                  </a:tcP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endParaRPr lang="en-US" sz="1600" b="0" dirty="0"/>
                    </a:p>
                  </a:txBody>
                  <a:tcPr>
                    <a:lnL w="12700" cmpd="sng">
                      <a:solidFill>
                        <a:srgbClr val="F7F8FA"/>
                      </a:solidFill>
                    </a:lnL>
                    <a:lnR w="12700" cmpd="sng">
                      <a:solidFill>
                        <a:srgbClr val="F7F8FA"/>
                      </a:solidFill>
                    </a:lnR>
                    <a:lnT w="12700" cmpd="sng">
                      <a:solidFill>
                        <a:srgbClr val="F7F8FA"/>
                      </a:solidFill>
                    </a:lnT>
                    <a:lnB w="38100" cmpd="sng">
                      <a:solidFill>
                        <a:srgbClr val="F7F8FA"/>
                      </a:solidFill>
                    </a:lnB>
                    <a:lnTlToBr w="12700" cmpd="sng">
                      <a:noFill/>
                      <a:prstDash val="solid"/>
                    </a:lnTlToBr>
                    <a:lnBlToTr w="12700" cmpd="sng">
                      <a:noFill/>
                      <a:prstDash val="solid"/>
                    </a:lnBlToTr>
                    <a:solidFill>
                      <a:srgbClr val="ACBACF">
                        <a:lumMod val="60000"/>
                        <a:lumOff val="40000"/>
                      </a:srgbClr>
                    </a:solidFill>
                  </a:tcPr>
                </a:tc>
                <a:extLst>
                  <a:ext uri="{0D108BD9-81ED-4DB2-BD59-A6C34878D82A}">
                    <a16:rowId xmlns:a16="http://schemas.microsoft.com/office/drawing/2014/main" val="2553152952"/>
                  </a:ext>
                </a:extLst>
              </a:tr>
            </a:tbl>
          </a:graphicData>
        </a:graphic>
      </p:graphicFrame>
      <p:sp>
        <p:nvSpPr>
          <p:cNvPr id="5" name="TextBox 4">
            <a:extLst>
              <a:ext uri="{FF2B5EF4-FFF2-40B4-BE49-F238E27FC236}">
                <a16:creationId xmlns:a16="http://schemas.microsoft.com/office/drawing/2014/main" id="{BB991FD5-FC30-9783-443C-D1708BAF456C}"/>
              </a:ext>
            </a:extLst>
          </p:cNvPr>
          <p:cNvSpPr txBox="1"/>
          <p:nvPr/>
        </p:nvSpPr>
        <p:spPr>
          <a:xfrm>
            <a:off x="2162944" y="1581153"/>
            <a:ext cx="4108203" cy="206851"/>
          </a:xfrm>
          <a:prstGeom prst="rect">
            <a:avLst/>
          </a:prstGeom>
        </p:spPr>
        <p:txBody>
          <a:bodyPr wrap="square" lIns="0" tIns="0" rIns="0" bIns="0" rtlCol="0">
            <a:spAutoFit/>
          </a:bodyPr>
          <a:lstStyle/>
          <a:p>
            <a:pPr defTabSz="914377">
              <a:lnSpc>
                <a:spcPct val="96000"/>
              </a:lnSpc>
            </a:pPr>
            <a:r>
              <a:rPr lang="en-US" sz="1400" err="1">
                <a:solidFill>
                  <a:srgbClr val="E04F4F"/>
                </a:solidFill>
                <a:latin typeface="Aptos" panose="020B0004020202020204" pitchFamily="34" charset="0"/>
              </a:rPr>
              <a:t>min_time_to_next</a:t>
            </a:r>
            <a:r>
              <a:rPr lang="en-US" sz="1400">
                <a:solidFill>
                  <a:srgbClr val="E04F4F"/>
                </a:solidFill>
                <a:latin typeface="Aptos" panose="020B0004020202020204" pitchFamily="34" charset="0"/>
              </a:rPr>
              <a:t> = [50ms; 5300ms]</a:t>
            </a:r>
            <a:endParaRPr lang="en-US" sz="1400">
              <a:solidFill>
                <a:srgbClr val="0E283C"/>
              </a:solidFill>
              <a:latin typeface="Aptos" panose="020B0004020202020204" pitchFamily="34" charset="0"/>
              <a:cs typeface="Microsoft Sans Serif" panose="020B0604020202020204" pitchFamily="34" charset="0"/>
            </a:endParaRPr>
          </a:p>
        </p:txBody>
      </p:sp>
      <p:sp>
        <p:nvSpPr>
          <p:cNvPr id="7" name="Arc 6">
            <a:extLst>
              <a:ext uri="{FF2B5EF4-FFF2-40B4-BE49-F238E27FC236}">
                <a16:creationId xmlns:a16="http://schemas.microsoft.com/office/drawing/2014/main" id="{40CAB0D5-0B9F-BE6E-4425-B3DBBE095729}"/>
              </a:ext>
            </a:extLst>
          </p:cNvPr>
          <p:cNvSpPr/>
          <p:nvPr/>
        </p:nvSpPr>
        <p:spPr>
          <a:xfrm>
            <a:off x="563179" y="1805281"/>
            <a:ext cx="6485253" cy="1199625"/>
          </a:xfrm>
          <a:prstGeom prst="arc">
            <a:avLst>
              <a:gd name="adj1" fmla="val 10991069"/>
              <a:gd name="adj2" fmla="val 21382712"/>
            </a:avLst>
          </a:prstGeom>
          <a:noFill/>
          <a:ln w="12700" cap="rnd" cmpd="sng" algn="ctr">
            <a:solidFill>
              <a:srgbClr val="E04F4F"/>
            </a:solidFill>
            <a:prstDash val="solid"/>
            <a:round/>
            <a:headEnd type="none" w="med" len="med"/>
            <a:tailEnd type="triangle" w="med" len="med"/>
          </a:ln>
          <a:effectLst/>
        </p:spPr>
        <p:txBody>
          <a:bodyPr rtlCol="0" anchor="ctr"/>
          <a:lstStyle/>
          <a:p>
            <a:pPr algn="ctr" defTabSz="914377">
              <a:defRPr/>
            </a:pPr>
            <a:endParaRPr lang="en-US" kern="0">
              <a:solidFill>
                <a:srgbClr val="13171F"/>
              </a:solidFill>
              <a:latin typeface="Aptos" panose="020B0004020202020204" pitchFamily="34" charset="0"/>
            </a:endParaRPr>
          </a:p>
        </p:txBody>
      </p:sp>
      <p:sp>
        <p:nvSpPr>
          <p:cNvPr id="33" name="Rectangle 32">
            <a:extLst>
              <a:ext uri="{FF2B5EF4-FFF2-40B4-BE49-F238E27FC236}">
                <a16:creationId xmlns:a16="http://schemas.microsoft.com/office/drawing/2014/main" id="{EFFC13A6-81AA-D647-48BC-D574864EDEB6}"/>
              </a:ext>
            </a:extLst>
          </p:cNvPr>
          <p:cNvSpPr/>
          <p:nvPr/>
        </p:nvSpPr>
        <p:spPr>
          <a:xfrm>
            <a:off x="536874" y="3844199"/>
            <a:ext cx="39728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1</a:t>
            </a:r>
          </a:p>
        </p:txBody>
      </p:sp>
      <p:sp>
        <p:nvSpPr>
          <p:cNvPr id="34" name="Rectangle 33">
            <a:extLst>
              <a:ext uri="{FF2B5EF4-FFF2-40B4-BE49-F238E27FC236}">
                <a16:creationId xmlns:a16="http://schemas.microsoft.com/office/drawing/2014/main" id="{F69AA7CC-3DC8-54E6-482A-F042A045F8CC}"/>
              </a:ext>
            </a:extLst>
          </p:cNvPr>
          <p:cNvSpPr/>
          <p:nvPr/>
        </p:nvSpPr>
        <p:spPr>
          <a:xfrm>
            <a:off x="934163" y="3844199"/>
            <a:ext cx="616227" cy="544167"/>
          </a:xfrm>
          <a:prstGeom prst="rect">
            <a:avLst/>
          </a:prstGeom>
          <a:solidFill>
            <a:srgbClr val="ED7D31">
              <a:lumMod val="75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2</a:t>
            </a:r>
          </a:p>
          <a:p>
            <a:pPr algn="ctr" defTabSz="914377">
              <a:defRPr/>
            </a:pPr>
            <a:r>
              <a:rPr lang="en-US" sz="1400" kern="0">
                <a:solidFill>
                  <a:prstClr val="white"/>
                </a:solidFill>
                <a:latin typeface="Aptos" panose="020B0004020202020204" pitchFamily="34" charset="0"/>
              </a:rPr>
              <a:t># 0</a:t>
            </a:r>
            <a:endParaRPr lang="en-US" sz="1467" kern="0">
              <a:solidFill>
                <a:prstClr val="white"/>
              </a:solidFill>
              <a:latin typeface="Aptos" panose="020B0004020202020204" pitchFamily="34" charset="0"/>
            </a:endParaRPr>
          </a:p>
        </p:txBody>
      </p:sp>
      <p:sp>
        <p:nvSpPr>
          <p:cNvPr id="35" name="Rectangle 34">
            <a:extLst>
              <a:ext uri="{FF2B5EF4-FFF2-40B4-BE49-F238E27FC236}">
                <a16:creationId xmlns:a16="http://schemas.microsoft.com/office/drawing/2014/main" id="{3164C819-3F37-E027-7867-C34FF89CA80A}"/>
              </a:ext>
            </a:extLst>
          </p:cNvPr>
          <p:cNvSpPr/>
          <p:nvPr/>
        </p:nvSpPr>
        <p:spPr>
          <a:xfrm>
            <a:off x="2167767" y="3844199"/>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1</a:t>
            </a:r>
            <a:endParaRPr lang="en-US" sz="1467" kern="0">
              <a:solidFill>
                <a:prstClr val="white"/>
              </a:solidFill>
              <a:latin typeface="Aptos" panose="020B0004020202020204" pitchFamily="34" charset="0"/>
            </a:endParaRPr>
          </a:p>
        </p:txBody>
      </p:sp>
      <p:sp>
        <p:nvSpPr>
          <p:cNvPr id="36" name="Rectangle 35">
            <a:extLst>
              <a:ext uri="{FF2B5EF4-FFF2-40B4-BE49-F238E27FC236}">
                <a16:creationId xmlns:a16="http://schemas.microsoft.com/office/drawing/2014/main" id="{B937C0D2-FEF6-7E56-29C1-C68425279878}"/>
              </a:ext>
            </a:extLst>
          </p:cNvPr>
          <p:cNvSpPr/>
          <p:nvPr/>
        </p:nvSpPr>
        <p:spPr>
          <a:xfrm>
            <a:off x="2777879" y="3844199"/>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3</a:t>
            </a:r>
            <a:endParaRPr lang="en-US" sz="1467" kern="0">
              <a:solidFill>
                <a:prstClr val="white"/>
              </a:solidFill>
              <a:latin typeface="Aptos" panose="020B0004020202020204" pitchFamily="34" charset="0"/>
            </a:endParaRPr>
          </a:p>
        </p:txBody>
      </p:sp>
      <p:sp>
        <p:nvSpPr>
          <p:cNvPr id="37" name="Rectangle 36">
            <a:extLst>
              <a:ext uri="{FF2B5EF4-FFF2-40B4-BE49-F238E27FC236}">
                <a16:creationId xmlns:a16="http://schemas.microsoft.com/office/drawing/2014/main" id="{FF16A63A-CBAC-8B89-865A-3FEAF3D64701}"/>
              </a:ext>
            </a:extLst>
          </p:cNvPr>
          <p:cNvSpPr/>
          <p:nvPr/>
        </p:nvSpPr>
        <p:spPr>
          <a:xfrm>
            <a:off x="3394113" y="3844199"/>
            <a:ext cx="39728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1</a:t>
            </a:r>
          </a:p>
        </p:txBody>
      </p:sp>
      <p:sp>
        <p:nvSpPr>
          <p:cNvPr id="38" name="Rectangle 37">
            <a:extLst>
              <a:ext uri="{FF2B5EF4-FFF2-40B4-BE49-F238E27FC236}">
                <a16:creationId xmlns:a16="http://schemas.microsoft.com/office/drawing/2014/main" id="{C6EF8B52-8B73-C41A-BDE2-C5BE967253B8}"/>
              </a:ext>
            </a:extLst>
          </p:cNvPr>
          <p:cNvSpPr/>
          <p:nvPr/>
        </p:nvSpPr>
        <p:spPr>
          <a:xfrm>
            <a:off x="3791393" y="3844199"/>
            <a:ext cx="2263363" cy="544167"/>
          </a:xfrm>
          <a:prstGeom prst="rect">
            <a:avLst/>
          </a:prstGeom>
          <a:solidFill>
            <a:srgbClr val="7030A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FEF Data</a:t>
            </a:r>
          </a:p>
        </p:txBody>
      </p:sp>
      <p:sp>
        <p:nvSpPr>
          <p:cNvPr id="39" name="TextBox 38">
            <a:extLst>
              <a:ext uri="{FF2B5EF4-FFF2-40B4-BE49-F238E27FC236}">
                <a16:creationId xmlns:a16="http://schemas.microsoft.com/office/drawing/2014/main" id="{5F2523D0-4EE5-57DC-C188-D65B062900DE}"/>
              </a:ext>
            </a:extLst>
          </p:cNvPr>
          <p:cNvSpPr txBox="1"/>
          <p:nvPr/>
        </p:nvSpPr>
        <p:spPr>
          <a:xfrm>
            <a:off x="3307911" y="4556543"/>
            <a:ext cx="3073955" cy="584775"/>
          </a:xfrm>
          <a:prstGeom prst="rect">
            <a:avLst/>
          </a:prstGeom>
          <a:noFill/>
        </p:spPr>
        <p:txBody>
          <a:bodyPr wrap="square" rtlCol="0">
            <a:spAutoFit/>
          </a:bodyPr>
          <a:lstStyle/>
          <a:p>
            <a:pPr defTabSz="914377"/>
            <a:r>
              <a:rPr lang="en-US" sz="1600">
                <a:solidFill>
                  <a:prstClr val="black"/>
                </a:solidFill>
                <a:latin typeface="Aptos" panose="020B0004020202020204" pitchFamily="34" charset="0"/>
              </a:rPr>
              <a:t>FEF frame starting with P1 symbol</a:t>
            </a:r>
          </a:p>
        </p:txBody>
      </p:sp>
      <p:cxnSp>
        <p:nvCxnSpPr>
          <p:cNvPr id="40" name="Straight Arrow Connector 39">
            <a:extLst>
              <a:ext uri="{FF2B5EF4-FFF2-40B4-BE49-F238E27FC236}">
                <a16:creationId xmlns:a16="http://schemas.microsoft.com/office/drawing/2014/main" id="{0C44CF8C-2BD4-8025-D511-1C05D4AA6DFF}"/>
              </a:ext>
            </a:extLst>
          </p:cNvPr>
          <p:cNvCxnSpPr>
            <a:cxnSpLocks/>
          </p:cNvCxnSpPr>
          <p:nvPr/>
        </p:nvCxnSpPr>
        <p:spPr>
          <a:xfrm>
            <a:off x="3387425" y="4541319"/>
            <a:ext cx="2676664" cy="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41" name="Left Brace 40">
            <a:extLst>
              <a:ext uri="{FF2B5EF4-FFF2-40B4-BE49-F238E27FC236}">
                <a16:creationId xmlns:a16="http://schemas.microsoft.com/office/drawing/2014/main" id="{B170C158-2A19-5AB1-6F27-077D3267A4B7}"/>
              </a:ext>
            </a:extLst>
          </p:cNvPr>
          <p:cNvSpPr/>
          <p:nvPr/>
        </p:nvSpPr>
        <p:spPr>
          <a:xfrm rot="16200000" flipH="1">
            <a:off x="1883877" y="2271035"/>
            <a:ext cx="163228" cy="2857232"/>
          </a:xfrm>
          <a:prstGeom prst="leftBrace">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467" kern="0">
              <a:solidFill>
                <a:prstClr val="black"/>
              </a:solidFill>
              <a:latin typeface="Aptos" panose="020B0004020202020204" pitchFamily="34" charset="0"/>
            </a:endParaRPr>
          </a:p>
        </p:txBody>
      </p:sp>
      <p:sp>
        <p:nvSpPr>
          <p:cNvPr id="42" name="TextBox 41">
            <a:extLst>
              <a:ext uri="{FF2B5EF4-FFF2-40B4-BE49-F238E27FC236}">
                <a16:creationId xmlns:a16="http://schemas.microsoft.com/office/drawing/2014/main" id="{37F8E6B2-AA16-E98F-4472-E84135CB4FA6}"/>
              </a:ext>
            </a:extLst>
          </p:cNvPr>
          <p:cNvSpPr txBox="1"/>
          <p:nvPr/>
        </p:nvSpPr>
        <p:spPr>
          <a:xfrm>
            <a:off x="1073173" y="3214830"/>
            <a:ext cx="2341288" cy="307777"/>
          </a:xfrm>
          <a:prstGeom prst="rect">
            <a:avLst/>
          </a:prstGeom>
          <a:noFill/>
        </p:spPr>
        <p:txBody>
          <a:bodyPr wrap="square" rtlCol="0">
            <a:spAutoFit/>
          </a:bodyPr>
          <a:lstStyle/>
          <a:p>
            <a:pPr defTabSz="914377"/>
            <a:r>
              <a:rPr lang="en-US" sz="1400">
                <a:solidFill>
                  <a:prstClr val="black"/>
                </a:solidFill>
                <a:latin typeface="Aptos" panose="020B0004020202020204" pitchFamily="34" charset="0"/>
              </a:rPr>
              <a:t>1</a:t>
            </a:r>
            <a:r>
              <a:rPr lang="en-US" sz="1400" baseline="30000">
                <a:solidFill>
                  <a:prstClr val="black"/>
                </a:solidFill>
                <a:latin typeface="Aptos" panose="020B0004020202020204" pitchFamily="34" charset="0"/>
              </a:rPr>
              <a:t>st</a:t>
            </a:r>
            <a:r>
              <a:rPr lang="en-US" sz="1400">
                <a:solidFill>
                  <a:prstClr val="black"/>
                </a:solidFill>
                <a:latin typeface="Aptos" panose="020B0004020202020204" pitchFamily="34" charset="0"/>
              </a:rPr>
              <a:t> DVB-T2 frame</a:t>
            </a:r>
          </a:p>
        </p:txBody>
      </p:sp>
      <p:sp>
        <p:nvSpPr>
          <p:cNvPr id="43" name="Left Brace 42">
            <a:extLst>
              <a:ext uri="{FF2B5EF4-FFF2-40B4-BE49-F238E27FC236}">
                <a16:creationId xmlns:a16="http://schemas.microsoft.com/office/drawing/2014/main" id="{887D43A3-94CA-60CB-83C5-FD05AF891D11}"/>
              </a:ext>
            </a:extLst>
          </p:cNvPr>
          <p:cNvSpPr/>
          <p:nvPr/>
        </p:nvSpPr>
        <p:spPr>
          <a:xfrm rot="16200000" flipH="1">
            <a:off x="4649079" y="2366256"/>
            <a:ext cx="188029" cy="2660651"/>
          </a:xfrm>
          <a:prstGeom prst="leftBrace">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467" kern="0">
              <a:solidFill>
                <a:prstClr val="black"/>
              </a:solidFill>
              <a:latin typeface="Aptos" panose="020B0004020202020204" pitchFamily="34" charset="0"/>
            </a:endParaRPr>
          </a:p>
        </p:txBody>
      </p:sp>
      <p:sp>
        <p:nvSpPr>
          <p:cNvPr id="44" name="TextBox 43">
            <a:extLst>
              <a:ext uri="{FF2B5EF4-FFF2-40B4-BE49-F238E27FC236}">
                <a16:creationId xmlns:a16="http://schemas.microsoft.com/office/drawing/2014/main" id="{4EA13271-3729-2A8C-89E9-29DD3110251A}"/>
              </a:ext>
            </a:extLst>
          </p:cNvPr>
          <p:cNvSpPr txBox="1"/>
          <p:nvPr/>
        </p:nvSpPr>
        <p:spPr>
          <a:xfrm>
            <a:off x="3182156" y="3033262"/>
            <a:ext cx="3451672" cy="523220"/>
          </a:xfrm>
          <a:prstGeom prst="rect">
            <a:avLst/>
          </a:prstGeom>
          <a:noFill/>
        </p:spPr>
        <p:txBody>
          <a:bodyPr wrap="square" rtlCol="0">
            <a:spAutoFit/>
          </a:bodyPr>
          <a:lstStyle/>
          <a:p>
            <a:pPr algn="ctr" defTabSz="914377"/>
            <a:r>
              <a:rPr lang="en-US" sz="1400">
                <a:solidFill>
                  <a:prstClr val="black"/>
                </a:solidFill>
                <a:latin typeface="Aptos" panose="020B0004020202020204" pitchFamily="34" charset="0"/>
              </a:rPr>
              <a:t>1</a:t>
            </a:r>
            <a:r>
              <a:rPr lang="en-US" sz="1400" baseline="30000">
                <a:solidFill>
                  <a:prstClr val="black"/>
                </a:solidFill>
                <a:latin typeface="Aptos" panose="020B0004020202020204" pitchFamily="34" charset="0"/>
              </a:rPr>
              <a:t>st</a:t>
            </a:r>
            <a:r>
              <a:rPr lang="en-US" sz="1400">
                <a:solidFill>
                  <a:prstClr val="black"/>
                </a:solidFill>
                <a:latin typeface="Aptos" panose="020B0004020202020204" pitchFamily="34" charset="0"/>
              </a:rPr>
              <a:t> FEF frame </a:t>
            </a:r>
          </a:p>
          <a:p>
            <a:pPr algn="ctr" defTabSz="914377"/>
            <a:r>
              <a:rPr lang="en-US" sz="1400">
                <a:solidFill>
                  <a:prstClr val="black"/>
                </a:solidFill>
                <a:latin typeface="Aptos" panose="020B0004020202020204" pitchFamily="34" charset="0"/>
              </a:rPr>
              <a:t>(up to 250 ms T2-Base / 1s T2-Lite)</a:t>
            </a:r>
          </a:p>
        </p:txBody>
      </p:sp>
      <p:sp>
        <p:nvSpPr>
          <p:cNvPr id="45" name="Rectangle 44">
            <a:extLst>
              <a:ext uri="{FF2B5EF4-FFF2-40B4-BE49-F238E27FC236}">
                <a16:creationId xmlns:a16="http://schemas.microsoft.com/office/drawing/2014/main" id="{D22A7A40-5696-A445-F66E-68B2109FAB08}"/>
              </a:ext>
            </a:extLst>
          </p:cNvPr>
          <p:cNvSpPr/>
          <p:nvPr/>
        </p:nvSpPr>
        <p:spPr>
          <a:xfrm>
            <a:off x="1550389" y="3843635"/>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0</a:t>
            </a:r>
            <a:endParaRPr lang="en-US" sz="1467" kern="0">
              <a:solidFill>
                <a:prstClr val="white"/>
              </a:solidFill>
              <a:latin typeface="Aptos" panose="020B0004020202020204" pitchFamily="34" charset="0"/>
            </a:endParaRPr>
          </a:p>
        </p:txBody>
      </p:sp>
      <p:sp>
        <p:nvSpPr>
          <p:cNvPr id="46" name="Rectangle 45">
            <a:extLst>
              <a:ext uri="{FF2B5EF4-FFF2-40B4-BE49-F238E27FC236}">
                <a16:creationId xmlns:a16="http://schemas.microsoft.com/office/drawing/2014/main" id="{A1AD630C-C2AF-18EC-9FC5-5EAC84CB976B}"/>
              </a:ext>
            </a:extLst>
          </p:cNvPr>
          <p:cNvSpPr/>
          <p:nvPr/>
        </p:nvSpPr>
        <p:spPr>
          <a:xfrm>
            <a:off x="6056077" y="3845031"/>
            <a:ext cx="39728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1</a:t>
            </a:r>
          </a:p>
        </p:txBody>
      </p:sp>
      <p:sp>
        <p:nvSpPr>
          <p:cNvPr id="47" name="Rectangle 46">
            <a:extLst>
              <a:ext uri="{FF2B5EF4-FFF2-40B4-BE49-F238E27FC236}">
                <a16:creationId xmlns:a16="http://schemas.microsoft.com/office/drawing/2014/main" id="{8F5C2889-FBDA-E4C4-AF30-DA896E6E275F}"/>
              </a:ext>
            </a:extLst>
          </p:cNvPr>
          <p:cNvSpPr/>
          <p:nvPr/>
        </p:nvSpPr>
        <p:spPr>
          <a:xfrm>
            <a:off x="6453365" y="3845031"/>
            <a:ext cx="616227" cy="544167"/>
          </a:xfrm>
          <a:prstGeom prst="rect">
            <a:avLst/>
          </a:prstGeom>
          <a:solidFill>
            <a:srgbClr val="ED7D31">
              <a:lumMod val="75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2</a:t>
            </a:r>
          </a:p>
          <a:p>
            <a:pPr algn="ctr" defTabSz="914377">
              <a:defRPr/>
            </a:pPr>
            <a:r>
              <a:rPr lang="en-US" sz="1400" kern="0">
                <a:solidFill>
                  <a:prstClr val="white"/>
                </a:solidFill>
                <a:latin typeface="Aptos" panose="020B0004020202020204" pitchFamily="34" charset="0"/>
              </a:rPr>
              <a:t># 0</a:t>
            </a:r>
            <a:endParaRPr lang="en-US" sz="1467" kern="0">
              <a:solidFill>
                <a:prstClr val="white"/>
              </a:solidFill>
              <a:latin typeface="Aptos" panose="020B0004020202020204" pitchFamily="34" charset="0"/>
            </a:endParaRPr>
          </a:p>
        </p:txBody>
      </p:sp>
      <p:sp>
        <p:nvSpPr>
          <p:cNvPr id="48" name="Rectangle 47">
            <a:extLst>
              <a:ext uri="{FF2B5EF4-FFF2-40B4-BE49-F238E27FC236}">
                <a16:creationId xmlns:a16="http://schemas.microsoft.com/office/drawing/2014/main" id="{9C590EB4-6E0D-37EB-FBFE-8D0377477B57}"/>
              </a:ext>
            </a:extLst>
          </p:cNvPr>
          <p:cNvSpPr/>
          <p:nvPr/>
        </p:nvSpPr>
        <p:spPr>
          <a:xfrm>
            <a:off x="7686969" y="3845031"/>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1</a:t>
            </a:r>
            <a:endParaRPr lang="en-US" sz="1467" kern="0">
              <a:solidFill>
                <a:prstClr val="white"/>
              </a:solidFill>
              <a:latin typeface="Aptos" panose="020B0004020202020204" pitchFamily="34" charset="0"/>
            </a:endParaRPr>
          </a:p>
        </p:txBody>
      </p:sp>
      <p:sp>
        <p:nvSpPr>
          <p:cNvPr id="49" name="Rectangle 48">
            <a:extLst>
              <a:ext uri="{FF2B5EF4-FFF2-40B4-BE49-F238E27FC236}">
                <a16:creationId xmlns:a16="http://schemas.microsoft.com/office/drawing/2014/main" id="{703EF58E-46E4-DFDF-6E01-7E9EFB627AD2}"/>
              </a:ext>
            </a:extLst>
          </p:cNvPr>
          <p:cNvSpPr/>
          <p:nvPr/>
        </p:nvSpPr>
        <p:spPr>
          <a:xfrm>
            <a:off x="8297081" y="3845031"/>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3</a:t>
            </a:r>
            <a:endParaRPr lang="en-US" sz="1467" kern="0">
              <a:solidFill>
                <a:prstClr val="white"/>
              </a:solidFill>
              <a:latin typeface="Aptos" panose="020B0004020202020204" pitchFamily="34" charset="0"/>
            </a:endParaRPr>
          </a:p>
        </p:txBody>
      </p:sp>
      <p:sp>
        <p:nvSpPr>
          <p:cNvPr id="50" name="Rectangle 49">
            <a:extLst>
              <a:ext uri="{FF2B5EF4-FFF2-40B4-BE49-F238E27FC236}">
                <a16:creationId xmlns:a16="http://schemas.microsoft.com/office/drawing/2014/main" id="{D6151671-5EC3-C623-BCC6-134002E96186}"/>
              </a:ext>
            </a:extLst>
          </p:cNvPr>
          <p:cNvSpPr/>
          <p:nvPr/>
        </p:nvSpPr>
        <p:spPr>
          <a:xfrm>
            <a:off x="7069592" y="3844467"/>
            <a:ext cx="616227" cy="544167"/>
          </a:xfrm>
          <a:prstGeom prst="rect">
            <a:avLst/>
          </a:prstGeom>
          <a:solidFill>
            <a:srgbClr val="C0000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Data</a:t>
            </a:r>
          </a:p>
          <a:p>
            <a:pPr algn="ctr" defTabSz="914377">
              <a:defRPr/>
            </a:pPr>
            <a:r>
              <a:rPr lang="en-US" sz="1400" kern="0">
                <a:solidFill>
                  <a:prstClr val="white"/>
                </a:solidFill>
                <a:latin typeface="Aptos" panose="020B0004020202020204" pitchFamily="34" charset="0"/>
              </a:rPr>
              <a:t># 0</a:t>
            </a:r>
            <a:endParaRPr lang="en-US" sz="1467" kern="0">
              <a:solidFill>
                <a:prstClr val="white"/>
              </a:solidFill>
              <a:latin typeface="Aptos" panose="020B0004020202020204" pitchFamily="34" charset="0"/>
            </a:endParaRPr>
          </a:p>
        </p:txBody>
      </p:sp>
      <p:sp>
        <p:nvSpPr>
          <p:cNvPr id="51" name="Rectangle 50">
            <a:extLst>
              <a:ext uri="{FF2B5EF4-FFF2-40B4-BE49-F238E27FC236}">
                <a16:creationId xmlns:a16="http://schemas.microsoft.com/office/drawing/2014/main" id="{C8EDD104-97F1-027A-E199-E9ED320499B5}"/>
              </a:ext>
            </a:extLst>
          </p:cNvPr>
          <p:cNvSpPr/>
          <p:nvPr/>
        </p:nvSpPr>
        <p:spPr>
          <a:xfrm>
            <a:off x="9312459" y="3845089"/>
            <a:ext cx="2263363" cy="538600"/>
          </a:xfrm>
          <a:prstGeom prst="rect">
            <a:avLst/>
          </a:prstGeom>
          <a:solidFill>
            <a:srgbClr val="7030A0">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FEF Data</a:t>
            </a:r>
          </a:p>
        </p:txBody>
      </p:sp>
      <p:sp>
        <p:nvSpPr>
          <p:cNvPr id="52" name="Left Brace 51">
            <a:extLst>
              <a:ext uri="{FF2B5EF4-FFF2-40B4-BE49-F238E27FC236}">
                <a16:creationId xmlns:a16="http://schemas.microsoft.com/office/drawing/2014/main" id="{49E62535-0E29-9C21-0175-A83CF3F966B3}"/>
              </a:ext>
            </a:extLst>
          </p:cNvPr>
          <p:cNvSpPr/>
          <p:nvPr/>
        </p:nvSpPr>
        <p:spPr>
          <a:xfrm rot="16200000" flipH="1">
            <a:off x="7433002" y="2266235"/>
            <a:ext cx="163228" cy="2857232"/>
          </a:xfrm>
          <a:prstGeom prst="leftBrace">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467" kern="0">
              <a:solidFill>
                <a:prstClr val="black"/>
              </a:solidFill>
              <a:latin typeface="Aptos" panose="020B0004020202020204" pitchFamily="34" charset="0"/>
            </a:endParaRPr>
          </a:p>
        </p:txBody>
      </p:sp>
      <p:sp>
        <p:nvSpPr>
          <p:cNvPr id="53" name="TextBox 52">
            <a:extLst>
              <a:ext uri="{FF2B5EF4-FFF2-40B4-BE49-F238E27FC236}">
                <a16:creationId xmlns:a16="http://schemas.microsoft.com/office/drawing/2014/main" id="{BFCA3714-5967-29DD-7D35-3B38A8C629D4}"/>
              </a:ext>
            </a:extLst>
          </p:cNvPr>
          <p:cNvSpPr txBox="1"/>
          <p:nvPr/>
        </p:nvSpPr>
        <p:spPr>
          <a:xfrm>
            <a:off x="6622299" y="3210030"/>
            <a:ext cx="2341288" cy="307777"/>
          </a:xfrm>
          <a:prstGeom prst="rect">
            <a:avLst/>
          </a:prstGeom>
          <a:noFill/>
        </p:spPr>
        <p:txBody>
          <a:bodyPr wrap="square" rtlCol="0">
            <a:spAutoFit/>
          </a:bodyPr>
          <a:lstStyle/>
          <a:p>
            <a:pPr defTabSz="914377"/>
            <a:r>
              <a:rPr lang="en-US" sz="1400">
                <a:solidFill>
                  <a:prstClr val="black"/>
                </a:solidFill>
                <a:latin typeface="Aptos" panose="020B0004020202020204" pitchFamily="34" charset="0"/>
              </a:rPr>
              <a:t>2</a:t>
            </a:r>
            <a:r>
              <a:rPr lang="en-US" sz="1400" baseline="30000">
                <a:solidFill>
                  <a:prstClr val="black"/>
                </a:solidFill>
                <a:latin typeface="Aptos" panose="020B0004020202020204" pitchFamily="34" charset="0"/>
              </a:rPr>
              <a:t>nd</a:t>
            </a:r>
            <a:r>
              <a:rPr lang="en-US" sz="1400">
                <a:solidFill>
                  <a:prstClr val="black"/>
                </a:solidFill>
                <a:latin typeface="Aptos" panose="020B0004020202020204" pitchFamily="34" charset="0"/>
              </a:rPr>
              <a:t> DVB-T2 frame</a:t>
            </a:r>
          </a:p>
        </p:txBody>
      </p:sp>
      <p:sp>
        <p:nvSpPr>
          <p:cNvPr id="54" name="Left Brace 53">
            <a:extLst>
              <a:ext uri="{FF2B5EF4-FFF2-40B4-BE49-F238E27FC236}">
                <a16:creationId xmlns:a16="http://schemas.microsoft.com/office/drawing/2014/main" id="{EF6A1A81-41E8-9324-817B-715E5A150F2B}"/>
              </a:ext>
            </a:extLst>
          </p:cNvPr>
          <p:cNvSpPr/>
          <p:nvPr/>
        </p:nvSpPr>
        <p:spPr>
          <a:xfrm rot="16200000" flipH="1">
            <a:off x="10198204" y="2361456"/>
            <a:ext cx="188029" cy="2660651"/>
          </a:xfrm>
          <a:prstGeom prst="leftBrace">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467" kern="0">
              <a:solidFill>
                <a:prstClr val="black"/>
              </a:solidFill>
              <a:latin typeface="Aptos" panose="020B0004020202020204" pitchFamily="34" charset="0"/>
            </a:endParaRPr>
          </a:p>
        </p:txBody>
      </p:sp>
      <p:sp>
        <p:nvSpPr>
          <p:cNvPr id="55" name="Rectangle 54">
            <a:extLst>
              <a:ext uri="{FF2B5EF4-FFF2-40B4-BE49-F238E27FC236}">
                <a16:creationId xmlns:a16="http://schemas.microsoft.com/office/drawing/2014/main" id="{14E67D49-6770-8697-80BC-95CEAA215583}"/>
              </a:ext>
            </a:extLst>
          </p:cNvPr>
          <p:cNvSpPr/>
          <p:nvPr/>
        </p:nvSpPr>
        <p:spPr>
          <a:xfrm>
            <a:off x="8915165" y="3839523"/>
            <a:ext cx="397289" cy="544167"/>
          </a:xfrm>
          <a:prstGeom prst="rect">
            <a:avLst/>
          </a:prstGeom>
          <a:solidFill>
            <a:srgbClr val="4472C4">
              <a:alpha val="56000"/>
            </a:srgbClr>
          </a:solidFill>
          <a:ln w="12700" cap="flat" cmpd="sng" algn="ctr">
            <a:solidFill>
              <a:srgbClr val="4472C4">
                <a:shade val="15000"/>
              </a:srgbClr>
            </a:solidFill>
            <a:prstDash val="solid"/>
            <a:miter lim="800000"/>
          </a:ln>
          <a:effectLst/>
        </p:spPr>
        <p:txBody>
          <a:bodyPr rtlCol="0" anchor="ctr"/>
          <a:lstStyle/>
          <a:p>
            <a:pPr algn="ctr" defTabSz="914377">
              <a:defRPr/>
            </a:pPr>
            <a:r>
              <a:rPr lang="en-US" sz="1400" kern="0">
                <a:solidFill>
                  <a:prstClr val="white"/>
                </a:solidFill>
                <a:latin typeface="Aptos" panose="020B0004020202020204" pitchFamily="34" charset="0"/>
              </a:rPr>
              <a:t>P1</a:t>
            </a:r>
          </a:p>
        </p:txBody>
      </p:sp>
      <p:sp>
        <p:nvSpPr>
          <p:cNvPr id="56" name="Rectangle 55">
            <a:extLst>
              <a:ext uri="{FF2B5EF4-FFF2-40B4-BE49-F238E27FC236}">
                <a16:creationId xmlns:a16="http://schemas.microsoft.com/office/drawing/2014/main" id="{642A001C-0103-82BD-2C26-50CEA11E24FB}"/>
              </a:ext>
            </a:extLst>
          </p:cNvPr>
          <p:cNvSpPr/>
          <p:nvPr/>
        </p:nvSpPr>
        <p:spPr>
          <a:xfrm>
            <a:off x="8920878" y="1598391"/>
            <a:ext cx="3279511" cy="44380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lnSpc>
                <a:spcPct val="96000"/>
              </a:lnSpc>
            </a:pPr>
            <a:r>
              <a:rPr lang="de-DE">
                <a:solidFill>
                  <a:srgbClr val="F7F8FA"/>
                </a:solidFill>
                <a:latin typeface="Aptos" panose="020B0004020202020204" pitchFamily="34" charset="0"/>
                <a:cs typeface="Microsoft Sans Serif" panose="020B0604020202020204" pitchFamily="34" charset="0"/>
              </a:rPr>
              <a:t>ATSC3.0 supports blanking</a:t>
            </a:r>
            <a:endParaRPr lang="en-US" err="1">
              <a:solidFill>
                <a:srgbClr val="F7F8FA"/>
              </a:solidFill>
              <a:latin typeface="Aptos" panose="020B0004020202020204" pitchFamily="34" charset="0"/>
              <a:cs typeface="Microsoft Sans Serif" panose="020B0604020202020204" pitchFamily="34" charset="0"/>
            </a:endParaRPr>
          </a:p>
        </p:txBody>
      </p:sp>
      <p:sp>
        <p:nvSpPr>
          <p:cNvPr id="57" name="Rectangle 56">
            <a:extLst>
              <a:ext uri="{FF2B5EF4-FFF2-40B4-BE49-F238E27FC236}">
                <a16:creationId xmlns:a16="http://schemas.microsoft.com/office/drawing/2014/main" id="{0416D513-EBA5-D0FD-2700-FB9B45C78BE6}"/>
              </a:ext>
            </a:extLst>
          </p:cNvPr>
          <p:cNvSpPr/>
          <p:nvPr/>
        </p:nvSpPr>
        <p:spPr>
          <a:xfrm>
            <a:off x="7613258" y="2863018"/>
            <a:ext cx="4578743" cy="44380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lnSpc>
                <a:spcPct val="96000"/>
              </a:lnSpc>
            </a:pPr>
            <a:r>
              <a:rPr lang="de-DE" sz="1467">
                <a:solidFill>
                  <a:srgbClr val="F7F8FA"/>
                </a:solidFill>
                <a:latin typeface="Aptos" panose="020B0004020202020204" pitchFamily="34" charset="0"/>
                <a:cs typeface="Microsoft Sans Serif" panose="020B0604020202020204" pitchFamily="34" charset="0"/>
              </a:rPr>
              <a:t>DVB-T2 support Future Extension Frames</a:t>
            </a:r>
            <a:endParaRPr lang="en-US" sz="1467" err="1">
              <a:solidFill>
                <a:srgbClr val="F7F8FA"/>
              </a:solidFill>
              <a:latin typeface="Aptos" panose="020B0004020202020204" pitchFamily="34" charset="0"/>
              <a:cs typeface="Microsoft Sans Serif" panose="020B0604020202020204" pitchFamily="34" charset="0"/>
            </a:endParaRPr>
          </a:p>
        </p:txBody>
      </p:sp>
      <p:sp>
        <p:nvSpPr>
          <p:cNvPr id="58" name="Rectangle 57">
            <a:extLst>
              <a:ext uri="{FF2B5EF4-FFF2-40B4-BE49-F238E27FC236}">
                <a16:creationId xmlns:a16="http://schemas.microsoft.com/office/drawing/2014/main" id="{CCD33F9C-C77A-3425-9B76-ABA7376D86A5}"/>
              </a:ext>
            </a:extLst>
          </p:cNvPr>
          <p:cNvSpPr/>
          <p:nvPr/>
        </p:nvSpPr>
        <p:spPr>
          <a:xfrm>
            <a:off x="5136100" y="4910320"/>
            <a:ext cx="7064288" cy="44380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lnSpc>
                <a:spcPct val="96000"/>
              </a:lnSpc>
            </a:pPr>
            <a:r>
              <a:rPr lang="de-DE" sz="1600" dirty="0">
                <a:solidFill>
                  <a:srgbClr val="F7F8FA"/>
                </a:solidFill>
                <a:latin typeface="Aptos" panose="020B0004020202020204" pitchFamily="34" charset="0"/>
                <a:cs typeface="Microsoft Sans Serif" panose="020B0604020202020204" pitchFamily="34" charset="0"/>
              </a:rPr>
              <a:t>Rel-19 </a:t>
            </a:r>
            <a:r>
              <a:rPr lang="de-DE" sz="1600" dirty="0" err="1">
                <a:solidFill>
                  <a:srgbClr val="F7F8FA"/>
                </a:solidFill>
                <a:latin typeface="Aptos" panose="020B0004020202020204" pitchFamily="34" charset="0"/>
                <a:cs typeface="Microsoft Sans Serif" panose="020B0604020202020204" pitchFamily="34" charset="0"/>
              </a:rPr>
              <a:t>now</a:t>
            </a:r>
            <a:r>
              <a:rPr lang="de-DE" sz="1600" dirty="0">
                <a:solidFill>
                  <a:srgbClr val="F7F8FA"/>
                </a:solidFill>
                <a:latin typeface="Aptos" panose="020B0004020202020204" pitchFamily="34" charset="0"/>
                <a:cs typeface="Microsoft Sans Serif" panose="020B0604020202020204" pitchFamily="34" charset="0"/>
              </a:rPr>
              <a:t> </a:t>
            </a:r>
            <a:r>
              <a:rPr lang="de-DE" sz="1600" dirty="0" err="1">
                <a:solidFill>
                  <a:srgbClr val="F7F8FA"/>
                </a:solidFill>
                <a:latin typeface="Aptos" panose="020B0004020202020204" pitchFamily="34" charset="0"/>
                <a:cs typeface="Microsoft Sans Serif" panose="020B0604020202020204" pitchFamily="34" charset="0"/>
              </a:rPr>
              <a:t>supports</a:t>
            </a:r>
            <a:r>
              <a:rPr lang="de-DE" sz="1600" dirty="0">
                <a:solidFill>
                  <a:srgbClr val="F7F8FA"/>
                </a:solidFill>
                <a:latin typeface="Aptos" panose="020B0004020202020204" pitchFamily="34" charset="0"/>
                <a:cs typeface="Microsoft Sans Serif" panose="020B0604020202020204" pitchFamily="34" charset="0"/>
              </a:rPr>
              <a:t> CAS </a:t>
            </a:r>
            <a:r>
              <a:rPr lang="de-DE" sz="1600" dirty="0" err="1">
                <a:solidFill>
                  <a:srgbClr val="F7F8FA"/>
                </a:solidFill>
                <a:latin typeface="Aptos" panose="020B0004020202020204" pitchFamily="34" charset="0"/>
                <a:cs typeface="Microsoft Sans Serif" panose="020B0604020202020204" pitchFamily="34" charset="0"/>
              </a:rPr>
              <a:t>muting</a:t>
            </a:r>
            <a:endParaRPr lang="en-US" sz="1600" dirty="0">
              <a:solidFill>
                <a:srgbClr val="F7F8FA"/>
              </a:solidFill>
              <a:latin typeface="Aptos" panose="020B0004020202020204" pitchFamily="34" charset="0"/>
              <a:cs typeface="Microsoft Sans Serif" panose="020B0604020202020204" pitchFamily="34" charset="0"/>
            </a:endParaRPr>
          </a:p>
        </p:txBody>
      </p:sp>
      <p:sp>
        <p:nvSpPr>
          <p:cNvPr id="6" name="Footer Placeholder 5">
            <a:extLst>
              <a:ext uri="{FF2B5EF4-FFF2-40B4-BE49-F238E27FC236}">
                <a16:creationId xmlns:a16="http://schemas.microsoft.com/office/drawing/2014/main" id="{3F5ED7CC-C5B8-C490-F8AF-6890E099B910}"/>
              </a:ext>
            </a:extLst>
          </p:cNvPr>
          <p:cNvSpPr>
            <a:spLocks noGrp="1"/>
          </p:cNvSpPr>
          <p:nvPr>
            <p:ph type="ftr" sz="quarter" idx="10"/>
          </p:nvPr>
        </p:nvSpPr>
        <p:spPr/>
        <p:txBody>
          <a:bodyPr/>
          <a:lstStyle/>
          <a:p>
            <a:r>
              <a:rPr lang="en-US">
                <a:solidFill>
                  <a:srgbClr val="4A5A75">
                    <a:lumMod val="60000"/>
                    <a:lumOff val="40000"/>
                  </a:srgbClr>
                </a:solidFill>
                <a:latin typeface="Aptos" panose="020B0004020202020204" pitchFamily="34" charset="0"/>
              </a:rPr>
              <a:t>5G Broadcast Conference</a:t>
            </a:r>
          </a:p>
        </p:txBody>
      </p:sp>
    </p:spTree>
    <p:extLst>
      <p:ext uri="{BB962C8B-B14F-4D97-AF65-F5344CB8AC3E}">
        <p14:creationId xmlns:p14="http://schemas.microsoft.com/office/powerpoint/2010/main" val="25623607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0"/>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2"/>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5"/>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0"/>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p:bldP spid="18" grpId="0"/>
      <p:bldP spid="19" grpId="0" animBg="1"/>
      <p:bldP spid="20" grpId="0" animBg="1"/>
      <p:bldP spid="21" grpId="0" animBg="1"/>
      <p:bldP spid="22" grpId="0" animBg="1"/>
      <p:bldP spid="23" grpId="0" animBg="1"/>
      <p:bldP spid="24" grpId="0"/>
      <p:bldP spid="25" grpId="0"/>
      <p:bldP spid="28" grpId="0"/>
      <p:bldP spid="30" grpId="0"/>
      <p:bldP spid="5" grpId="0"/>
      <p:bldP spid="7" grpId="0" animBg="1"/>
      <p:bldP spid="33" grpId="0" animBg="1"/>
      <p:bldP spid="34" grpId="0" animBg="1"/>
      <p:bldP spid="35" grpId="0" animBg="1"/>
      <p:bldP spid="36" grpId="0" animBg="1"/>
      <p:bldP spid="37" grpId="0" animBg="1"/>
      <p:bldP spid="38" grpId="0" animBg="1"/>
      <p:bldP spid="39" grpId="0"/>
      <p:bldP spid="41" grpId="0" animBg="1"/>
      <p:bldP spid="42" grpId="0"/>
      <p:bldP spid="43" grpId="0" animBg="1"/>
      <p:bldP spid="44" grpId="0"/>
      <p:bldP spid="45" grpId="0" animBg="1"/>
      <p:bldP spid="46" grpId="0" animBg="1"/>
      <p:bldP spid="47" grpId="0" animBg="1"/>
      <p:bldP spid="48" grpId="0" animBg="1"/>
      <p:bldP spid="49" grpId="0" animBg="1"/>
      <p:bldP spid="50" grpId="0" animBg="1"/>
      <p:bldP spid="51" grpId="0" animBg="1"/>
      <p:bldP spid="52" grpId="0" animBg="1"/>
      <p:bldP spid="53" grpId="0"/>
      <p:bldP spid="54" grpId="0" animBg="1"/>
      <p:bldP spid="55" grpId="0" animBg="1"/>
      <p:bldP spid="56" grpId="0" animBg="1"/>
      <p:bldP spid="57" grpId="0" animBg="1"/>
      <p:bldP spid="5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9C14C60-62D6-DBEF-F4BC-72B8C1461026}"/>
              </a:ext>
            </a:extLst>
          </p:cNvPr>
          <p:cNvSpPr>
            <a:spLocks noGrp="1"/>
          </p:cNvSpPr>
          <p:nvPr>
            <p:ph type="ftr" sz="quarter" idx="10"/>
          </p:nvPr>
        </p:nvSpPr>
        <p:spPr/>
        <p:txBody>
          <a:bodyPr/>
          <a:lstStyle/>
          <a:p>
            <a:r>
              <a:rPr lang="en-US"/>
              <a:t>5G Broadcast Conference</a:t>
            </a:r>
          </a:p>
        </p:txBody>
      </p:sp>
      <p:sp>
        <p:nvSpPr>
          <p:cNvPr id="3" name="Title 2">
            <a:extLst>
              <a:ext uri="{FF2B5EF4-FFF2-40B4-BE49-F238E27FC236}">
                <a16:creationId xmlns:a16="http://schemas.microsoft.com/office/drawing/2014/main" id="{4FC8B2A7-C774-9690-C0F3-496301F7794C}"/>
              </a:ext>
            </a:extLst>
          </p:cNvPr>
          <p:cNvSpPr>
            <a:spLocks noGrp="1"/>
          </p:cNvSpPr>
          <p:nvPr>
            <p:ph type="title"/>
          </p:nvPr>
        </p:nvSpPr>
        <p:spPr/>
        <p:txBody>
          <a:bodyPr/>
          <a:lstStyle/>
          <a:p>
            <a:r>
              <a:rPr lang="de-DE"/>
              <a:t>#2: Unified Service Layer</a:t>
            </a:r>
            <a:endParaRPr lang="en-US"/>
          </a:p>
        </p:txBody>
      </p:sp>
      <p:sp>
        <p:nvSpPr>
          <p:cNvPr id="5" name="Subtitle 4">
            <a:extLst>
              <a:ext uri="{FF2B5EF4-FFF2-40B4-BE49-F238E27FC236}">
                <a16:creationId xmlns:a16="http://schemas.microsoft.com/office/drawing/2014/main" id="{A7420FC9-7153-0A9E-E566-809046E4A67A}"/>
              </a:ext>
            </a:extLst>
          </p:cNvPr>
          <p:cNvSpPr>
            <a:spLocks noGrp="1"/>
          </p:cNvSpPr>
          <p:nvPr>
            <p:ph type="subTitle" idx="1"/>
          </p:nvPr>
        </p:nvSpPr>
        <p:spPr/>
        <p:txBody>
          <a:bodyPr/>
          <a:lstStyle/>
          <a:p>
            <a:r>
              <a:rPr lang="de-DE"/>
              <a:t>5G Broadcast as </a:t>
            </a:r>
            <a:r>
              <a:rPr lang="de-DE">
                <a:solidFill>
                  <a:srgbClr val="FF40FF"/>
                </a:solidFill>
              </a:rPr>
              <a:t>transport-only</a:t>
            </a:r>
            <a:r>
              <a:rPr lang="de-DE"/>
              <a:t> technology can be integrated into existing service layers and apps =&gt; DVB-I + 5G Broadcast</a:t>
            </a:r>
            <a:endParaRPr lang="en-US"/>
          </a:p>
        </p:txBody>
      </p:sp>
      <p:sp>
        <p:nvSpPr>
          <p:cNvPr id="9" name="Content Placeholder 8">
            <a:extLst>
              <a:ext uri="{FF2B5EF4-FFF2-40B4-BE49-F238E27FC236}">
                <a16:creationId xmlns:a16="http://schemas.microsoft.com/office/drawing/2014/main" id="{612CB8A3-33AD-FD64-9451-0C9733864176}"/>
              </a:ext>
            </a:extLst>
          </p:cNvPr>
          <p:cNvSpPr>
            <a:spLocks noGrp="1"/>
          </p:cNvSpPr>
          <p:nvPr>
            <p:ph sz="quarter" idx="16"/>
          </p:nvPr>
        </p:nvSpPr>
        <p:spPr/>
        <p:txBody>
          <a:bodyPr>
            <a:normAutofit fontScale="92500" lnSpcReduction="10000"/>
          </a:bodyPr>
          <a:lstStyle/>
          <a:p>
            <a:pPr marL="361950" indent="-342900">
              <a:lnSpc>
                <a:spcPct val="110000"/>
              </a:lnSpc>
              <a:defRPr/>
            </a:pPr>
            <a:r>
              <a:rPr lang="de-DE" sz="1800" dirty="0"/>
              <a:t>Vision: </a:t>
            </a:r>
            <a:r>
              <a:rPr kumimoji="0" lang="de-DE" sz="1800" b="0" i="0" u="none" strike="noStrike" kern="1200" cap="none" spc="0" normalizeH="0" baseline="0" noProof="0" dirty="0">
                <a:ln>
                  <a:noFill/>
                </a:ln>
                <a:solidFill>
                  <a:srgbClr val="FF40FF"/>
                </a:solidFill>
                <a:effectLst/>
                <a:uLnTx/>
                <a:uFillTx/>
                <a:latin typeface="Microsoft Sans Serif"/>
                <a:ea typeface="+mn-ea"/>
                <a:cs typeface="+mn-cs"/>
              </a:rPr>
              <a:t>DVB Service Layer </a:t>
            </a:r>
            <a:r>
              <a:rPr kumimoji="0" lang="de-DE" sz="1800" b="0" i="0" u="none" strike="noStrike" kern="1200" cap="none" spc="0" normalizeH="0" baseline="0" noProof="0" dirty="0">
                <a:ln>
                  <a:noFill/>
                </a:ln>
                <a:solidFill>
                  <a:srgbClr val="0B2742"/>
                </a:solidFill>
                <a:effectLst/>
                <a:uLnTx/>
                <a:uFillTx/>
                <a:latin typeface="Microsoft Sans Serif"/>
                <a:ea typeface="+mn-ea"/>
                <a:cs typeface="+mn-cs"/>
              </a:rPr>
              <a:t>(Codecs, Packaging, DRM, Service Announcement and Discovery, IP-based protocols)</a:t>
            </a: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 </a:t>
            </a:r>
            <a:r>
              <a:rPr kumimoji="0" lang="en-US" sz="1800" b="0" i="0" u="none" strike="noStrike" kern="1200" cap="none" spc="0" normalizeH="0" baseline="0" noProof="0" dirty="0">
                <a:ln>
                  <a:noFill/>
                </a:ln>
                <a:solidFill>
                  <a:srgbClr val="FF40FF"/>
                </a:solidFill>
                <a:effectLst/>
                <a:uLnTx/>
                <a:uFillTx/>
                <a:latin typeface="Microsoft Sans Serif"/>
                <a:ea typeface="+mn-ea"/>
                <a:cs typeface="+mn-cs"/>
              </a:rPr>
              <a:t>runs</a:t>
            </a: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 </a:t>
            </a:r>
            <a:r>
              <a:rPr kumimoji="0" lang="en-US" sz="1800" b="0" i="0" u="none" strike="noStrike" kern="1200" cap="none" spc="0" normalizeH="0" baseline="0" noProof="0" dirty="0">
                <a:ln>
                  <a:noFill/>
                </a:ln>
                <a:solidFill>
                  <a:srgbClr val="FF40FF"/>
                </a:solidFill>
                <a:effectLst/>
                <a:uLnTx/>
                <a:uFillTx/>
                <a:latin typeface="Microsoft Sans Serif"/>
                <a:ea typeface="+mn-ea"/>
                <a:cs typeface="+mn-cs"/>
              </a:rPr>
              <a:t>on top of </a:t>
            </a:r>
            <a:r>
              <a:rPr kumimoji="0" lang="en-US" sz="1800" b="0" i="0" u="none" strike="noStrike" kern="1200" cap="none" spc="0" normalizeH="0" baseline="0" noProof="0" dirty="0">
                <a:ln>
                  <a:noFill/>
                </a:ln>
                <a:solidFill>
                  <a:srgbClr val="0B2742"/>
                </a:solidFill>
                <a:effectLst/>
                <a:uLnTx/>
                <a:uFillTx/>
                <a:latin typeface="Microsoft Sans Serif"/>
                <a:ea typeface="+mn-ea"/>
                <a:cs typeface="+mn-cs"/>
              </a:rPr>
              <a:t>any transport network, in particular 5G Unicast and </a:t>
            </a:r>
            <a:r>
              <a:rPr kumimoji="0" lang="en-US" sz="1800" b="0" i="0" u="none" strike="noStrike" kern="1200" cap="none" spc="0" normalizeH="0" baseline="0" noProof="0" dirty="0">
                <a:ln>
                  <a:noFill/>
                </a:ln>
                <a:solidFill>
                  <a:srgbClr val="FF40FF"/>
                </a:solidFill>
                <a:effectLst/>
                <a:uLnTx/>
                <a:uFillTx/>
                <a:latin typeface="Microsoft Sans Serif"/>
                <a:ea typeface="+mn-ea"/>
                <a:cs typeface="+mn-cs"/>
              </a:rPr>
              <a:t>5G Broadcast</a:t>
            </a:r>
          </a:p>
          <a:p>
            <a:pPr marL="361950" indent="-342900">
              <a:lnSpc>
                <a:spcPct val="110000"/>
              </a:lnSpc>
              <a:defRPr/>
            </a:pPr>
            <a:r>
              <a:rPr lang="de-DE" sz="1800" dirty="0">
                <a:hlinkClick r:id="rId2"/>
              </a:rPr>
              <a:t>ETSI TR 103 972</a:t>
            </a:r>
            <a:r>
              <a:rPr lang="de-DE" sz="1800" dirty="0"/>
              <a:t> (07/23): Deployment Guidelines for DVB-I services over 5G Systems </a:t>
            </a:r>
            <a:r>
              <a:rPr lang="de-DE" sz="1800" dirty="0">
                <a:sym typeface="Wingdings" panose="05000000000000000000" pitchFamily="2" charset="2"/>
              </a:rPr>
              <a:t> </a:t>
            </a:r>
            <a:r>
              <a:rPr lang="de-DE" sz="1800" dirty="0">
                <a:solidFill>
                  <a:srgbClr val="FF40FF"/>
                </a:solidFill>
                <a:sym typeface="Wingdings" panose="05000000000000000000" pitchFamily="2" charset="2"/>
              </a:rPr>
              <a:t>mostly plug and play </a:t>
            </a:r>
            <a:r>
              <a:rPr lang="de-DE" sz="1800" dirty="0">
                <a:sym typeface="Wingdings" panose="05000000000000000000" pitchFamily="2" charset="2"/>
              </a:rPr>
              <a:t>leveraging DVB-I and 5G Broadcast APIs and reference points (see figure on the right-hand side)</a:t>
            </a:r>
          </a:p>
          <a:p>
            <a:pPr marL="361950" indent="-342900">
              <a:lnSpc>
                <a:spcPct val="110000"/>
              </a:lnSpc>
              <a:defRPr/>
            </a:pPr>
            <a:r>
              <a:rPr lang="de-DE" sz="1800" dirty="0">
                <a:sym typeface="Wingdings" panose="05000000000000000000" pitchFamily="2" charset="2"/>
              </a:rPr>
              <a:t>specs </a:t>
            </a:r>
            <a:r>
              <a:rPr lang="de-DE" sz="1800" dirty="0">
                <a:solidFill>
                  <a:srgbClr val="FF40FF"/>
                </a:solidFill>
                <a:sym typeface="Wingdings" panose="05000000000000000000" pitchFamily="2" charset="2"/>
              </a:rPr>
              <a:t>completed</a:t>
            </a:r>
            <a:r>
              <a:rPr lang="de-DE" sz="1800" dirty="0">
                <a:sym typeface="Wingdings" panose="05000000000000000000" pitchFamily="2" charset="2"/>
              </a:rPr>
              <a:t> in 3GPP, DVB, 5G-MAG, ETSI</a:t>
            </a:r>
          </a:p>
          <a:p>
            <a:pPr marL="361950" indent="-342900">
              <a:lnSpc>
                <a:spcPct val="110000"/>
              </a:lnSpc>
              <a:defRPr/>
            </a:pPr>
            <a:r>
              <a:rPr lang="de-DE" sz="1800" dirty="0">
                <a:solidFill>
                  <a:srgbClr val="032C44"/>
                </a:solidFill>
                <a:sym typeface="Wingdings" panose="05000000000000000000" pitchFamily="2" charset="2"/>
              </a:rPr>
              <a:t>Successful over-the-air </a:t>
            </a:r>
            <a:r>
              <a:rPr lang="de-DE" sz="1800" dirty="0">
                <a:solidFill>
                  <a:srgbClr val="FF40FF"/>
                </a:solidFill>
                <a:sym typeface="Wingdings" panose="05000000000000000000" pitchFamily="2" charset="2"/>
              </a:rPr>
              <a:t>demonstrations</a:t>
            </a:r>
            <a:r>
              <a:rPr lang="de-DE" sz="1800" dirty="0">
                <a:solidFill>
                  <a:srgbClr val="032C44"/>
                </a:solidFill>
                <a:sym typeface="Wingdings" panose="05000000000000000000" pitchFamily="2" charset="2"/>
              </a:rPr>
              <a:t> in 2024:</a:t>
            </a:r>
          </a:p>
          <a:p>
            <a:pPr marL="533400" lvl="1" indent="-342900">
              <a:lnSpc>
                <a:spcPct val="110000"/>
              </a:lnSpc>
              <a:defRPr/>
            </a:pPr>
            <a:r>
              <a:rPr lang="en-US" sz="1400" dirty="0">
                <a:solidFill>
                  <a:srgbClr val="032C44"/>
                </a:solidFill>
              </a:rPr>
              <a:t>DVB World (03/24): standalone DVB-I list over 5G Broadcast</a:t>
            </a:r>
          </a:p>
          <a:p>
            <a:pPr marL="533400" lvl="1" indent="-342900">
              <a:lnSpc>
                <a:spcPct val="110000"/>
              </a:lnSpc>
              <a:defRPr/>
            </a:pPr>
            <a:r>
              <a:rPr lang="en-US" sz="1400" dirty="0">
                <a:solidFill>
                  <a:srgbClr val="032C44"/>
                </a:solidFill>
              </a:rPr>
              <a:t>Media Web symposium (06/24): integrated into German DVB-I Pilot list as one service instance, fallback to unicast if out of coverage</a:t>
            </a:r>
          </a:p>
          <a:p>
            <a:pPr marL="533400" lvl="1" indent="-342900">
              <a:lnSpc>
                <a:spcPct val="110000"/>
              </a:lnSpc>
              <a:defRPr/>
            </a:pPr>
            <a:r>
              <a:rPr lang="en-US" sz="1400" dirty="0">
                <a:solidFill>
                  <a:srgbClr val="032C44"/>
                </a:solidFill>
              </a:rPr>
              <a:t>IBC 2024 at DVB booth and also shown at MWS</a:t>
            </a:r>
          </a:p>
          <a:p>
            <a:pPr marL="361950" indent="-342900">
              <a:lnSpc>
                <a:spcPct val="110000"/>
              </a:lnSpc>
              <a:defRPr/>
            </a:pPr>
            <a:r>
              <a:rPr lang="en-US" sz="1800" dirty="0">
                <a:solidFill>
                  <a:srgbClr val="032C44"/>
                </a:solidFill>
              </a:rPr>
              <a:t>Similar efforts started for ATSC3.0 integration</a:t>
            </a:r>
          </a:p>
          <a:p>
            <a:pPr marL="361950" indent="-342900">
              <a:lnSpc>
                <a:spcPct val="110000"/>
              </a:lnSpc>
              <a:defRPr/>
            </a:pPr>
            <a:endParaRPr lang="en-US" sz="1800" u="sng" dirty="0">
              <a:solidFill>
                <a:srgbClr val="032C44"/>
              </a:solidFill>
            </a:endParaRPr>
          </a:p>
          <a:p>
            <a:pPr marL="19050" indent="0">
              <a:lnSpc>
                <a:spcPct val="110000"/>
              </a:lnSpc>
              <a:buNone/>
              <a:defRPr/>
            </a:pPr>
            <a:endParaRPr kumimoji="0" lang="en-US" sz="1800" b="0" i="0" u="none" strike="noStrike" kern="1200" cap="none" spc="0" normalizeH="0" baseline="0" noProof="0" dirty="0">
              <a:ln>
                <a:noFill/>
              </a:ln>
              <a:solidFill>
                <a:schemeClr val="tx1"/>
              </a:solidFill>
              <a:effectLst/>
              <a:uLnTx/>
              <a:uFillTx/>
              <a:latin typeface="Microsoft Sans Serif"/>
              <a:ea typeface="+mn-ea"/>
              <a:cs typeface="+mn-cs"/>
            </a:endParaRPr>
          </a:p>
        </p:txBody>
      </p:sp>
      <p:pic>
        <p:nvPicPr>
          <p:cNvPr id="10" name="Content Placeholder 5">
            <a:extLst>
              <a:ext uri="{FF2B5EF4-FFF2-40B4-BE49-F238E27FC236}">
                <a16:creationId xmlns:a16="http://schemas.microsoft.com/office/drawing/2014/main" id="{95058AF3-124F-2CD9-E157-2015BAA88729}"/>
              </a:ext>
            </a:extLst>
          </p:cNvPr>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bwMode="auto">
          <a:xfrm>
            <a:off x="6215063" y="2176607"/>
            <a:ext cx="5467350" cy="3766848"/>
          </a:xfrm>
          <a:prstGeom prst="rect">
            <a:avLst/>
          </a:prstGeom>
          <a:noFill/>
        </p:spPr>
      </p:pic>
    </p:spTree>
    <p:extLst>
      <p:ext uri="{BB962C8B-B14F-4D97-AF65-F5344CB8AC3E}">
        <p14:creationId xmlns:p14="http://schemas.microsoft.com/office/powerpoint/2010/main" val="1104037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4557BA8-DC2B-61AA-922D-40CADC3E2C0E}"/>
              </a:ext>
            </a:extLst>
          </p:cNvPr>
          <p:cNvSpPr>
            <a:spLocks noGrp="1"/>
          </p:cNvSpPr>
          <p:nvPr>
            <p:ph type="ftr" sz="quarter" idx="10"/>
          </p:nvPr>
        </p:nvSpPr>
        <p:spPr/>
        <p:txBody>
          <a:bodyPr/>
          <a:lstStyle/>
          <a:p>
            <a:r>
              <a:rPr lang="en-US"/>
              <a:t>5G Broadcast Conference</a:t>
            </a:r>
          </a:p>
        </p:txBody>
      </p:sp>
      <p:sp>
        <p:nvSpPr>
          <p:cNvPr id="7" name="Title 6">
            <a:extLst>
              <a:ext uri="{FF2B5EF4-FFF2-40B4-BE49-F238E27FC236}">
                <a16:creationId xmlns:a16="http://schemas.microsoft.com/office/drawing/2014/main" id="{B7DBAE7A-1443-FDA0-7C02-F8D3DB91679A}"/>
              </a:ext>
            </a:extLst>
          </p:cNvPr>
          <p:cNvSpPr>
            <a:spLocks noGrp="1"/>
          </p:cNvSpPr>
          <p:nvPr>
            <p:ph type="title"/>
          </p:nvPr>
        </p:nvSpPr>
        <p:spPr/>
        <p:txBody>
          <a:bodyPr/>
          <a:lstStyle/>
          <a:p>
            <a:r>
              <a:rPr lang="de-DE"/>
              <a:t>#3: 5G Broadcast combined with cellular unicast</a:t>
            </a:r>
            <a:endParaRPr lang="en-US"/>
          </a:p>
        </p:txBody>
      </p:sp>
      <p:sp>
        <p:nvSpPr>
          <p:cNvPr id="11" name="Content Placeholder 10">
            <a:extLst>
              <a:ext uri="{FF2B5EF4-FFF2-40B4-BE49-F238E27FC236}">
                <a16:creationId xmlns:a16="http://schemas.microsoft.com/office/drawing/2014/main" id="{43F8E41B-5314-95EF-DCF6-17BD5FA964EC}"/>
              </a:ext>
            </a:extLst>
          </p:cNvPr>
          <p:cNvSpPr>
            <a:spLocks noGrp="1"/>
          </p:cNvSpPr>
          <p:nvPr>
            <p:ph sz="quarter" idx="16"/>
          </p:nvPr>
        </p:nvSpPr>
        <p:spPr>
          <a:xfrm>
            <a:off x="495299" y="1589964"/>
            <a:ext cx="7152622" cy="4810835"/>
          </a:xfrm>
        </p:spPr>
        <p:txBody>
          <a:bodyPr/>
          <a:lstStyle/>
          <a:p>
            <a:r>
              <a:rPr lang="de-DE"/>
              <a:t>Technical Enablers</a:t>
            </a:r>
          </a:p>
          <a:p>
            <a:pPr lvl="1"/>
            <a:r>
              <a:rPr lang="en-US"/>
              <a:t>5G Broadcast (as a fully defined 3GPP technology) allows the coordination of frequency bands in uplink and downlink, and the </a:t>
            </a:r>
            <a:r>
              <a:rPr lang="en-US">
                <a:solidFill>
                  <a:srgbClr val="FF40FF"/>
                </a:solidFill>
              </a:rPr>
              <a:t>concurrent processing </a:t>
            </a:r>
            <a:r>
              <a:rPr lang="en-US"/>
              <a:t>of broadcast and unicast spectrum in same modem. </a:t>
            </a:r>
          </a:p>
          <a:p>
            <a:pPr lvl="1"/>
            <a:r>
              <a:rPr lang="en-US"/>
              <a:t>Current </a:t>
            </a:r>
            <a:r>
              <a:rPr lang="en-US">
                <a:solidFill>
                  <a:srgbClr val="FF40FF"/>
                </a:solidFill>
              </a:rPr>
              <a:t>commercial</a:t>
            </a:r>
            <a:r>
              <a:rPr lang="en-US"/>
              <a:t> 3GPP modems </a:t>
            </a:r>
            <a:r>
              <a:rPr lang="en-US">
                <a:solidFill>
                  <a:srgbClr val="FF40FF"/>
                </a:solidFill>
              </a:rPr>
              <a:t>already support simultaneous operation </a:t>
            </a:r>
            <a:r>
              <a:rPr lang="en-US"/>
              <a:t>in multiple bands (dual-SIM and dual connectivity)</a:t>
            </a:r>
          </a:p>
          <a:p>
            <a:pPr lvl="2"/>
            <a:r>
              <a:rPr lang="en-US"/>
              <a:t>Concurrent operation of 5G Broadcast and unicast is realized by leveraging the same mechanisms</a:t>
            </a:r>
          </a:p>
          <a:p>
            <a:pPr lvl="2"/>
            <a:r>
              <a:rPr lang="en-US"/>
              <a:t>difference that one of the bands is a receive-only broadcast band (UHF is 3GPP Band 108).</a:t>
            </a:r>
          </a:p>
          <a:p>
            <a:r>
              <a:rPr lang="en-US"/>
              <a:t>Selected Opportunities</a:t>
            </a:r>
          </a:p>
          <a:p>
            <a:pPr lvl="1"/>
            <a:r>
              <a:rPr lang="en-US">
                <a:solidFill>
                  <a:srgbClr val="FF40FF"/>
                </a:solidFill>
              </a:rPr>
              <a:t>Seamless coverage extension </a:t>
            </a:r>
            <a:r>
              <a:rPr lang="en-US"/>
              <a:t>with unicast fallback (indoor, rural, etc.)</a:t>
            </a:r>
          </a:p>
          <a:p>
            <a:pPr lvl="1"/>
            <a:r>
              <a:rPr lang="en-US">
                <a:solidFill>
                  <a:srgbClr val="FF40FF"/>
                </a:solidFill>
              </a:rPr>
              <a:t>Broadcast-on-demand</a:t>
            </a:r>
            <a:r>
              <a:rPr lang="en-US"/>
              <a:t>: consumption and </a:t>
            </a:r>
            <a:r>
              <a:rPr lang="en-US" err="1"/>
              <a:t>QoE</a:t>
            </a:r>
            <a:r>
              <a:rPr lang="en-US"/>
              <a:t> metrics reporting allow a user-centric allocation of radio resources to specific programs </a:t>
            </a:r>
          </a:p>
          <a:p>
            <a:pPr lvl="1"/>
            <a:r>
              <a:rPr lang="en-US">
                <a:solidFill>
                  <a:srgbClr val="FF40FF"/>
                </a:solidFill>
              </a:rPr>
              <a:t>User-targeted features</a:t>
            </a:r>
            <a:r>
              <a:rPr lang="en-US"/>
              <a:t>: interactivity, DRM-protected content, targeted ads, personalization, accessibility, advanced media capabilities (HDR, VR, etc.) </a:t>
            </a:r>
          </a:p>
          <a:p>
            <a:pPr lvl="1"/>
            <a:r>
              <a:rPr lang="en-US">
                <a:solidFill>
                  <a:srgbClr val="FF40FF"/>
                </a:solidFill>
              </a:rPr>
              <a:t>Re-use of existing apps</a:t>
            </a:r>
            <a:r>
              <a:rPr lang="en-US"/>
              <a:t> – 5G Broadcast is a transport-only technology and supports improved quality, cost efficiency, and reliability.</a:t>
            </a:r>
          </a:p>
          <a:p>
            <a:pPr lvl="1"/>
            <a:r>
              <a:rPr lang="en-US"/>
              <a:t>More rapid development and deployments (upgrades, app systems, etc.)</a:t>
            </a:r>
          </a:p>
        </p:txBody>
      </p:sp>
      <p:sp>
        <p:nvSpPr>
          <p:cNvPr id="10" name="Subtitle 9">
            <a:extLst>
              <a:ext uri="{FF2B5EF4-FFF2-40B4-BE49-F238E27FC236}">
                <a16:creationId xmlns:a16="http://schemas.microsoft.com/office/drawing/2014/main" id="{BA8C8F9F-D485-C120-845E-B2ADC5F6E436}"/>
              </a:ext>
            </a:extLst>
          </p:cNvPr>
          <p:cNvSpPr>
            <a:spLocks noGrp="1"/>
          </p:cNvSpPr>
          <p:nvPr>
            <p:ph type="subTitle" idx="1"/>
          </p:nvPr>
        </p:nvSpPr>
        <p:spPr/>
        <p:txBody>
          <a:bodyPr/>
          <a:lstStyle/>
          <a:p>
            <a:r>
              <a:rPr lang="de-DE"/>
              <a:t>5G Broadcast is expected to be available as a new feature in </a:t>
            </a:r>
            <a:r>
              <a:rPr lang="de-DE">
                <a:solidFill>
                  <a:srgbClr val="FF40FF"/>
                </a:solidFill>
              </a:rPr>
              <a:t>mainstream</a:t>
            </a:r>
            <a:r>
              <a:rPr lang="de-DE"/>
              <a:t> mobile devices w/o comprising existing features  </a:t>
            </a:r>
            <a:endParaRPr lang="en-US"/>
          </a:p>
        </p:txBody>
      </p:sp>
      <p:sp>
        <p:nvSpPr>
          <p:cNvPr id="13" name="TextBox 12">
            <a:extLst>
              <a:ext uri="{FF2B5EF4-FFF2-40B4-BE49-F238E27FC236}">
                <a16:creationId xmlns:a16="http://schemas.microsoft.com/office/drawing/2014/main" id="{2ACEA15F-0337-F763-0519-58D44DBE4003}"/>
              </a:ext>
            </a:extLst>
          </p:cNvPr>
          <p:cNvSpPr txBox="1"/>
          <p:nvPr/>
        </p:nvSpPr>
        <p:spPr>
          <a:xfrm>
            <a:off x="9698111" y="1858542"/>
            <a:ext cx="122341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71F"/>
                </a:solidFill>
                <a:effectLst/>
                <a:uLnTx/>
                <a:uFillTx/>
                <a:latin typeface="Microsoft Sans Serif"/>
                <a:ea typeface="+mn-ea"/>
                <a:cs typeface="+mn-cs"/>
              </a:rPr>
              <a:t>Broadcast</a:t>
            </a:r>
          </a:p>
        </p:txBody>
      </p:sp>
      <p:cxnSp>
        <p:nvCxnSpPr>
          <p:cNvPr id="14" name="Straight Arrow Connector 13">
            <a:extLst>
              <a:ext uri="{FF2B5EF4-FFF2-40B4-BE49-F238E27FC236}">
                <a16:creationId xmlns:a16="http://schemas.microsoft.com/office/drawing/2014/main" id="{288E17E9-4B2C-6C7B-2FD9-FF0C01B4665E}"/>
              </a:ext>
            </a:extLst>
          </p:cNvPr>
          <p:cNvCxnSpPr>
            <a:stCxn id="13" idx="2"/>
          </p:cNvCxnSpPr>
          <p:nvPr/>
        </p:nvCxnSpPr>
        <p:spPr>
          <a:xfrm flipH="1">
            <a:off x="10309815" y="2227874"/>
            <a:ext cx="2" cy="6572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5" name="Graphic 14" descr="Cell Tower outline">
            <a:extLst>
              <a:ext uri="{FF2B5EF4-FFF2-40B4-BE49-F238E27FC236}">
                <a16:creationId xmlns:a16="http://schemas.microsoft.com/office/drawing/2014/main" id="{99C5B085-8C55-F568-7815-6923711E07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36240" y="3014017"/>
            <a:ext cx="914400" cy="914400"/>
          </a:xfrm>
          <a:prstGeom prst="rect">
            <a:avLst/>
          </a:prstGeom>
        </p:spPr>
      </p:pic>
      <p:pic>
        <p:nvPicPr>
          <p:cNvPr id="16" name="Graphic 15" descr="Smart Phone outline">
            <a:extLst>
              <a:ext uri="{FF2B5EF4-FFF2-40B4-BE49-F238E27FC236}">
                <a16:creationId xmlns:a16="http://schemas.microsoft.com/office/drawing/2014/main" id="{3A4707EF-1A81-44A6-AB4F-EABFDEF752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08325" y="4610475"/>
            <a:ext cx="724988" cy="724988"/>
          </a:xfrm>
          <a:prstGeom prst="rect">
            <a:avLst/>
          </a:prstGeom>
        </p:spPr>
      </p:pic>
      <p:sp>
        <p:nvSpPr>
          <p:cNvPr id="17" name="Rectangle 16">
            <a:extLst>
              <a:ext uri="{FF2B5EF4-FFF2-40B4-BE49-F238E27FC236}">
                <a16:creationId xmlns:a16="http://schemas.microsoft.com/office/drawing/2014/main" id="{E77737A9-0F49-FA50-2D91-A3E83DFE9E20}"/>
              </a:ext>
            </a:extLst>
          </p:cNvPr>
          <p:cNvSpPr/>
          <p:nvPr/>
        </p:nvSpPr>
        <p:spPr>
          <a:xfrm>
            <a:off x="8921282" y="5311848"/>
            <a:ext cx="1749368" cy="269966"/>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7F8FA"/>
                </a:solidFill>
                <a:effectLst/>
                <a:uLnTx/>
                <a:uFillTx/>
                <a:latin typeface="Microsoft Sans Serif"/>
                <a:ea typeface="+mn-ea"/>
                <a:cs typeface="+mn-cs"/>
              </a:rPr>
              <a:t>Cellular Modem</a:t>
            </a:r>
          </a:p>
        </p:txBody>
      </p:sp>
      <p:cxnSp>
        <p:nvCxnSpPr>
          <p:cNvPr id="18" name="Straight Connector 17">
            <a:extLst>
              <a:ext uri="{FF2B5EF4-FFF2-40B4-BE49-F238E27FC236}">
                <a16:creationId xmlns:a16="http://schemas.microsoft.com/office/drawing/2014/main" id="{570F973C-D2F6-32B3-2C2C-69E22A960EB4}"/>
              </a:ext>
            </a:extLst>
          </p:cNvPr>
          <p:cNvCxnSpPr>
            <a:cxnSpLocks/>
            <a:endCxn id="16" idx="0"/>
          </p:cNvCxnSpPr>
          <p:nvPr/>
        </p:nvCxnSpPr>
        <p:spPr>
          <a:xfrm flipH="1">
            <a:off x="9570819" y="3928417"/>
            <a:ext cx="730345" cy="682058"/>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1" name="Graphic 20" descr="Download from cloud outline">
            <a:extLst>
              <a:ext uri="{FF2B5EF4-FFF2-40B4-BE49-F238E27FC236}">
                <a16:creationId xmlns:a16="http://schemas.microsoft.com/office/drawing/2014/main" id="{6D3857BA-DEBA-900C-2175-4C958335D7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2249" y="2064620"/>
            <a:ext cx="914400" cy="914400"/>
          </a:xfrm>
          <a:prstGeom prst="rect">
            <a:avLst/>
          </a:prstGeom>
        </p:spPr>
      </p:pic>
      <p:sp>
        <p:nvSpPr>
          <p:cNvPr id="22" name="TextBox 21">
            <a:extLst>
              <a:ext uri="{FF2B5EF4-FFF2-40B4-BE49-F238E27FC236}">
                <a16:creationId xmlns:a16="http://schemas.microsoft.com/office/drawing/2014/main" id="{997E217A-F2E4-DF66-1A0F-378782C0DBF1}"/>
              </a:ext>
            </a:extLst>
          </p:cNvPr>
          <p:cNvSpPr txBox="1"/>
          <p:nvPr/>
        </p:nvSpPr>
        <p:spPr>
          <a:xfrm>
            <a:off x="8531161" y="1848249"/>
            <a:ext cx="9450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171F"/>
                </a:solidFill>
                <a:effectLst/>
                <a:uLnTx/>
                <a:uFillTx/>
                <a:latin typeface="Microsoft Sans Serif"/>
                <a:ea typeface="+mn-ea"/>
                <a:cs typeface="+mn-cs"/>
              </a:rPr>
              <a:t>Internet</a:t>
            </a:r>
          </a:p>
        </p:txBody>
      </p:sp>
      <p:cxnSp>
        <p:nvCxnSpPr>
          <p:cNvPr id="23" name="Straight Connector 22">
            <a:extLst>
              <a:ext uri="{FF2B5EF4-FFF2-40B4-BE49-F238E27FC236}">
                <a16:creationId xmlns:a16="http://schemas.microsoft.com/office/drawing/2014/main" id="{92628983-DEA8-2B31-15B9-89B4F8AEF8E0}"/>
              </a:ext>
            </a:extLst>
          </p:cNvPr>
          <p:cNvCxnSpPr>
            <a:cxnSpLocks/>
            <a:stCxn id="15" idx="2"/>
            <a:endCxn id="16" idx="0"/>
          </p:cNvCxnSpPr>
          <p:nvPr/>
        </p:nvCxnSpPr>
        <p:spPr>
          <a:xfrm>
            <a:off x="8993440" y="3928417"/>
            <a:ext cx="577379" cy="6820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phic 23" descr="Cell Tower with solid fill">
            <a:extLst>
              <a:ext uri="{FF2B5EF4-FFF2-40B4-BE49-F238E27FC236}">
                <a16:creationId xmlns:a16="http://schemas.microsoft.com/office/drawing/2014/main" id="{AED56141-F40D-86B8-D40A-4A72B00DEE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86778" y="2973904"/>
            <a:ext cx="914400" cy="914400"/>
          </a:xfrm>
          <a:prstGeom prst="rect">
            <a:avLst/>
          </a:prstGeom>
        </p:spPr>
      </p:pic>
      <p:sp>
        <p:nvSpPr>
          <p:cNvPr id="25" name="Rectangle 24">
            <a:extLst>
              <a:ext uri="{FF2B5EF4-FFF2-40B4-BE49-F238E27FC236}">
                <a16:creationId xmlns:a16="http://schemas.microsoft.com/office/drawing/2014/main" id="{D8229DC9-B2E8-D9C8-3345-3495C53E8933}"/>
              </a:ext>
            </a:extLst>
          </p:cNvPr>
          <p:cNvSpPr/>
          <p:nvPr/>
        </p:nvSpPr>
        <p:spPr>
          <a:xfrm>
            <a:off x="8381243" y="2985741"/>
            <a:ext cx="2418702" cy="9143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pic>
        <p:nvPicPr>
          <p:cNvPr id="26" name="Picture 2" descr="About 3GPP">
            <a:extLst>
              <a:ext uri="{FF2B5EF4-FFF2-40B4-BE49-F238E27FC236}">
                <a16:creationId xmlns:a16="http://schemas.microsoft.com/office/drawing/2014/main" id="{BC836CC3-337B-A023-1BE3-765B21EDB7C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20848" y="3061598"/>
            <a:ext cx="610313" cy="355508"/>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a:extLst>
              <a:ext uri="{FF2B5EF4-FFF2-40B4-BE49-F238E27FC236}">
                <a16:creationId xmlns:a16="http://schemas.microsoft.com/office/drawing/2014/main" id="{19F5C023-DF9E-7610-73DF-089C5DE614D8}"/>
              </a:ext>
            </a:extLst>
          </p:cNvPr>
          <p:cNvCxnSpPr>
            <a:cxnSpLocks/>
          </p:cNvCxnSpPr>
          <p:nvPr/>
        </p:nvCxnSpPr>
        <p:spPr>
          <a:xfrm>
            <a:off x="9450640" y="3495380"/>
            <a:ext cx="489144" cy="0"/>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7A6BB2-50D1-D9A2-B498-4B7B74263F4B}"/>
              </a:ext>
            </a:extLst>
          </p:cNvPr>
          <p:cNvSpPr/>
          <p:nvPr/>
        </p:nvSpPr>
        <p:spPr>
          <a:xfrm>
            <a:off x="7851528" y="1452502"/>
            <a:ext cx="3478131" cy="342795"/>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lnSpc>
                <a:spcPct val="96000"/>
              </a:lnSpc>
            </a:pPr>
            <a:r>
              <a:rPr lang="de-DE">
                <a:solidFill>
                  <a:schemeClr val="bg1"/>
                </a:solidFill>
                <a:latin typeface="Microsoft Sans Serif"/>
                <a:cs typeface="Microsoft Sans Serif" panose="020B0604020202020204" pitchFamily="34" charset="0"/>
              </a:rPr>
              <a:t>TV Application/Service Provider</a:t>
            </a:r>
            <a:endParaRPr lang="en-US" err="1">
              <a:solidFill>
                <a:schemeClr val="bg1"/>
              </a:solidFill>
              <a:latin typeface="Microsoft Sans Serif"/>
              <a:cs typeface="Microsoft Sans Serif" panose="020B0604020202020204" pitchFamily="34" charset="0"/>
            </a:endParaRPr>
          </a:p>
        </p:txBody>
      </p:sp>
      <p:sp>
        <p:nvSpPr>
          <p:cNvPr id="29" name="Rectangle 28">
            <a:extLst>
              <a:ext uri="{FF2B5EF4-FFF2-40B4-BE49-F238E27FC236}">
                <a16:creationId xmlns:a16="http://schemas.microsoft.com/office/drawing/2014/main" id="{2B92F602-9A6B-FDF5-9006-B3926CD6FED1}"/>
              </a:ext>
            </a:extLst>
          </p:cNvPr>
          <p:cNvSpPr/>
          <p:nvPr/>
        </p:nvSpPr>
        <p:spPr>
          <a:xfrm>
            <a:off x="8088050" y="5620739"/>
            <a:ext cx="1610061" cy="357381"/>
          </a:xfrm>
          <a:prstGeom prst="rect">
            <a:avLst/>
          </a:prstGeom>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a:solidFill>
                  <a:schemeClr val="bg1"/>
                </a:solidFill>
                <a:latin typeface="Microsoft Sans Serif"/>
                <a:cs typeface="Microsoft Sans Serif" panose="020B0604020202020204" pitchFamily="34" charset="0"/>
              </a:rPr>
              <a:t>Cellular unicast</a:t>
            </a:r>
            <a:endParaRPr lang="en-US" sz="1600" err="1">
              <a:solidFill>
                <a:schemeClr val="bg1"/>
              </a:solidFill>
              <a:latin typeface="Microsoft Sans Serif"/>
              <a:cs typeface="Microsoft Sans Serif" panose="020B0604020202020204" pitchFamily="34" charset="0"/>
            </a:endParaRPr>
          </a:p>
        </p:txBody>
      </p:sp>
      <p:sp>
        <p:nvSpPr>
          <p:cNvPr id="30" name="TextBox 29">
            <a:extLst>
              <a:ext uri="{FF2B5EF4-FFF2-40B4-BE49-F238E27FC236}">
                <a16:creationId xmlns:a16="http://schemas.microsoft.com/office/drawing/2014/main" id="{A301D37C-D348-3E90-717A-4E061D205197}"/>
              </a:ext>
            </a:extLst>
          </p:cNvPr>
          <p:cNvSpPr txBox="1"/>
          <p:nvPr/>
        </p:nvSpPr>
        <p:spPr>
          <a:xfrm>
            <a:off x="10954942" y="3045469"/>
            <a:ext cx="1110882" cy="472694"/>
          </a:xfrm>
          <a:prstGeom prst="rect">
            <a:avLst/>
          </a:prstGeom>
        </p:spPr>
        <p:txBody>
          <a:bodyPr wrap="none" lIns="0" tIns="0" rIns="0" bIns="0" rtlCol="0">
            <a:spAutoFit/>
          </a:bodyPr>
          <a:lstStyle/>
          <a:p>
            <a:pPr algn="l">
              <a:lnSpc>
                <a:spcPct val="96000"/>
              </a:lnSpc>
            </a:pPr>
            <a:r>
              <a:rPr lang="de-DE" sz="1600">
                <a:solidFill>
                  <a:schemeClr val="tx2"/>
                </a:solidFill>
                <a:latin typeface="Microsoft Sans Serif"/>
                <a:cs typeface="Microsoft Sans Serif" panose="020B0604020202020204" pitchFamily="34" charset="0"/>
              </a:rPr>
              <a:t>High Power </a:t>
            </a:r>
          </a:p>
          <a:p>
            <a:pPr algn="l">
              <a:lnSpc>
                <a:spcPct val="96000"/>
              </a:lnSpc>
            </a:pPr>
            <a:r>
              <a:rPr lang="de-DE" sz="1600">
                <a:solidFill>
                  <a:schemeClr val="tx2"/>
                </a:solidFill>
                <a:latin typeface="Microsoft Sans Serif"/>
                <a:cs typeface="Microsoft Sans Serif" panose="020B0604020202020204" pitchFamily="34" charset="0"/>
              </a:rPr>
              <a:t>High Tower</a:t>
            </a:r>
            <a:endParaRPr lang="en-US" sz="1600">
              <a:solidFill>
                <a:schemeClr val="tx2"/>
              </a:solidFill>
              <a:latin typeface="Microsoft Sans Serif"/>
              <a:cs typeface="Microsoft Sans Serif" panose="020B0604020202020204" pitchFamily="34" charset="0"/>
            </a:endParaRPr>
          </a:p>
        </p:txBody>
      </p:sp>
      <p:sp>
        <p:nvSpPr>
          <p:cNvPr id="31" name="Rectangle 30">
            <a:extLst>
              <a:ext uri="{FF2B5EF4-FFF2-40B4-BE49-F238E27FC236}">
                <a16:creationId xmlns:a16="http://schemas.microsoft.com/office/drawing/2014/main" id="{8424BC76-DA8F-E854-5023-8B03D7FCFB81}"/>
              </a:ext>
            </a:extLst>
          </p:cNvPr>
          <p:cNvSpPr/>
          <p:nvPr/>
        </p:nvSpPr>
        <p:spPr>
          <a:xfrm>
            <a:off x="9748260" y="5621112"/>
            <a:ext cx="1533693" cy="357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sz="1600">
                <a:solidFill>
                  <a:schemeClr val="bg1"/>
                </a:solidFill>
                <a:latin typeface="Microsoft Sans Serif"/>
                <a:cs typeface="Microsoft Sans Serif" panose="020B0604020202020204" pitchFamily="34" charset="0"/>
              </a:rPr>
              <a:t>5G broadcast</a:t>
            </a:r>
            <a:endParaRPr lang="en-US" sz="1600" err="1">
              <a:solidFill>
                <a:schemeClr val="bg1"/>
              </a:solidFill>
              <a:latin typeface="Microsoft Sans Serif"/>
              <a:cs typeface="Microsoft Sans Serif" panose="020B0604020202020204" pitchFamily="34" charset="0"/>
            </a:endParaRPr>
          </a:p>
        </p:txBody>
      </p:sp>
      <p:sp>
        <p:nvSpPr>
          <p:cNvPr id="32" name="Rectangle 31">
            <a:extLst>
              <a:ext uri="{FF2B5EF4-FFF2-40B4-BE49-F238E27FC236}">
                <a16:creationId xmlns:a16="http://schemas.microsoft.com/office/drawing/2014/main" id="{1752CF06-3283-901A-8CAB-B27753AB4DDE}"/>
              </a:ext>
            </a:extLst>
          </p:cNvPr>
          <p:cNvSpPr/>
          <p:nvPr/>
        </p:nvSpPr>
        <p:spPr>
          <a:xfrm>
            <a:off x="8088050" y="6019555"/>
            <a:ext cx="3200576" cy="342795"/>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lnSpc>
                <a:spcPct val="96000"/>
              </a:lnSpc>
            </a:pPr>
            <a:r>
              <a:rPr lang="de-DE">
                <a:solidFill>
                  <a:schemeClr val="bg1"/>
                </a:solidFill>
                <a:latin typeface="Microsoft Sans Serif"/>
                <a:cs typeface="Microsoft Sans Serif" panose="020B0604020202020204" pitchFamily="34" charset="0"/>
              </a:rPr>
              <a:t>TV/Media Application</a:t>
            </a:r>
            <a:endParaRPr lang="en-US"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7044287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animBg="1"/>
      <p:bldP spid="30" grpId="0"/>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3593167"/>
            <a:ext cx="8829675" cy="722955"/>
          </a:xfrm>
        </p:spPr>
        <p:txBody>
          <a:bodyPr/>
          <a:lstStyle/>
          <a:p>
            <a:r>
              <a:rPr lang="de-DE" dirty="0"/>
              <a:t>Trial Updates</a:t>
            </a:r>
            <a:endParaRPr lang="en-US" dirty="0"/>
          </a:p>
        </p:txBody>
      </p:sp>
      <p:sp>
        <p:nvSpPr>
          <p:cNvPr id="4" name="Subtitle 3">
            <a:extLst>
              <a:ext uri="{FF2B5EF4-FFF2-40B4-BE49-F238E27FC236}">
                <a16:creationId xmlns:a16="http://schemas.microsoft.com/office/drawing/2014/main" id="{C46600A3-FAB2-D490-2CCB-2D33072DF54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6614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5C6DF-78D1-3A1E-F7FF-00CDF7D78B80}"/>
            </a:ext>
          </a:extLst>
        </p:cNvPr>
        <p:cNvGrpSpPr/>
        <p:nvPr/>
      </p:nvGrpSpPr>
      <p:grpSpPr>
        <a:xfrm>
          <a:off x="0" y="0"/>
          <a:ext cx="0" cy="0"/>
          <a:chOff x="0" y="0"/>
          <a:chExt cx="0" cy="0"/>
        </a:xfrm>
      </p:grpSpPr>
      <p:cxnSp>
        <p:nvCxnSpPr>
          <p:cNvPr id="230" name="Straight Connector 229">
            <a:extLst>
              <a:ext uri="{FF2B5EF4-FFF2-40B4-BE49-F238E27FC236}">
                <a16:creationId xmlns:a16="http://schemas.microsoft.com/office/drawing/2014/main" id="{4533B737-0AB9-AF65-56A2-733157A20943}"/>
              </a:ext>
            </a:extLst>
          </p:cNvPr>
          <p:cNvCxnSpPr>
            <a:cxnSpLocks/>
          </p:cNvCxnSpPr>
          <p:nvPr/>
        </p:nvCxnSpPr>
        <p:spPr>
          <a:xfrm flipH="1">
            <a:off x="4659048" y="4674379"/>
            <a:ext cx="1550949" cy="964972"/>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70DC8C61-400A-6182-DF67-4D40666CD92D}"/>
              </a:ext>
            </a:extLst>
          </p:cNvPr>
          <p:cNvSpPr/>
          <p:nvPr/>
        </p:nvSpPr>
        <p:spPr>
          <a:xfrm>
            <a:off x="0" y="-26152"/>
            <a:ext cx="12192000" cy="1149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Title 3">
            <a:extLst>
              <a:ext uri="{FF2B5EF4-FFF2-40B4-BE49-F238E27FC236}">
                <a16:creationId xmlns:a16="http://schemas.microsoft.com/office/drawing/2014/main" id="{A4D689D5-DE55-A84B-EAC1-13F8998AD916}"/>
              </a:ext>
            </a:extLst>
          </p:cNvPr>
          <p:cNvSpPr txBox="1">
            <a:spLocks/>
          </p:cNvSpPr>
          <p:nvPr/>
        </p:nvSpPr>
        <p:spPr>
          <a:xfrm>
            <a:off x="293349" y="500265"/>
            <a:ext cx="11187112" cy="997694"/>
          </a:xfrm>
          <a:prstGeom prst="rect">
            <a:avLst/>
          </a:prstGeom>
        </p:spPr>
        <p:txBody>
          <a:bodyPr/>
          <a:lst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a:lstStyle>
          <a:p>
            <a:r>
              <a:rPr lang="en-US">
                <a:solidFill>
                  <a:schemeClr val="bg1"/>
                </a:solidFill>
              </a:rPr>
              <a:t>Trials and demonstrations  - Europe</a:t>
            </a:r>
          </a:p>
        </p:txBody>
      </p:sp>
      <p:cxnSp>
        <p:nvCxnSpPr>
          <p:cNvPr id="16" name="Straight Connector 15">
            <a:extLst>
              <a:ext uri="{FF2B5EF4-FFF2-40B4-BE49-F238E27FC236}">
                <a16:creationId xmlns:a16="http://schemas.microsoft.com/office/drawing/2014/main" id="{72608E21-3328-95D6-0687-44BD6169B7C1}"/>
              </a:ext>
            </a:extLst>
          </p:cNvPr>
          <p:cNvCxnSpPr>
            <a:cxnSpLocks/>
          </p:cNvCxnSpPr>
          <p:nvPr/>
        </p:nvCxnSpPr>
        <p:spPr>
          <a:xfrm>
            <a:off x="616029" y="3028901"/>
            <a:ext cx="273401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FA57834-DFE5-765C-3786-B3A06B3A0BA1}"/>
              </a:ext>
            </a:extLst>
          </p:cNvPr>
          <p:cNvSpPr txBox="1"/>
          <p:nvPr/>
        </p:nvSpPr>
        <p:spPr>
          <a:xfrm>
            <a:off x="616029" y="2806161"/>
            <a:ext cx="606063"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France</a:t>
            </a:r>
          </a:p>
        </p:txBody>
      </p:sp>
      <p:cxnSp>
        <p:nvCxnSpPr>
          <p:cNvPr id="22" name="Straight Connector 21">
            <a:extLst>
              <a:ext uri="{FF2B5EF4-FFF2-40B4-BE49-F238E27FC236}">
                <a16:creationId xmlns:a16="http://schemas.microsoft.com/office/drawing/2014/main" id="{E36DCDBE-9228-8285-3120-67E36CACE394}"/>
              </a:ext>
            </a:extLst>
          </p:cNvPr>
          <p:cNvCxnSpPr>
            <a:cxnSpLocks/>
          </p:cNvCxnSpPr>
          <p:nvPr/>
        </p:nvCxnSpPr>
        <p:spPr>
          <a:xfrm>
            <a:off x="8248638" y="1436061"/>
            <a:ext cx="3328969"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2F101E1-222B-ABDA-DBE7-241D4F349724}"/>
              </a:ext>
            </a:extLst>
          </p:cNvPr>
          <p:cNvSpPr txBox="1"/>
          <p:nvPr/>
        </p:nvSpPr>
        <p:spPr>
          <a:xfrm>
            <a:off x="10724966" y="1190803"/>
            <a:ext cx="811697"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Germany</a:t>
            </a:r>
          </a:p>
        </p:txBody>
      </p:sp>
      <p:cxnSp>
        <p:nvCxnSpPr>
          <p:cNvPr id="24" name="Straight Connector 23">
            <a:extLst>
              <a:ext uri="{FF2B5EF4-FFF2-40B4-BE49-F238E27FC236}">
                <a16:creationId xmlns:a16="http://schemas.microsoft.com/office/drawing/2014/main" id="{0E629CCE-6D29-8238-A0A0-7238904EBD8F}"/>
              </a:ext>
            </a:extLst>
          </p:cNvPr>
          <p:cNvCxnSpPr>
            <a:cxnSpLocks/>
          </p:cNvCxnSpPr>
          <p:nvPr/>
        </p:nvCxnSpPr>
        <p:spPr>
          <a:xfrm>
            <a:off x="1933326" y="5635572"/>
            <a:ext cx="273401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CA59920-5FA5-8CE0-0D49-1B4475CE6B07}"/>
              </a:ext>
            </a:extLst>
          </p:cNvPr>
          <p:cNvSpPr txBox="1"/>
          <p:nvPr/>
        </p:nvSpPr>
        <p:spPr>
          <a:xfrm>
            <a:off x="1933326" y="5406856"/>
            <a:ext cx="372666"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Italy</a:t>
            </a:r>
          </a:p>
        </p:txBody>
      </p:sp>
      <p:cxnSp>
        <p:nvCxnSpPr>
          <p:cNvPr id="26" name="Straight Connector 25">
            <a:extLst>
              <a:ext uri="{FF2B5EF4-FFF2-40B4-BE49-F238E27FC236}">
                <a16:creationId xmlns:a16="http://schemas.microsoft.com/office/drawing/2014/main" id="{2B32DDFC-8852-60D5-3979-6D8E7B043BA2}"/>
              </a:ext>
            </a:extLst>
          </p:cNvPr>
          <p:cNvCxnSpPr>
            <a:cxnSpLocks/>
          </p:cNvCxnSpPr>
          <p:nvPr/>
        </p:nvCxnSpPr>
        <p:spPr>
          <a:xfrm>
            <a:off x="8847756" y="3840857"/>
            <a:ext cx="3015538"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FE759F4-D016-DB3C-7567-80E97F97B8FB}"/>
              </a:ext>
            </a:extLst>
          </p:cNvPr>
          <p:cNvSpPr txBox="1"/>
          <p:nvPr/>
        </p:nvSpPr>
        <p:spPr>
          <a:xfrm>
            <a:off x="10578333" y="3573295"/>
            <a:ext cx="1388329"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Czech Republic</a:t>
            </a:r>
          </a:p>
        </p:txBody>
      </p:sp>
      <p:cxnSp>
        <p:nvCxnSpPr>
          <p:cNvPr id="28" name="Straight Connector 27">
            <a:extLst>
              <a:ext uri="{FF2B5EF4-FFF2-40B4-BE49-F238E27FC236}">
                <a16:creationId xmlns:a16="http://schemas.microsoft.com/office/drawing/2014/main" id="{95C64725-54F1-8241-5B68-DCDF8BD82666}"/>
              </a:ext>
            </a:extLst>
          </p:cNvPr>
          <p:cNvCxnSpPr>
            <a:cxnSpLocks/>
          </p:cNvCxnSpPr>
          <p:nvPr/>
        </p:nvCxnSpPr>
        <p:spPr>
          <a:xfrm>
            <a:off x="426077" y="1539502"/>
            <a:ext cx="3324251"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5138320-6539-2FE6-968F-E119367311DF}"/>
              </a:ext>
            </a:extLst>
          </p:cNvPr>
          <p:cNvSpPr txBox="1"/>
          <p:nvPr/>
        </p:nvSpPr>
        <p:spPr>
          <a:xfrm>
            <a:off x="426077" y="1323535"/>
            <a:ext cx="256480"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UK</a:t>
            </a:r>
          </a:p>
        </p:txBody>
      </p:sp>
      <p:cxnSp>
        <p:nvCxnSpPr>
          <p:cNvPr id="30" name="Straight Connector 29">
            <a:extLst>
              <a:ext uri="{FF2B5EF4-FFF2-40B4-BE49-F238E27FC236}">
                <a16:creationId xmlns:a16="http://schemas.microsoft.com/office/drawing/2014/main" id="{C9D6B7F4-BE32-B65C-4B7D-F8357F4A96C8}"/>
              </a:ext>
            </a:extLst>
          </p:cNvPr>
          <p:cNvCxnSpPr>
            <a:cxnSpLocks/>
          </p:cNvCxnSpPr>
          <p:nvPr/>
        </p:nvCxnSpPr>
        <p:spPr>
          <a:xfrm>
            <a:off x="8552952" y="4702502"/>
            <a:ext cx="3441199" cy="61"/>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C74E883-FE98-1718-7D19-36E7E31A2359}"/>
              </a:ext>
            </a:extLst>
          </p:cNvPr>
          <p:cNvSpPr txBox="1"/>
          <p:nvPr/>
        </p:nvSpPr>
        <p:spPr>
          <a:xfrm>
            <a:off x="11345855" y="4495119"/>
            <a:ext cx="627159"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Austria</a:t>
            </a:r>
          </a:p>
        </p:txBody>
      </p:sp>
      <p:grpSp>
        <p:nvGrpSpPr>
          <p:cNvPr id="195" name="Group 194">
            <a:extLst>
              <a:ext uri="{FF2B5EF4-FFF2-40B4-BE49-F238E27FC236}">
                <a16:creationId xmlns:a16="http://schemas.microsoft.com/office/drawing/2014/main" id="{7594C1D2-01B1-38CB-A1F9-6E4629244AF7}"/>
              </a:ext>
            </a:extLst>
          </p:cNvPr>
          <p:cNvGrpSpPr/>
          <p:nvPr/>
        </p:nvGrpSpPr>
        <p:grpSpPr>
          <a:xfrm>
            <a:off x="4498148" y="1529346"/>
            <a:ext cx="3874894" cy="3652613"/>
            <a:chOff x="5454755" y="2527634"/>
            <a:chExt cx="2589585" cy="2441035"/>
          </a:xfrm>
        </p:grpSpPr>
        <p:sp>
          <p:nvSpPr>
            <p:cNvPr id="113" name="Freeform 66">
              <a:extLst>
                <a:ext uri="{FF2B5EF4-FFF2-40B4-BE49-F238E27FC236}">
                  <a16:creationId xmlns:a16="http://schemas.microsoft.com/office/drawing/2014/main" id="{8277C1FC-1D91-9C51-E2F9-4713D5B0E90F}"/>
                </a:ext>
              </a:extLst>
            </p:cNvPr>
            <p:cNvSpPr>
              <a:spLocks noChangeArrowheads="1"/>
            </p:cNvSpPr>
            <p:nvPr/>
          </p:nvSpPr>
          <p:spPr bwMode="auto">
            <a:xfrm>
              <a:off x="6410329" y="4137255"/>
              <a:ext cx="352521" cy="164068"/>
            </a:xfrm>
            <a:custGeom>
              <a:avLst/>
              <a:gdLst>
                <a:gd name="T0" fmla="*/ 573 w 700"/>
                <a:gd name="T1" fmla="*/ 25 h 326"/>
                <a:gd name="T2" fmla="*/ 573 w 700"/>
                <a:gd name="T3" fmla="*/ 25 h 326"/>
                <a:gd name="T4" fmla="*/ 499 w 700"/>
                <a:gd name="T5" fmla="*/ 0 h 326"/>
                <a:gd name="T6" fmla="*/ 473 w 700"/>
                <a:gd name="T7" fmla="*/ 50 h 326"/>
                <a:gd name="T8" fmla="*/ 398 w 700"/>
                <a:gd name="T9" fmla="*/ 50 h 326"/>
                <a:gd name="T10" fmla="*/ 348 w 700"/>
                <a:gd name="T11" fmla="*/ 100 h 326"/>
                <a:gd name="T12" fmla="*/ 299 w 700"/>
                <a:gd name="T13" fmla="*/ 150 h 326"/>
                <a:gd name="T14" fmla="*/ 273 w 700"/>
                <a:gd name="T15" fmla="*/ 175 h 326"/>
                <a:gd name="T16" fmla="*/ 173 w 700"/>
                <a:gd name="T17" fmla="*/ 200 h 326"/>
                <a:gd name="T18" fmla="*/ 125 w 700"/>
                <a:gd name="T19" fmla="*/ 200 h 326"/>
                <a:gd name="T20" fmla="*/ 74 w 700"/>
                <a:gd name="T21" fmla="*/ 200 h 326"/>
                <a:gd name="T22" fmla="*/ 0 w 700"/>
                <a:gd name="T23" fmla="*/ 200 h 326"/>
                <a:gd name="T24" fmla="*/ 0 w 700"/>
                <a:gd name="T25" fmla="*/ 250 h 326"/>
                <a:gd name="T26" fmla="*/ 49 w 700"/>
                <a:gd name="T27" fmla="*/ 275 h 326"/>
                <a:gd name="T28" fmla="*/ 100 w 700"/>
                <a:gd name="T29" fmla="*/ 275 h 326"/>
                <a:gd name="T30" fmla="*/ 173 w 700"/>
                <a:gd name="T31" fmla="*/ 250 h 326"/>
                <a:gd name="T32" fmla="*/ 248 w 700"/>
                <a:gd name="T33" fmla="*/ 250 h 326"/>
                <a:gd name="T34" fmla="*/ 248 w 700"/>
                <a:gd name="T35" fmla="*/ 300 h 326"/>
                <a:gd name="T36" fmla="*/ 348 w 700"/>
                <a:gd name="T37" fmla="*/ 300 h 326"/>
                <a:gd name="T38" fmla="*/ 448 w 700"/>
                <a:gd name="T39" fmla="*/ 325 h 326"/>
                <a:gd name="T40" fmla="*/ 524 w 700"/>
                <a:gd name="T41" fmla="*/ 300 h 326"/>
                <a:gd name="T42" fmla="*/ 599 w 700"/>
                <a:gd name="T43" fmla="*/ 275 h 326"/>
                <a:gd name="T44" fmla="*/ 599 w 700"/>
                <a:gd name="T45" fmla="*/ 275 h 326"/>
                <a:gd name="T46" fmla="*/ 599 w 700"/>
                <a:gd name="T47" fmla="*/ 250 h 326"/>
                <a:gd name="T48" fmla="*/ 624 w 700"/>
                <a:gd name="T49" fmla="*/ 200 h 326"/>
                <a:gd name="T50" fmla="*/ 624 w 700"/>
                <a:gd name="T51" fmla="*/ 175 h 326"/>
                <a:gd name="T52" fmla="*/ 673 w 700"/>
                <a:gd name="T53" fmla="*/ 150 h 326"/>
                <a:gd name="T54" fmla="*/ 699 w 700"/>
                <a:gd name="T55" fmla="*/ 125 h 326"/>
                <a:gd name="T56" fmla="*/ 649 w 700"/>
                <a:gd name="T57" fmla="*/ 50 h 326"/>
                <a:gd name="T58" fmla="*/ 573 w 700"/>
                <a:gd name="T59"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0" h="326">
                  <a:moveTo>
                    <a:pt x="573" y="25"/>
                  </a:moveTo>
                  <a:lnTo>
                    <a:pt x="573" y="25"/>
                  </a:lnTo>
                  <a:cubicBezTo>
                    <a:pt x="548" y="0"/>
                    <a:pt x="499" y="0"/>
                    <a:pt x="499" y="0"/>
                  </a:cubicBezTo>
                  <a:cubicBezTo>
                    <a:pt x="499" y="0"/>
                    <a:pt x="473" y="25"/>
                    <a:pt x="473" y="50"/>
                  </a:cubicBezTo>
                  <a:cubicBezTo>
                    <a:pt x="473" y="50"/>
                    <a:pt x="424" y="50"/>
                    <a:pt x="398" y="50"/>
                  </a:cubicBezTo>
                  <a:cubicBezTo>
                    <a:pt x="398" y="75"/>
                    <a:pt x="348" y="75"/>
                    <a:pt x="348" y="100"/>
                  </a:cubicBezTo>
                  <a:cubicBezTo>
                    <a:pt x="348" y="100"/>
                    <a:pt x="299" y="100"/>
                    <a:pt x="299" y="150"/>
                  </a:cubicBezTo>
                  <a:cubicBezTo>
                    <a:pt x="324" y="200"/>
                    <a:pt x="273" y="175"/>
                    <a:pt x="273" y="175"/>
                  </a:cubicBezTo>
                  <a:cubicBezTo>
                    <a:pt x="248" y="175"/>
                    <a:pt x="199" y="175"/>
                    <a:pt x="173" y="200"/>
                  </a:cubicBezTo>
                  <a:cubicBezTo>
                    <a:pt x="148" y="200"/>
                    <a:pt x="125" y="200"/>
                    <a:pt x="125" y="200"/>
                  </a:cubicBezTo>
                  <a:cubicBezTo>
                    <a:pt x="100" y="200"/>
                    <a:pt x="74" y="175"/>
                    <a:pt x="74" y="200"/>
                  </a:cubicBezTo>
                  <a:cubicBezTo>
                    <a:pt x="49" y="225"/>
                    <a:pt x="25" y="200"/>
                    <a:pt x="0" y="200"/>
                  </a:cubicBezTo>
                  <a:cubicBezTo>
                    <a:pt x="0" y="200"/>
                    <a:pt x="0" y="225"/>
                    <a:pt x="0" y="250"/>
                  </a:cubicBezTo>
                  <a:cubicBezTo>
                    <a:pt x="0" y="250"/>
                    <a:pt x="25" y="275"/>
                    <a:pt x="49" y="275"/>
                  </a:cubicBezTo>
                  <a:cubicBezTo>
                    <a:pt x="74" y="250"/>
                    <a:pt x="100" y="275"/>
                    <a:pt x="100" y="275"/>
                  </a:cubicBezTo>
                  <a:cubicBezTo>
                    <a:pt x="125" y="300"/>
                    <a:pt x="148" y="275"/>
                    <a:pt x="173" y="250"/>
                  </a:cubicBezTo>
                  <a:cubicBezTo>
                    <a:pt x="173" y="250"/>
                    <a:pt x="224" y="250"/>
                    <a:pt x="248" y="250"/>
                  </a:cubicBezTo>
                  <a:cubicBezTo>
                    <a:pt x="248" y="250"/>
                    <a:pt x="248" y="275"/>
                    <a:pt x="248" y="300"/>
                  </a:cubicBezTo>
                  <a:cubicBezTo>
                    <a:pt x="273" y="300"/>
                    <a:pt x="299" y="300"/>
                    <a:pt x="348" y="300"/>
                  </a:cubicBezTo>
                  <a:cubicBezTo>
                    <a:pt x="373" y="300"/>
                    <a:pt x="424" y="325"/>
                    <a:pt x="448" y="325"/>
                  </a:cubicBezTo>
                  <a:cubicBezTo>
                    <a:pt x="473" y="325"/>
                    <a:pt x="499" y="300"/>
                    <a:pt x="524" y="300"/>
                  </a:cubicBezTo>
                  <a:cubicBezTo>
                    <a:pt x="573" y="300"/>
                    <a:pt x="573" y="275"/>
                    <a:pt x="599" y="275"/>
                  </a:cubicBezTo>
                  <a:lnTo>
                    <a:pt x="599" y="275"/>
                  </a:lnTo>
                  <a:cubicBezTo>
                    <a:pt x="599" y="250"/>
                    <a:pt x="599" y="250"/>
                    <a:pt x="599" y="250"/>
                  </a:cubicBezTo>
                  <a:cubicBezTo>
                    <a:pt x="624" y="250"/>
                    <a:pt x="624" y="225"/>
                    <a:pt x="624" y="200"/>
                  </a:cubicBezTo>
                  <a:lnTo>
                    <a:pt x="624" y="175"/>
                  </a:lnTo>
                  <a:cubicBezTo>
                    <a:pt x="649" y="175"/>
                    <a:pt x="673" y="175"/>
                    <a:pt x="673" y="150"/>
                  </a:cubicBezTo>
                  <a:cubicBezTo>
                    <a:pt x="673" y="125"/>
                    <a:pt x="673" y="125"/>
                    <a:pt x="699" y="125"/>
                  </a:cubicBezTo>
                  <a:cubicBezTo>
                    <a:pt x="673" y="100"/>
                    <a:pt x="649" y="50"/>
                    <a:pt x="649" y="50"/>
                  </a:cubicBezTo>
                  <a:cubicBezTo>
                    <a:pt x="649" y="50"/>
                    <a:pt x="599" y="50"/>
                    <a:pt x="573" y="25"/>
                  </a:cubicBezTo>
                </a:path>
              </a:pathLst>
            </a:custGeom>
            <a:solidFill>
              <a:srgbClr val="39A3B5">
                <a:lumMod val="75000"/>
              </a:srgbClr>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4" name="Freeform 125">
              <a:extLst>
                <a:ext uri="{FF2B5EF4-FFF2-40B4-BE49-F238E27FC236}">
                  <a16:creationId xmlns:a16="http://schemas.microsoft.com/office/drawing/2014/main" id="{64AEAD68-9A70-6137-BC2B-FE722693FB1D}"/>
                </a:ext>
              </a:extLst>
            </p:cNvPr>
            <p:cNvSpPr>
              <a:spLocks noChangeArrowheads="1"/>
            </p:cNvSpPr>
            <p:nvPr/>
          </p:nvSpPr>
          <p:spPr bwMode="auto">
            <a:xfrm>
              <a:off x="5505744" y="4465387"/>
              <a:ext cx="605271" cy="427901"/>
            </a:xfrm>
            <a:custGeom>
              <a:avLst/>
              <a:gdLst>
                <a:gd name="T0" fmla="*/ 1201 w 1202"/>
                <a:gd name="T1" fmla="*/ 150 h 851"/>
                <a:gd name="T2" fmla="*/ 1201 w 1202"/>
                <a:gd name="T3" fmla="*/ 150 h 851"/>
                <a:gd name="T4" fmla="*/ 1101 w 1202"/>
                <a:gd name="T5" fmla="*/ 150 h 851"/>
                <a:gd name="T6" fmla="*/ 975 w 1202"/>
                <a:gd name="T7" fmla="*/ 125 h 851"/>
                <a:gd name="T8" fmla="*/ 950 w 1202"/>
                <a:gd name="T9" fmla="*/ 100 h 851"/>
                <a:gd name="T10" fmla="*/ 875 w 1202"/>
                <a:gd name="T11" fmla="*/ 100 h 851"/>
                <a:gd name="T12" fmla="*/ 775 w 1202"/>
                <a:gd name="T13" fmla="*/ 75 h 851"/>
                <a:gd name="T14" fmla="*/ 725 w 1202"/>
                <a:gd name="T15" fmla="*/ 50 h 851"/>
                <a:gd name="T16" fmla="*/ 550 w 1202"/>
                <a:gd name="T17" fmla="*/ 25 h 851"/>
                <a:gd name="T18" fmla="*/ 250 w 1202"/>
                <a:gd name="T19" fmla="*/ 25 h 851"/>
                <a:gd name="T20" fmla="*/ 125 w 1202"/>
                <a:gd name="T21" fmla="*/ 0 h 851"/>
                <a:gd name="T22" fmla="*/ 50 w 1202"/>
                <a:gd name="T23" fmla="*/ 50 h 851"/>
                <a:gd name="T24" fmla="*/ 50 w 1202"/>
                <a:gd name="T25" fmla="*/ 100 h 851"/>
                <a:gd name="T26" fmla="*/ 50 w 1202"/>
                <a:gd name="T27" fmla="*/ 200 h 851"/>
                <a:gd name="T28" fmla="*/ 75 w 1202"/>
                <a:gd name="T29" fmla="*/ 175 h 851"/>
                <a:gd name="T30" fmla="*/ 125 w 1202"/>
                <a:gd name="T31" fmla="*/ 200 h 851"/>
                <a:gd name="T32" fmla="*/ 175 w 1202"/>
                <a:gd name="T33" fmla="*/ 200 h 851"/>
                <a:gd name="T34" fmla="*/ 200 w 1202"/>
                <a:gd name="T35" fmla="*/ 200 h 851"/>
                <a:gd name="T36" fmla="*/ 275 w 1202"/>
                <a:gd name="T37" fmla="*/ 225 h 851"/>
                <a:gd name="T38" fmla="*/ 300 w 1202"/>
                <a:gd name="T39" fmla="*/ 250 h 851"/>
                <a:gd name="T40" fmla="*/ 225 w 1202"/>
                <a:gd name="T41" fmla="*/ 300 h 851"/>
                <a:gd name="T42" fmla="*/ 225 w 1202"/>
                <a:gd name="T43" fmla="*/ 400 h 851"/>
                <a:gd name="T44" fmla="*/ 225 w 1202"/>
                <a:gd name="T45" fmla="*/ 450 h 851"/>
                <a:gd name="T46" fmla="*/ 200 w 1202"/>
                <a:gd name="T47" fmla="*/ 500 h 851"/>
                <a:gd name="T48" fmla="*/ 225 w 1202"/>
                <a:gd name="T49" fmla="*/ 550 h 851"/>
                <a:gd name="T50" fmla="*/ 200 w 1202"/>
                <a:gd name="T51" fmla="*/ 600 h 851"/>
                <a:gd name="T52" fmla="*/ 225 w 1202"/>
                <a:gd name="T53" fmla="*/ 650 h 851"/>
                <a:gd name="T54" fmla="*/ 175 w 1202"/>
                <a:gd name="T55" fmla="*/ 700 h 851"/>
                <a:gd name="T56" fmla="*/ 200 w 1202"/>
                <a:gd name="T57" fmla="*/ 725 h 851"/>
                <a:gd name="T58" fmla="*/ 250 w 1202"/>
                <a:gd name="T59" fmla="*/ 725 h 851"/>
                <a:gd name="T60" fmla="*/ 350 w 1202"/>
                <a:gd name="T61" fmla="*/ 850 h 851"/>
                <a:gd name="T62" fmla="*/ 375 w 1202"/>
                <a:gd name="T63" fmla="*/ 825 h 851"/>
                <a:gd name="T64" fmla="*/ 425 w 1202"/>
                <a:gd name="T65" fmla="*/ 800 h 851"/>
                <a:gd name="T66" fmla="*/ 525 w 1202"/>
                <a:gd name="T67" fmla="*/ 775 h 851"/>
                <a:gd name="T68" fmla="*/ 650 w 1202"/>
                <a:gd name="T69" fmla="*/ 775 h 851"/>
                <a:gd name="T70" fmla="*/ 700 w 1202"/>
                <a:gd name="T71" fmla="*/ 750 h 851"/>
                <a:gd name="T72" fmla="*/ 775 w 1202"/>
                <a:gd name="T73" fmla="*/ 700 h 851"/>
                <a:gd name="T74" fmla="*/ 825 w 1202"/>
                <a:gd name="T75" fmla="*/ 625 h 851"/>
                <a:gd name="T76" fmla="*/ 875 w 1202"/>
                <a:gd name="T77" fmla="*/ 550 h 851"/>
                <a:gd name="T78" fmla="*/ 900 w 1202"/>
                <a:gd name="T79" fmla="*/ 425 h 851"/>
                <a:gd name="T80" fmla="*/ 975 w 1202"/>
                <a:gd name="T81" fmla="*/ 325 h 851"/>
                <a:gd name="T82" fmla="*/ 1050 w 1202"/>
                <a:gd name="T83" fmla="*/ 275 h 851"/>
                <a:gd name="T84" fmla="*/ 1150 w 1202"/>
                <a:gd name="T85" fmla="*/ 225 h 851"/>
                <a:gd name="T86" fmla="*/ 1201 w 1202"/>
                <a:gd name="T87" fmla="*/ 150 h 851"/>
                <a:gd name="T88" fmla="*/ 1201 w 1202"/>
                <a:gd name="T89" fmla="*/ 450 h 851"/>
                <a:gd name="T90" fmla="*/ 1201 w 1202"/>
                <a:gd name="T91" fmla="*/ 450 h 851"/>
                <a:gd name="T92" fmla="*/ 1125 w 1202"/>
                <a:gd name="T93" fmla="*/ 475 h 851"/>
                <a:gd name="T94" fmla="*/ 1201 w 1202"/>
                <a:gd name="T9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851">
                  <a:moveTo>
                    <a:pt x="1201" y="150"/>
                  </a:moveTo>
                  <a:lnTo>
                    <a:pt x="1201" y="150"/>
                  </a:lnTo>
                  <a:cubicBezTo>
                    <a:pt x="1150" y="150"/>
                    <a:pt x="1125" y="150"/>
                    <a:pt x="1101" y="150"/>
                  </a:cubicBezTo>
                  <a:cubicBezTo>
                    <a:pt x="1075" y="125"/>
                    <a:pt x="1001" y="125"/>
                    <a:pt x="975" y="125"/>
                  </a:cubicBezTo>
                  <a:cubicBezTo>
                    <a:pt x="975" y="100"/>
                    <a:pt x="950" y="75"/>
                    <a:pt x="950" y="100"/>
                  </a:cubicBezTo>
                  <a:cubicBezTo>
                    <a:pt x="950" y="125"/>
                    <a:pt x="900" y="125"/>
                    <a:pt x="875" y="100"/>
                  </a:cubicBezTo>
                  <a:cubicBezTo>
                    <a:pt x="850" y="100"/>
                    <a:pt x="801" y="75"/>
                    <a:pt x="775" y="75"/>
                  </a:cubicBezTo>
                  <a:cubicBezTo>
                    <a:pt x="775" y="50"/>
                    <a:pt x="750" y="50"/>
                    <a:pt x="725" y="50"/>
                  </a:cubicBezTo>
                  <a:cubicBezTo>
                    <a:pt x="700" y="50"/>
                    <a:pt x="625" y="25"/>
                    <a:pt x="550" y="25"/>
                  </a:cubicBezTo>
                  <a:cubicBezTo>
                    <a:pt x="500" y="25"/>
                    <a:pt x="325" y="25"/>
                    <a:pt x="250" y="25"/>
                  </a:cubicBezTo>
                  <a:cubicBezTo>
                    <a:pt x="175" y="25"/>
                    <a:pt x="175" y="0"/>
                    <a:pt x="125" y="0"/>
                  </a:cubicBezTo>
                  <a:cubicBezTo>
                    <a:pt x="100" y="0"/>
                    <a:pt x="125" y="25"/>
                    <a:pt x="50" y="50"/>
                  </a:cubicBezTo>
                  <a:cubicBezTo>
                    <a:pt x="0" y="50"/>
                    <a:pt x="0" y="75"/>
                    <a:pt x="50" y="100"/>
                  </a:cubicBezTo>
                  <a:cubicBezTo>
                    <a:pt x="50" y="125"/>
                    <a:pt x="50" y="150"/>
                    <a:pt x="50" y="200"/>
                  </a:cubicBezTo>
                  <a:cubicBezTo>
                    <a:pt x="75" y="200"/>
                    <a:pt x="75" y="200"/>
                    <a:pt x="75" y="175"/>
                  </a:cubicBezTo>
                  <a:cubicBezTo>
                    <a:pt x="100" y="175"/>
                    <a:pt x="125" y="175"/>
                    <a:pt x="125" y="200"/>
                  </a:cubicBezTo>
                  <a:cubicBezTo>
                    <a:pt x="125" y="200"/>
                    <a:pt x="150" y="200"/>
                    <a:pt x="175" y="200"/>
                  </a:cubicBezTo>
                  <a:cubicBezTo>
                    <a:pt x="200" y="200"/>
                    <a:pt x="175" y="225"/>
                    <a:pt x="200" y="200"/>
                  </a:cubicBezTo>
                  <a:cubicBezTo>
                    <a:pt x="225" y="175"/>
                    <a:pt x="275" y="200"/>
                    <a:pt x="275" y="225"/>
                  </a:cubicBezTo>
                  <a:cubicBezTo>
                    <a:pt x="275" y="225"/>
                    <a:pt x="325" y="225"/>
                    <a:pt x="300" y="250"/>
                  </a:cubicBezTo>
                  <a:cubicBezTo>
                    <a:pt x="250" y="275"/>
                    <a:pt x="225" y="275"/>
                    <a:pt x="225" y="300"/>
                  </a:cubicBezTo>
                  <a:cubicBezTo>
                    <a:pt x="225" y="325"/>
                    <a:pt x="250" y="375"/>
                    <a:pt x="225" y="400"/>
                  </a:cubicBezTo>
                  <a:cubicBezTo>
                    <a:pt x="200" y="425"/>
                    <a:pt x="250" y="450"/>
                    <a:pt x="225" y="450"/>
                  </a:cubicBezTo>
                  <a:cubicBezTo>
                    <a:pt x="200" y="450"/>
                    <a:pt x="175" y="475"/>
                    <a:pt x="200" y="500"/>
                  </a:cubicBezTo>
                  <a:cubicBezTo>
                    <a:pt x="225" y="525"/>
                    <a:pt x="250" y="550"/>
                    <a:pt x="225" y="550"/>
                  </a:cubicBezTo>
                  <a:cubicBezTo>
                    <a:pt x="200" y="550"/>
                    <a:pt x="200" y="575"/>
                    <a:pt x="200" y="600"/>
                  </a:cubicBezTo>
                  <a:cubicBezTo>
                    <a:pt x="200" y="600"/>
                    <a:pt x="250" y="625"/>
                    <a:pt x="225" y="650"/>
                  </a:cubicBezTo>
                  <a:cubicBezTo>
                    <a:pt x="175" y="650"/>
                    <a:pt x="175" y="675"/>
                    <a:pt x="175" y="700"/>
                  </a:cubicBezTo>
                  <a:cubicBezTo>
                    <a:pt x="175" y="700"/>
                    <a:pt x="175" y="725"/>
                    <a:pt x="200" y="725"/>
                  </a:cubicBezTo>
                  <a:cubicBezTo>
                    <a:pt x="200" y="725"/>
                    <a:pt x="225" y="725"/>
                    <a:pt x="250" y="725"/>
                  </a:cubicBezTo>
                  <a:cubicBezTo>
                    <a:pt x="275" y="750"/>
                    <a:pt x="300" y="850"/>
                    <a:pt x="350" y="850"/>
                  </a:cubicBezTo>
                  <a:cubicBezTo>
                    <a:pt x="375" y="850"/>
                    <a:pt x="375" y="825"/>
                    <a:pt x="375" y="825"/>
                  </a:cubicBezTo>
                  <a:cubicBezTo>
                    <a:pt x="400" y="800"/>
                    <a:pt x="425" y="800"/>
                    <a:pt x="425" y="800"/>
                  </a:cubicBezTo>
                  <a:cubicBezTo>
                    <a:pt x="450" y="800"/>
                    <a:pt x="475" y="775"/>
                    <a:pt x="525" y="775"/>
                  </a:cubicBezTo>
                  <a:cubicBezTo>
                    <a:pt x="575" y="775"/>
                    <a:pt x="601" y="775"/>
                    <a:pt x="650" y="775"/>
                  </a:cubicBezTo>
                  <a:cubicBezTo>
                    <a:pt x="675" y="775"/>
                    <a:pt x="700" y="775"/>
                    <a:pt x="700" y="750"/>
                  </a:cubicBezTo>
                  <a:cubicBezTo>
                    <a:pt x="725" y="725"/>
                    <a:pt x="750" y="700"/>
                    <a:pt x="775" y="700"/>
                  </a:cubicBezTo>
                  <a:cubicBezTo>
                    <a:pt x="825" y="675"/>
                    <a:pt x="825" y="650"/>
                    <a:pt x="825" y="625"/>
                  </a:cubicBezTo>
                  <a:cubicBezTo>
                    <a:pt x="825" y="600"/>
                    <a:pt x="875" y="575"/>
                    <a:pt x="875" y="550"/>
                  </a:cubicBezTo>
                  <a:cubicBezTo>
                    <a:pt x="900" y="525"/>
                    <a:pt x="850" y="475"/>
                    <a:pt x="900" y="425"/>
                  </a:cubicBezTo>
                  <a:cubicBezTo>
                    <a:pt x="925" y="350"/>
                    <a:pt x="975" y="350"/>
                    <a:pt x="975" y="325"/>
                  </a:cubicBezTo>
                  <a:cubicBezTo>
                    <a:pt x="975" y="300"/>
                    <a:pt x="1001" y="275"/>
                    <a:pt x="1050" y="275"/>
                  </a:cubicBezTo>
                  <a:cubicBezTo>
                    <a:pt x="1101" y="275"/>
                    <a:pt x="1125" y="250"/>
                    <a:pt x="1150" y="225"/>
                  </a:cubicBezTo>
                  <a:cubicBezTo>
                    <a:pt x="1201" y="200"/>
                    <a:pt x="1201" y="175"/>
                    <a:pt x="1201" y="150"/>
                  </a:cubicBezTo>
                  <a:close/>
                  <a:moveTo>
                    <a:pt x="1201" y="450"/>
                  </a:moveTo>
                  <a:lnTo>
                    <a:pt x="1201" y="450"/>
                  </a:lnTo>
                  <a:cubicBezTo>
                    <a:pt x="1201" y="400"/>
                    <a:pt x="1101" y="450"/>
                    <a:pt x="1125" y="475"/>
                  </a:cubicBezTo>
                  <a:cubicBezTo>
                    <a:pt x="1150" y="500"/>
                    <a:pt x="1201" y="500"/>
                    <a:pt x="1201" y="450"/>
                  </a:cubicBezTo>
                  <a:close/>
                </a:path>
              </a:pathLst>
            </a:custGeom>
            <a:solidFill>
              <a:srgbClr val="39A3B5">
                <a:lumMod val="75000"/>
              </a:srgbClr>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5" name="Freeform 83">
              <a:extLst>
                <a:ext uri="{FF2B5EF4-FFF2-40B4-BE49-F238E27FC236}">
                  <a16:creationId xmlns:a16="http://schemas.microsoft.com/office/drawing/2014/main" id="{5F58D2F8-8A06-99CA-2E25-7DF2E2DCAFE4}"/>
                </a:ext>
              </a:extLst>
            </p:cNvPr>
            <p:cNvSpPr>
              <a:spLocks noChangeArrowheads="1"/>
            </p:cNvSpPr>
            <p:nvPr/>
          </p:nvSpPr>
          <p:spPr bwMode="auto">
            <a:xfrm>
              <a:off x="6232956" y="3773648"/>
              <a:ext cx="427903" cy="478895"/>
            </a:xfrm>
            <a:custGeom>
              <a:avLst/>
              <a:gdLst>
                <a:gd name="T0" fmla="*/ 125 w 851"/>
                <a:gd name="T1" fmla="*/ 250 h 951"/>
                <a:gd name="T2" fmla="*/ 125 w 851"/>
                <a:gd name="T3" fmla="*/ 250 h 951"/>
                <a:gd name="T4" fmla="*/ 76 w 851"/>
                <a:gd name="T5" fmla="*/ 300 h 951"/>
                <a:gd name="T6" fmla="*/ 100 w 851"/>
                <a:gd name="T7" fmla="*/ 350 h 951"/>
                <a:gd name="T8" fmla="*/ 76 w 851"/>
                <a:gd name="T9" fmla="*/ 374 h 951"/>
                <a:gd name="T10" fmla="*/ 25 w 851"/>
                <a:gd name="T11" fmla="*/ 400 h 951"/>
                <a:gd name="T12" fmla="*/ 25 w 851"/>
                <a:gd name="T13" fmla="*/ 450 h 951"/>
                <a:gd name="T14" fmla="*/ 0 w 851"/>
                <a:gd name="T15" fmla="*/ 525 h 951"/>
                <a:gd name="T16" fmla="*/ 25 w 851"/>
                <a:gd name="T17" fmla="*/ 575 h 951"/>
                <a:gd name="T18" fmla="*/ 25 w 851"/>
                <a:gd name="T19" fmla="*/ 599 h 951"/>
                <a:gd name="T20" fmla="*/ 51 w 851"/>
                <a:gd name="T21" fmla="*/ 675 h 951"/>
                <a:gd name="T22" fmla="*/ 76 w 851"/>
                <a:gd name="T23" fmla="*/ 699 h 951"/>
                <a:gd name="T24" fmla="*/ 125 w 851"/>
                <a:gd name="T25" fmla="*/ 725 h 951"/>
                <a:gd name="T26" fmla="*/ 176 w 851"/>
                <a:gd name="T27" fmla="*/ 750 h 951"/>
                <a:gd name="T28" fmla="*/ 200 w 851"/>
                <a:gd name="T29" fmla="*/ 775 h 951"/>
                <a:gd name="T30" fmla="*/ 151 w 851"/>
                <a:gd name="T31" fmla="*/ 850 h 951"/>
                <a:gd name="T32" fmla="*/ 151 w 851"/>
                <a:gd name="T33" fmla="*/ 900 h 951"/>
                <a:gd name="T34" fmla="*/ 225 w 851"/>
                <a:gd name="T35" fmla="*/ 900 h 951"/>
                <a:gd name="T36" fmla="*/ 300 w 851"/>
                <a:gd name="T37" fmla="*/ 900 h 951"/>
                <a:gd name="T38" fmla="*/ 351 w 851"/>
                <a:gd name="T39" fmla="*/ 925 h 951"/>
                <a:gd name="T40" fmla="*/ 351 w 851"/>
                <a:gd name="T41" fmla="*/ 925 h 951"/>
                <a:gd name="T42" fmla="*/ 425 w 851"/>
                <a:gd name="T43" fmla="*/ 925 h 951"/>
                <a:gd name="T44" fmla="*/ 476 w 851"/>
                <a:gd name="T45" fmla="*/ 925 h 951"/>
                <a:gd name="T46" fmla="*/ 524 w 851"/>
                <a:gd name="T47" fmla="*/ 925 h 951"/>
                <a:gd name="T48" fmla="*/ 624 w 851"/>
                <a:gd name="T49" fmla="*/ 900 h 951"/>
                <a:gd name="T50" fmla="*/ 650 w 851"/>
                <a:gd name="T51" fmla="*/ 875 h 951"/>
                <a:gd name="T52" fmla="*/ 699 w 851"/>
                <a:gd name="T53" fmla="*/ 825 h 951"/>
                <a:gd name="T54" fmla="*/ 749 w 851"/>
                <a:gd name="T55" fmla="*/ 775 h 951"/>
                <a:gd name="T56" fmla="*/ 650 w 851"/>
                <a:gd name="T57" fmla="*/ 699 h 951"/>
                <a:gd name="T58" fmla="*/ 624 w 851"/>
                <a:gd name="T59" fmla="*/ 625 h 951"/>
                <a:gd name="T60" fmla="*/ 599 w 851"/>
                <a:gd name="T61" fmla="*/ 575 h 951"/>
                <a:gd name="T62" fmla="*/ 699 w 851"/>
                <a:gd name="T63" fmla="*/ 525 h 951"/>
                <a:gd name="T64" fmla="*/ 775 w 851"/>
                <a:gd name="T65" fmla="*/ 500 h 951"/>
                <a:gd name="T66" fmla="*/ 824 w 851"/>
                <a:gd name="T67" fmla="*/ 500 h 951"/>
                <a:gd name="T68" fmla="*/ 850 w 851"/>
                <a:gd name="T69" fmla="*/ 450 h 951"/>
                <a:gd name="T70" fmla="*/ 824 w 851"/>
                <a:gd name="T71" fmla="*/ 374 h 951"/>
                <a:gd name="T72" fmla="*/ 799 w 851"/>
                <a:gd name="T73" fmla="*/ 325 h 951"/>
                <a:gd name="T74" fmla="*/ 775 w 851"/>
                <a:gd name="T75" fmla="*/ 274 h 951"/>
                <a:gd name="T76" fmla="*/ 775 w 851"/>
                <a:gd name="T77" fmla="*/ 225 h 951"/>
                <a:gd name="T78" fmla="*/ 775 w 851"/>
                <a:gd name="T79" fmla="*/ 125 h 951"/>
                <a:gd name="T80" fmla="*/ 775 w 851"/>
                <a:gd name="T81" fmla="*/ 125 h 951"/>
                <a:gd name="T82" fmla="*/ 775 w 851"/>
                <a:gd name="T83" fmla="*/ 125 h 951"/>
                <a:gd name="T84" fmla="*/ 724 w 851"/>
                <a:gd name="T85" fmla="*/ 74 h 951"/>
                <a:gd name="T86" fmla="*/ 724 w 851"/>
                <a:gd name="T87" fmla="*/ 25 h 951"/>
                <a:gd name="T88" fmla="*/ 650 w 851"/>
                <a:gd name="T89" fmla="*/ 50 h 951"/>
                <a:gd name="T90" fmla="*/ 524 w 851"/>
                <a:gd name="T91" fmla="*/ 100 h 951"/>
                <a:gd name="T92" fmla="*/ 476 w 851"/>
                <a:gd name="T93" fmla="*/ 74 h 951"/>
                <a:gd name="T94" fmla="*/ 451 w 851"/>
                <a:gd name="T95" fmla="*/ 50 h 951"/>
                <a:gd name="T96" fmla="*/ 376 w 851"/>
                <a:gd name="T97" fmla="*/ 25 h 951"/>
                <a:gd name="T98" fmla="*/ 376 w 851"/>
                <a:gd name="T99" fmla="*/ 0 h 951"/>
                <a:gd name="T100" fmla="*/ 351 w 851"/>
                <a:gd name="T101" fmla="*/ 0 h 951"/>
                <a:gd name="T102" fmla="*/ 251 w 851"/>
                <a:gd name="T103" fmla="*/ 0 h 951"/>
                <a:gd name="T104" fmla="*/ 276 w 851"/>
                <a:gd name="T105" fmla="*/ 50 h 951"/>
                <a:gd name="T106" fmla="*/ 300 w 851"/>
                <a:gd name="T107" fmla="*/ 125 h 951"/>
                <a:gd name="T108" fmla="*/ 251 w 851"/>
                <a:gd name="T109" fmla="*/ 150 h 951"/>
                <a:gd name="T110" fmla="*/ 200 w 851"/>
                <a:gd name="T111" fmla="*/ 150 h 951"/>
                <a:gd name="T112" fmla="*/ 125 w 851"/>
                <a:gd name="T113" fmla="*/ 150 h 951"/>
                <a:gd name="T114" fmla="*/ 125 w 851"/>
                <a:gd name="T115" fmla="*/ 174 h 951"/>
                <a:gd name="T116" fmla="*/ 125 w 851"/>
                <a:gd name="T117" fmla="*/ 250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1" h="951">
                  <a:moveTo>
                    <a:pt x="125" y="250"/>
                  </a:moveTo>
                  <a:lnTo>
                    <a:pt x="125" y="250"/>
                  </a:lnTo>
                  <a:cubicBezTo>
                    <a:pt x="100" y="274"/>
                    <a:pt x="76" y="274"/>
                    <a:pt x="76" y="300"/>
                  </a:cubicBezTo>
                  <a:cubicBezTo>
                    <a:pt x="76" y="300"/>
                    <a:pt x="100" y="325"/>
                    <a:pt x="100" y="350"/>
                  </a:cubicBezTo>
                  <a:cubicBezTo>
                    <a:pt x="100" y="350"/>
                    <a:pt x="76" y="350"/>
                    <a:pt x="76" y="374"/>
                  </a:cubicBezTo>
                  <a:cubicBezTo>
                    <a:pt x="76" y="400"/>
                    <a:pt x="51" y="400"/>
                    <a:pt x="25" y="400"/>
                  </a:cubicBezTo>
                  <a:cubicBezTo>
                    <a:pt x="25" y="400"/>
                    <a:pt x="25" y="425"/>
                    <a:pt x="25" y="450"/>
                  </a:cubicBezTo>
                  <a:cubicBezTo>
                    <a:pt x="25" y="450"/>
                    <a:pt x="25" y="500"/>
                    <a:pt x="0" y="525"/>
                  </a:cubicBezTo>
                  <a:cubicBezTo>
                    <a:pt x="0" y="525"/>
                    <a:pt x="51" y="550"/>
                    <a:pt x="25" y="575"/>
                  </a:cubicBezTo>
                  <a:cubicBezTo>
                    <a:pt x="25" y="575"/>
                    <a:pt x="0" y="599"/>
                    <a:pt x="25" y="599"/>
                  </a:cubicBezTo>
                  <a:cubicBezTo>
                    <a:pt x="25" y="625"/>
                    <a:pt x="51" y="625"/>
                    <a:pt x="51" y="675"/>
                  </a:cubicBezTo>
                  <a:cubicBezTo>
                    <a:pt x="51" y="699"/>
                    <a:pt x="76" y="699"/>
                    <a:pt x="76" y="699"/>
                  </a:cubicBezTo>
                  <a:cubicBezTo>
                    <a:pt x="76" y="725"/>
                    <a:pt x="100" y="725"/>
                    <a:pt x="125" y="725"/>
                  </a:cubicBezTo>
                  <a:cubicBezTo>
                    <a:pt x="151" y="725"/>
                    <a:pt x="176" y="750"/>
                    <a:pt x="176" y="750"/>
                  </a:cubicBezTo>
                  <a:cubicBezTo>
                    <a:pt x="200" y="750"/>
                    <a:pt x="225" y="750"/>
                    <a:pt x="200" y="775"/>
                  </a:cubicBezTo>
                  <a:cubicBezTo>
                    <a:pt x="176" y="800"/>
                    <a:pt x="176" y="825"/>
                    <a:pt x="151" y="850"/>
                  </a:cubicBezTo>
                  <a:cubicBezTo>
                    <a:pt x="151" y="875"/>
                    <a:pt x="151" y="900"/>
                    <a:pt x="151" y="900"/>
                  </a:cubicBezTo>
                  <a:cubicBezTo>
                    <a:pt x="176" y="900"/>
                    <a:pt x="225" y="900"/>
                    <a:pt x="225" y="900"/>
                  </a:cubicBezTo>
                  <a:cubicBezTo>
                    <a:pt x="251" y="900"/>
                    <a:pt x="276" y="900"/>
                    <a:pt x="300" y="900"/>
                  </a:cubicBezTo>
                  <a:cubicBezTo>
                    <a:pt x="300" y="900"/>
                    <a:pt x="325" y="925"/>
                    <a:pt x="351" y="925"/>
                  </a:cubicBezTo>
                  <a:lnTo>
                    <a:pt x="351" y="925"/>
                  </a:lnTo>
                  <a:cubicBezTo>
                    <a:pt x="376" y="925"/>
                    <a:pt x="400" y="950"/>
                    <a:pt x="425" y="925"/>
                  </a:cubicBezTo>
                  <a:cubicBezTo>
                    <a:pt x="425" y="900"/>
                    <a:pt x="451" y="925"/>
                    <a:pt x="476" y="925"/>
                  </a:cubicBezTo>
                  <a:cubicBezTo>
                    <a:pt x="476" y="925"/>
                    <a:pt x="499" y="925"/>
                    <a:pt x="524" y="925"/>
                  </a:cubicBezTo>
                  <a:cubicBezTo>
                    <a:pt x="550" y="900"/>
                    <a:pt x="599" y="900"/>
                    <a:pt x="624" y="900"/>
                  </a:cubicBezTo>
                  <a:cubicBezTo>
                    <a:pt x="624" y="900"/>
                    <a:pt x="675" y="925"/>
                    <a:pt x="650" y="875"/>
                  </a:cubicBezTo>
                  <a:cubicBezTo>
                    <a:pt x="650" y="825"/>
                    <a:pt x="699" y="825"/>
                    <a:pt x="699" y="825"/>
                  </a:cubicBezTo>
                  <a:cubicBezTo>
                    <a:pt x="699" y="800"/>
                    <a:pt x="749" y="775"/>
                    <a:pt x="749" y="775"/>
                  </a:cubicBezTo>
                  <a:cubicBezTo>
                    <a:pt x="749" y="750"/>
                    <a:pt x="675" y="725"/>
                    <a:pt x="650" y="699"/>
                  </a:cubicBezTo>
                  <a:cubicBezTo>
                    <a:pt x="624" y="675"/>
                    <a:pt x="624" y="650"/>
                    <a:pt x="624" y="625"/>
                  </a:cubicBezTo>
                  <a:cubicBezTo>
                    <a:pt x="599" y="599"/>
                    <a:pt x="575" y="575"/>
                    <a:pt x="599" y="575"/>
                  </a:cubicBezTo>
                  <a:cubicBezTo>
                    <a:pt x="650" y="575"/>
                    <a:pt x="675" y="550"/>
                    <a:pt x="699" y="525"/>
                  </a:cubicBezTo>
                  <a:cubicBezTo>
                    <a:pt x="724" y="500"/>
                    <a:pt x="775" y="500"/>
                    <a:pt x="775" y="500"/>
                  </a:cubicBezTo>
                  <a:cubicBezTo>
                    <a:pt x="799" y="475"/>
                    <a:pt x="824" y="500"/>
                    <a:pt x="824" y="500"/>
                  </a:cubicBezTo>
                  <a:cubicBezTo>
                    <a:pt x="850" y="475"/>
                    <a:pt x="850" y="450"/>
                    <a:pt x="850" y="450"/>
                  </a:cubicBezTo>
                  <a:cubicBezTo>
                    <a:pt x="824" y="425"/>
                    <a:pt x="824" y="400"/>
                    <a:pt x="824" y="374"/>
                  </a:cubicBezTo>
                  <a:cubicBezTo>
                    <a:pt x="824" y="325"/>
                    <a:pt x="799" y="325"/>
                    <a:pt x="799" y="325"/>
                  </a:cubicBezTo>
                  <a:cubicBezTo>
                    <a:pt x="799" y="300"/>
                    <a:pt x="799" y="274"/>
                    <a:pt x="775" y="274"/>
                  </a:cubicBezTo>
                  <a:cubicBezTo>
                    <a:pt x="775" y="274"/>
                    <a:pt x="749" y="250"/>
                    <a:pt x="775" y="225"/>
                  </a:cubicBezTo>
                  <a:cubicBezTo>
                    <a:pt x="799" y="200"/>
                    <a:pt x="775" y="150"/>
                    <a:pt x="775" y="125"/>
                  </a:cubicBezTo>
                  <a:lnTo>
                    <a:pt x="775" y="125"/>
                  </a:lnTo>
                  <a:lnTo>
                    <a:pt x="775" y="125"/>
                  </a:lnTo>
                  <a:cubicBezTo>
                    <a:pt x="775" y="100"/>
                    <a:pt x="749" y="74"/>
                    <a:pt x="724" y="74"/>
                  </a:cubicBezTo>
                  <a:cubicBezTo>
                    <a:pt x="675" y="74"/>
                    <a:pt x="724" y="50"/>
                    <a:pt x="724" y="25"/>
                  </a:cubicBezTo>
                  <a:cubicBezTo>
                    <a:pt x="699" y="0"/>
                    <a:pt x="675" y="50"/>
                    <a:pt x="650" y="50"/>
                  </a:cubicBezTo>
                  <a:cubicBezTo>
                    <a:pt x="599" y="50"/>
                    <a:pt x="575" y="100"/>
                    <a:pt x="524" y="100"/>
                  </a:cubicBezTo>
                  <a:cubicBezTo>
                    <a:pt x="499" y="125"/>
                    <a:pt x="476" y="100"/>
                    <a:pt x="476" y="74"/>
                  </a:cubicBezTo>
                  <a:cubicBezTo>
                    <a:pt x="499" y="50"/>
                    <a:pt x="476" y="50"/>
                    <a:pt x="451" y="50"/>
                  </a:cubicBezTo>
                  <a:cubicBezTo>
                    <a:pt x="425" y="74"/>
                    <a:pt x="376" y="50"/>
                    <a:pt x="376" y="25"/>
                  </a:cubicBezTo>
                  <a:lnTo>
                    <a:pt x="376" y="0"/>
                  </a:lnTo>
                  <a:cubicBezTo>
                    <a:pt x="351" y="0"/>
                    <a:pt x="351" y="0"/>
                    <a:pt x="351" y="0"/>
                  </a:cubicBezTo>
                  <a:cubicBezTo>
                    <a:pt x="325" y="0"/>
                    <a:pt x="300" y="0"/>
                    <a:pt x="251" y="0"/>
                  </a:cubicBezTo>
                  <a:cubicBezTo>
                    <a:pt x="276" y="0"/>
                    <a:pt x="276" y="25"/>
                    <a:pt x="276" y="50"/>
                  </a:cubicBezTo>
                  <a:cubicBezTo>
                    <a:pt x="251" y="74"/>
                    <a:pt x="276" y="74"/>
                    <a:pt x="300" y="125"/>
                  </a:cubicBezTo>
                  <a:cubicBezTo>
                    <a:pt x="325" y="150"/>
                    <a:pt x="251" y="125"/>
                    <a:pt x="251" y="150"/>
                  </a:cubicBezTo>
                  <a:cubicBezTo>
                    <a:pt x="251" y="174"/>
                    <a:pt x="200" y="150"/>
                    <a:pt x="200" y="150"/>
                  </a:cubicBezTo>
                  <a:cubicBezTo>
                    <a:pt x="176" y="150"/>
                    <a:pt x="125" y="150"/>
                    <a:pt x="125" y="150"/>
                  </a:cubicBezTo>
                  <a:cubicBezTo>
                    <a:pt x="125" y="174"/>
                    <a:pt x="125" y="174"/>
                    <a:pt x="125" y="174"/>
                  </a:cubicBezTo>
                  <a:cubicBezTo>
                    <a:pt x="125" y="200"/>
                    <a:pt x="125" y="225"/>
                    <a:pt x="125" y="250"/>
                  </a:cubicBezTo>
                </a:path>
              </a:pathLst>
            </a:custGeom>
            <a:solidFill>
              <a:srgbClr val="39A3B5">
                <a:lumMod val="75000"/>
              </a:srgbClr>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8" name="Freeform 52">
              <a:extLst>
                <a:ext uri="{FF2B5EF4-FFF2-40B4-BE49-F238E27FC236}">
                  <a16:creationId xmlns:a16="http://schemas.microsoft.com/office/drawing/2014/main" id="{1A805BA3-2DE9-54A4-DBD8-7D86B152C3F1}"/>
                </a:ext>
              </a:extLst>
            </p:cNvPr>
            <p:cNvSpPr>
              <a:spLocks noChangeArrowheads="1"/>
            </p:cNvSpPr>
            <p:nvPr/>
          </p:nvSpPr>
          <p:spPr bwMode="auto">
            <a:xfrm>
              <a:off x="7150844" y="4551857"/>
              <a:ext cx="893496" cy="352521"/>
            </a:xfrm>
            <a:custGeom>
              <a:avLst/>
              <a:gdLst>
                <a:gd name="T0" fmla="*/ 1725 w 1776"/>
                <a:gd name="T1" fmla="*/ 475 h 701"/>
                <a:gd name="T2" fmla="*/ 1725 w 1776"/>
                <a:gd name="T3" fmla="*/ 475 h 701"/>
                <a:gd name="T4" fmla="*/ 1725 w 1776"/>
                <a:gd name="T5" fmla="*/ 375 h 701"/>
                <a:gd name="T6" fmla="*/ 1725 w 1776"/>
                <a:gd name="T7" fmla="*/ 300 h 701"/>
                <a:gd name="T8" fmla="*/ 1750 w 1776"/>
                <a:gd name="T9" fmla="*/ 250 h 701"/>
                <a:gd name="T10" fmla="*/ 1725 w 1776"/>
                <a:gd name="T11" fmla="*/ 225 h 701"/>
                <a:gd name="T12" fmla="*/ 1650 w 1776"/>
                <a:gd name="T13" fmla="*/ 200 h 701"/>
                <a:gd name="T14" fmla="*/ 1625 w 1776"/>
                <a:gd name="T15" fmla="*/ 100 h 701"/>
                <a:gd name="T16" fmla="*/ 1575 w 1776"/>
                <a:gd name="T17" fmla="*/ 50 h 701"/>
                <a:gd name="T18" fmla="*/ 1475 w 1776"/>
                <a:gd name="T19" fmla="*/ 50 h 701"/>
                <a:gd name="T20" fmla="*/ 1300 w 1776"/>
                <a:gd name="T21" fmla="*/ 125 h 701"/>
                <a:gd name="T22" fmla="*/ 1125 w 1776"/>
                <a:gd name="T23" fmla="*/ 125 h 701"/>
                <a:gd name="T24" fmla="*/ 1025 w 1776"/>
                <a:gd name="T25" fmla="*/ 75 h 701"/>
                <a:gd name="T26" fmla="*/ 925 w 1776"/>
                <a:gd name="T27" fmla="*/ 50 h 701"/>
                <a:gd name="T28" fmla="*/ 800 w 1776"/>
                <a:gd name="T29" fmla="*/ 0 h 701"/>
                <a:gd name="T30" fmla="*/ 500 w 1776"/>
                <a:gd name="T31" fmla="*/ 100 h 701"/>
                <a:gd name="T32" fmla="*/ 300 w 1776"/>
                <a:gd name="T33" fmla="*/ 100 h 701"/>
                <a:gd name="T34" fmla="*/ 250 w 1776"/>
                <a:gd name="T35" fmla="*/ 175 h 701"/>
                <a:gd name="T36" fmla="*/ 50 w 1776"/>
                <a:gd name="T37" fmla="*/ 200 h 701"/>
                <a:gd name="T38" fmla="*/ 50 w 1776"/>
                <a:gd name="T39" fmla="*/ 275 h 701"/>
                <a:gd name="T40" fmla="*/ 75 w 1776"/>
                <a:gd name="T41" fmla="*/ 300 h 701"/>
                <a:gd name="T42" fmla="*/ 100 w 1776"/>
                <a:gd name="T43" fmla="*/ 375 h 701"/>
                <a:gd name="T44" fmla="*/ 100 w 1776"/>
                <a:gd name="T45" fmla="*/ 425 h 701"/>
                <a:gd name="T46" fmla="*/ 100 w 1776"/>
                <a:gd name="T47" fmla="*/ 475 h 701"/>
                <a:gd name="T48" fmla="*/ 150 w 1776"/>
                <a:gd name="T49" fmla="*/ 525 h 701"/>
                <a:gd name="T50" fmla="*/ 200 w 1776"/>
                <a:gd name="T51" fmla="*/ 575 h 701"/>
                <a:gd name="T52" fmla="*/ 250 w 1776"/>
                <a:gd name="T53" fmla="*/ 575 h 701"/>
                <a:gd name="T54" fmla="*/ 300 w 1776"/>
                <a:gd name="T55" fmla="*/ 650 h 701"/>
                <a:gd name="T56" fmla="*/ 424 w 1776"/>
                <a:gd name="T57" fmla="*/ 625 h 701"/>
                <a:gd name="T58" fmla="*/ 500 w 1776"/>
                <a:gd name="T59" fmla="*/ 575 h 701"/>
                <a:gd name="T60" fmla="*/ 625 w 1776"/>
                <a:gd name="T61" fmla="*/ 650 h 701"/>
                <a:gd name="T62" fmla="*/ 725 w 1776"/>
                <a:gd name="T63" fmla="*/ 650 h 701"/>
                <a:gd name="T64" fmla="*/ 825 w 1776"/>
                <a:gd name="T65" fmla="*/ 575 h 701"/>
                <a:gd name="T66" fmla="*/ 900 w 1776"/>
                <a:gd name="T67" fmla="*/ 600 h 701"/>
                <a:gd name="T68" fmla="*/ 950 w 1776"/>
                <a:gd name="T69" fmla="*/ 575 h 701"/>
                <a:gd name="T70" fmla="*/ 925 w 1776"/>
                <a:gd name="T71" fmla="*/ 650 h 701"/>
                <a:gd name="T72" fmla="*/ 925 w 1776"/>
                <a:gd name="T73" fmla="*/ 700 h 701"/>
                <a:gd name="T74" fmla="*/ 1000 w 1776"/>
                <a:gd name="T75" fmla="*/ 625 h 701"/>
                <a:gd name="T76" fmla="*/ 1025 w 1776"/>
                <a:gd name="T77" fmla="*/ 600 h 701"/>
                <a:gd name="T78" fmla="*/ 1125 w 1776"/>
                <a:gd name="T79" fmla="*/ 600 h 701"/>
                <a:gd name="T80" fmla="*/ 1175 w 1776"/>
                <a:gd name="T81" fmla="*/ 600 h 701"/>
                <a:gd name="T82" fmla="*/ 1275 w 1776"/>
                <a:gd name="T83" fmla="*/ 600 h 701"/>
                <a:gd name="T84" fmla="*/ 1400 w 1776"/>
                <a:gd name="T85" fmla="*/ 550 h 701"/>
                <a:gd name="T86" fmla="*/ 1500 w 1776"/>
                <a:gd name="T87" fmla="*/ 550 h 701"/>
                <a:gd name="T88" fmla="*/ 1550 w 1776"/>
                <a:gd name="T89" fmla="*/ 550 h 701"/>
                <a:gd name="T90" fmla="*/ 1600 w 1776"/>
                <a:gd name="T91" fmla="*/ 525 h 701"/>
                <a:gd name="T92" fmla="*/ 1675 w 1776"/>
                <a:gd name="T93" fmla="*/ 550 h 701"/>
                <a:gd name="T94" fmla="*/ 1775 w 1776"/>
                <a:gd name="T95" fmla="*/ 550 h 701"/>
                <a:gd name="T96" fmla="*/ 1725 w 1776"/>
                <a:gd name="T97" fmla="*/ 475 h 701"/>
                <a:gd name="T98" fmla="*/ 175 w 1776"/>
                <a:gd name="T99" fmla="*/ 125 h 701"/>
                <a:gd name="T100" fmla="*/ 175 w 1776"/>
                <a:gd name="T101" fmla="*/ 125 h 701"/>
                <a:gd name="T102" fmla="*/ 300 w 1776"/>
                <a:gd name="T103" fmla="*/ 100 h 701"/>
                <a:gd name="T104" fmla="*/ 224 w 1776"/>
                <a:gd name="T105" fmla="*/ 50 h 701"/>
                <a:gd name="T106" fmla="*/ 200 w 1776"/>
                <a:gd name="T107" fmla="*/ 0 h 701"/>
                <a:gd name="T108" fmla="*/ 150 w 1776"/>
                <a:gd name="T109" fmla="*/ 25 h 701"/>
                <a:gd name="T110" fmla="*/ 50 w 1776"/>
                <a:gd name="T111" fmla="*/ 25 h 701"/>
                <a:gd name="T112" fmla="*/ 75 w 1776"/>
                <a:gd name="T113" fmla="*/ 75 h 701"/>
                <a:gd name="T114" fmla="*/ 50 w 1776"/>
                <a:gd name="T115" fmla="*/ 125 h 701"/>
                <a:gd name="T116" fmla="*/ 25 w 1776"/>
                <a:gd name="T117" fmla="*/ 150 h 701"/>
                <a:gd name="T118" fmla="*/ 75 w 1776"/>
                <a:gd name="T119" fmla="*/ 175 h 701"/>
                <a:gd name="T120" fmla="*/ 175 w 1776"/>
                <a:gd name="T121" fmla="*/ 125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6" h="701">
                  <a:moveTo>
                    <a:pt x="1725" y="475"/>
                  </a:moveTo>
                  <a:lnTo>
                    <a:pt x="1725" y="475"/>
                  </a:lnTo>
                  <a:cubicBezTo>
                    <a:pt x="1725" y="475"/>
                    <a:pt x="1725" y="400"/>
                    <a:pt x="1725" y="375"/>
                  </a:cubicBezTo>
                  <a:cubicBezTo>
                    <a:pt x="1725" y="375"/>
                    <a:pt x="1700" y="300"/>
                    <a:pt x="1725" y="300"/>
                  </a:cubicBezTo>
                  <a:cubicBezTo>
                    <a:pt x="1750" y="300"/>
                    <a:pt x="1725" y="250"/>
                    <a:pt x="1750" y="250"/>
                  </a:cubicBezTo>
                  <a:lnTo>
                    <a:pt x="1725" y="225"/>
                  </a:lnTo>
                  <a:cubicBezTo>
                    <a:pt x="1725" y="200"/>
                    <a:pt x="1675" y="225"/>
                    <a:pt x="1650" y="200"/>
                  </a:cubicBezTo>
                  <a:cubicBezTo>
                    <a:pt x="1650" y="150"/>
                    <a:pt x="1650" y="150"/>
                    <a:pt x="1625" y="100"/>
                  </a:cubicBezTo>
                  <a:cubicBezTo>
                    <a:pt x="1600" y="75"/>
                    <a:pt x="1600" y="50"/>
                    <a:pt x="1575" y="50"/>
                  </a:cubicBezTo>
                  <a:cubicBezTo>
                    <a:pt x="1550" y="75"/>
                    <a:pt x="1500" y="75"/>
                    <a:pt x="1475" y="50"/>
                  </a:cubicBezTo>
                  <a:cubicBezTo>
                    <a:pt x="1425" y="100"/>
                    <a:pt x="1325" y="125"/>
                    <a:pt x="1300" y="125"/>
                  </a:cubicBezTo>
                  <a:cubicBezTo>
                    <a:pt x="1250" y="100"/>
                    <a:pt x="1175" y="125"/>
                    <a:pt x="1125" y="125"/>
                  </a:cubicBezTo>
                  <a:cubicBezTo>
                    <a:pt x="1075" y="125"/>
                    <a:pt x="1050" y="75"/>
                    <a:pt x="1025" y="75"/>
                  </a:cubicBezTo>
                  <a:cubicBezTo>
                    <a:pt x="975" y="100"/>
                    <a:pt x="975" y="50"/>
                    <a:pt x="925" y="50"/>
                  </a:cubicBezTo>
                  <a:cubicBezTo>
                    <a:pt x="900" y="50"/>
                    <a:pt x="925" y="25"/>
                    <a:pt x="800" y="0"/>
                  </a:cubicBezTo>
                  <a:cubicBezTo>
                    <a:pt x="675" y="0"/>
                    <a:pt x="550" y="75"/>
                    <a:pt x="500" y="100"/>
                  </a:cubicBezTo>
                  <a:cubicBezTo>
                    <a:pt x="475" y="125"/>
                    <a:pt x="325" y="100"/>
                    <a:pt x="300" y="100"/>
                  </a:cubicBezTo>
                  <a:cubicBezTo>
                    <a:pt x="300" y="125"/>
                    <a:pt x="300" y="175"/>
                    <a:pt x="250" y="175"/>
                  </a:cubicBezTo>
                  <a:cubicBezTo>
                    <a:pt x="200" y="200"/>
                    <a:pt x="100" y="175"/>
                    <a:pt x="50" y="200"/>
                  </a:cubicBezTo>
                  <a:cubicBezTo>
                    <a:pt x="25" y="225"/>
                    <a:pt x="0" y="275"/>
                    <a:pt x="50" y="275"/>
                  </a:cubicBezTo>
                  <a:cubicBezTo>
                    <a:pt x="75" y="275"/>
                    <a:pt x="100" y="275"/>
                    <a:pt x="75" y="300"/>
                  </a:cubicBezTo>
                  <a:cubicBezTo>
                    <a:pt x="75" y="300"/>
                    <a:pt x="100" y="350"/>
                    <a:pt x="100" y="375"/>
                  </a:cubicBezTo>
                  <a:cubicBezTo>
                    <a:pt x="75" y="375"/>
                    <a:pt x="75" y="425"/>
                    <a:pt x="100" y="425"/>
                  </a:cubicBezTo>
                  <a:cubicBezTo>
                    <a:pt x="125" y="450"/>
                    <a:pt x="125" y="475"/>
                    <a:pt x="100" y="475"/>
                  </a:cubicBezTo>
                  <a:cubicBezTo>
                    <a:pt x="75" y="475"/>
                    <a:pt x="150" y="525"/>
                    <a:pt x="150" y="525"/>
                  </a:cubicBezTo>
                  <a:cubicBezTo>
                    <a:pt x="150" y="550"/>
                    <a:pt x="200" y="550"/>
                    <a:pt x="200" y="575"/>
                  </a:cubicBezTo>
                  <a:cubicBezTo>
                    <a:pt x="200" y="575"/>
                    <a:pt x="224" y="600"/>
                    <a:pt x="250" y="575"/>
                  </a:cubicBezTo>
                  <a:cubicBezTo>
                    <a:pt x="275" y="575"/>
                    <a:pt x="300" y="625"/>
                    <a:pt x="300" y="650"/>
                  </a:cubicBezTo>
                  <a:cubicBezTo>
                    <a:pt x="325" y="675"/>
                    <a:pt x="424" y="650"/>
                    <a:pt x="424" y="625"/>
                  </a:cubicBezTo>
                  <a:cubicBezTo>
                    <a:pt x="424" y="600"/>
                    <a:pt x="450" y="575"/>
                    <a:pt x="500" y="575"/>
                  </a:cubicBezTo>
                  <a:cubicBezTo>
                    <a:pt x="550" y="600"/>
                    <a:pt x="600" y="650"/>
                    <a:pt x="625" y="650"/>
                  </a:cubicBezTo>
                  <a:cubicBezTo>
                    <a:pt x="650" y="675"/>
                    <a:pt x="700" y="650"/>
                    <a:pt x="725" y="650"/>
                  </a:cubicBezTo>
                  <a:cubicBezTo>
                    <a:pt x="750" y="650"/>
                    <a:pt x="800" y="600"/>
                    <a:pt x="825" y="575"/>
                  </a:cubicBezTo>
                  <a:cubicBezTo>
                    <a:pt x="825" y="575"/>
                    <a:pt x="850" y="625"/>
                    <a:pt x="900" y="600"/>
                  </a:cubicBezTo>
                  <a:cubicBezTo>
                    <a:pt x="925" y="600"/>
                    <a:pt x="950" y="575"/>
                    <a:pt x="950" y="575"/>
                  </a:cubicBezTo>
                  <a:cubicBezTo>
                    <a:pt x="975" y="600"/>
                    <a:pt x="925" y="650"/>
                    <a:pt x="925" y="650"/>
                  </a:cubicBezTo>
                  <a:cubicBezTo>
                    <a:pt x="950" y="675"/>
                    <a:pt x="950" y="675"/>
                    <a:pt x="925" y="700"/>
                  </a:cubicBezTo>
                  <a:cubicBezTo>
                    <a:pt x="1000" y="675"/>
                    <a:pt x="1000" y="650"/>
                    <a:pt x="1000" y="625"/>
                  </a:cubicBezTo>
                  <a:cubicBezTo>
                    <a:pt x="1000" y="600"/>
                    <a:pt x="1000" y="600"/>
                    <a:pt x="1025" y="600"/>
                  </a:cubicBezTo>
                  <a:cubicBezTo>
                    <a:pt x="1050" y="625"/>
                    <a:pt x="1075" y="625"/>
                    <a:pt x="1125" y="600"/>
                  </a:cubicBezTo>
                  <a:cubicBezTo>
                    <a:pt x="1150" y="575"/>
                    <a:pt x="1150" y="575"/>
                    <a:pt x="1175" y="600"/>
                  </a:cubicBezTo>
                  <a:cubicBezTo>
                    <a:pt x="1200" y="600"/>
                    <a:pt x="1225" y="600"/>
                    <a:pt x="1275" y="600"/>
                  </a:cubicBezTo>
                  <a:cubicBezTo>
                    <a:pt x="1350" y="600"/>
                    <a:pt x="1350" y="550"/>
                    <a:pt x="1400" y="550"/>
                  </a:cubicBezTo>
                  <a:cubicBezTo>
                    <a:pt x="1475" y="575"/>
                    <a:pt x="1500" y="550"/>
                    <a:pt x="1500" y="550"/>
                  </a:cubicBezTo>
                  <a:cubicBezTo>
                    <a:pt x="1550" y="550"/>
                    <a:pt x="1550" y="550"/>
                    <a:pt x="1550" y="550"/>
                  </a:cubicBezTo>
                  <a:cubicBezTo>
                    <a:pt x="1550" y="550"/>
                    <a:pt x="1550" y="525"/>
                    <a:pt x="1600" y="525"/>
                  </a:cubicBezTo>
                  <a:cubicBezTo>
                    <a:pt x="1625" y="525"/>
                    <a:pt x="1650" y="550"/>
                    <a:pt x="1675" y="550"/>
                  </a:cubicBezTo>
                  <a:cubicBezTo>
                    <a:pt x="1700" y="525"/>
                    <a:pt x="1775" y="600"/>
                    <a:pt x="1775" y="550"/>
                  </a:cubicBezTo>
                  <a:cubicBezTo>
                    <a:pt x="1775" y="550"/>
                    <a:pt x="1750" y="475"/>
                    <a:pt x="1725" y="475"/>
                  </a:cubicBezTo>
                  <a:close/>
                  <a:moveTo>
                    <a:pt x="175" y="125"/>
                  </a:moveTo>
                  <a:lnTo>
                    <a:pt x="175" y="125"/>
                  </a:lnTo>
                  <a:cubicBezTo>
                    <a:pt x="200" y="100"/>
                    <a:pt x="275" y="125"/>
                    <a:pt x="300" y="100"/>
                  </a:cubicBezTo>
                  <a:cubicBezTo>
                    <a:pt x="300" y="100"/>
                    <a:pt x="250" y="75"/>
                    <a:pt x="224" y="50"/>
                  </a:cubicBezTo>
                  <a:cubicBezTo>
                    <a:pt x="200" y="50"/>
                    <a:pt x="200" y="25"/>
                    <a:pt x="200" y="0"/>
                  </a:cubicBezTo>
                  <a:cubicBezTo>
                    <a:pt x="175" y="25"/>
                    <a:pt x="175" y="25"/>
                    <a:pt x="150" y="25"/>
                  </a:cubicBezTo>
                  <a:cubicBezTo>
                    <a:pt x="125" y="0"/>
                    <a:pt x="75" y="0"/>
                    <a:pt x="50" y="25"/>
                  </a:cubicBezTo>
                  <a:cubicBezTo>
                    <a:pt x="50" y="25"/>
                    <a:pt x="75" y="50"/>
                    <a:pt x="75" y="75"/>
                  </a:cubicBezTo>
                  <a:cubicBezTo>
                    <a:pt x="75" y="100"/>
                    <a:pt x="50" y="100"/>
                    <a:pt x="50" y="125"/>
                  </a:cubicBezTo>
                  <a:lnTo>
                    <a:pt x="25" y="150"/>
                  </a:lnTo>
                  <a:cubicBezTo>
                    <a:pt x="50" y="175"/>
                    <a:pt x="50" y="175"/>
                    <a:pt x="75" y="175"/>
                  </a:cubicBezTo>
                  <a:cubicBezTo>
                    <a:pt x="125" y="175"/>
                    <a:pt x="125" y="125"/>
                    <a:pt x="175" y="12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9" name="Freeform 62">
              <a:extLst>
                <a:ext uri="{FF2B5EF4-FFF2-40B4-BE49-F238E27FC236}">
                  <a16:creationId xmlns:a16="http://schemas.microsoft.com/office/drawing/2014/main" id="{367B9CD4-A577-A173-FA03-0B31AB7726A6}"/>
                </a:ext>
              </a:extLst>
            </p:cNvPr>
            <p:cNvSpPr>
              <a:spLocks noChangeArrowheads="1"/>
            </p:cNvSpPr>
            <p:nvPr/>
          </p:nvSpPr>
          <p:spPr bwMode="auto">
            <a:xfrm>
              <a:off x="6609868" y="3760345"/>
              <a:ext cx="465593" cy="379125"/>
            </a:xfrm>
            <a:custGeom>
              <a:avLst/>
              <a:gdLst>
                <a:gd name="T0" fmla="*/ 26 w 927"/>
                <a:gd name="T1" fmla="*/ 151 h 752"/>
                <a:gd name="T2" fmla="*/ 26 w 927"/>
                <a:gd name="T3" fmla="*/ 151 h 752"/>
                <a:gd name="T4" fmla="*/ 26 w 927"/>
                <a:gd name="T5" fmla="*/ 251 h 752"/>
                <a:gd name="T6" fmla="*/ 26 w 927"/>
                <a:gd name="T7" fmla="*/ 300 h 752"/>
                <a:gd name="T8" fmla="*/ 50 w 927"/>
                <a:gd name="T9" fmla="*/ 351 h 752"/>
                <a:gd name="T10" fmla="*/ 75 w 927"/>
                <a:gd name="T11" fmla="*/ 400 h 752"/>
                <a:gd name="T12" fmla="*/ 101 w 927"/>
                <a:gd name="T13" fmla="*/ 476 h 752"/>
                <a:gd name="T14" fmla="*/ 101 w 927"/>
                <a:gd name="T15" fmla="*/ 501 h 752"/>
                <a:gd name="T16" fmla="*/ 150 w 927"/>
                <a:gd name="T17" fmla="*/ 551 h 752"/>
                <a:gd name="T18" fmla="*/ 201 w 927"/>
                <a:gd name="T19" fmla="*/ 576 h 752"/>
                <a:gd name="T20" fmla="*/ 251 w 927"/>
                <a:gd name="T21" fmla="*/ 601 h 752"/>
                <a:gd name="T22" fmla="*/ 301 w 927"/>
                <a:gd name="T23" fmla="*/ 601 h 752"/>
                <a:gd name="T24" fmla="*/ 326 w 927"/>
                <a:gd name="T25" fmla="*/ 625 h 752"/>
                <a:gd name="T26" fmla="*/ 401 w 927"/>
                <a:gd name="T27" fmla="*/ 651 h 752"/>
                <a:gd name="T28" fmla="*/ 451 w 927"/>
                <a:gd name="T29" fmla="*/ 701 h 752"/>
                <a:gd name="T30" fmla="*/ 501 w 927"/>
                <a:gd name="T31" fmla="*/ 701 h 752"/>
                <a:gd name="T32" fmla="*/ 575 w 927"/>
                <a:gd name="T33" fmla="*/ 701 h 752"/>
                <a:gd name="T34" fmla="*/ 651 w 927"/>
                <a:gd name="T35" fmla="*/ 701 h 752"/>
                <a:gd name="T36" fmla="*/ 726 w 927"/>
                <a:gd name="T37" fmla="*/ 725 h 752"/>
                <a:gd name="T38" fmla="*/ 775 w 927"/>
                <a:gd name="T39" fmla="*/ 751 h 752"/>
                <a:gd name="T40" fmla="*/ 775 w 927"/>
                <a:gd name="T41" fmla="*/ 676 h 752"/>
                <a:gd name="T42" fmla="*/ 875 w 927"/>
                <a:gd name="T43" fmla="*/ 601 h 752"/>
                <a:gd name="T44" fmla="*/ 901 w 927"/>
                <a:gd name="T45" fmla="*/ 551 h 752"/>
                <a:gd name="T46" fmla="*/ 875 w 927"/>
                <a:gd name="T47" fmla="*/ 476 h 752"/>
                <a:gd name="T48" fmla="*/ 875 w 927"/>
                <a:gd name="T49" fmla="*/ 376 h 752"/>
                <a:gd name="T50" fmla="*/ 826 w 927"/>
                <a:gd name="T51" fmla="*/ 326 h 752"/>
                <a:gd name="T52" fmla="*/ 901 w 927"/>
                <a:gd name="T53" fmla="*/ 300 h 752"/>
                <a:gd name="T54" fmla="*/ 875 w 927"/>
                <a:gd name="T55" fmla="*/ 200 h 752"/>
                <a:gd name="T56" fmla="*/ 875 w 927"/>
                <a:gd name="T57" fmla="*/ 126 h 752"/>
                <a:gd name="T58" fmla="*/ 801 w 927"/>
                <a:gd name="T59" fmla="*/ 76 h 752"/>
                <a:gd name="T60" fmla="*/ 801 w 927"/>
                <a:gd name="T61" fmla="*/ 76 h 752"/>
                <a:gd name="T62" fmla="*/ 551 w 927"/>
                <a:gd name="T63" fmla="*/ 76 h 752"/>
                <a:gd name="T64" fmla="*/ 501 w 927"/>
                <a:gd name="T65" fmla="*/ 51 h 752"/>
                <a:gd name="T66" fmla="*/ 451 w 927"/>
                <a:gd name="T67" fmla="*/ 76 h 752"/>
                <a:gd name="T68" fmla="*/ 401 w 927"/>
                <a:gd name="T69" fmla="*/ 26 h 752"/>
                <a:gd name="T70" fmla="*/ 201 w 927"/>
                <a:gd name="T71" fmla="*/ 76 h 752"/>
                <a:gd name="T72" fmla="*/ 50 w 927"/>
                <a:gd name="T73" fmla="*/ 126 h 752"/>
                <a:gd name="T74" fmla="*/ 26 w 927"/>
                <a:gd name="T75" fmla="*/ 15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7" h="752">
                  <a:moveTo>
                    <a:pt x="26" y="151"/>
                  </a:moveTo>
                  <a:lnTo>
                    <a:pt x="26" y="151"/>
                  </a:lnTo>
                  <a:cubicBezTo>
                    <a:pt x="26" y="176"/>
                    <a:pt x="50" y="226"/>
                    <a:pt x="26" y="251"/>
                  </a:cubicBezTo>
                  <a:cubicBezTo>
                    <a:pt x="0" y="276"/>
                    <a:pt x="26" y="300"/>
                    <a:pt x="26" y="300"/>
                  </a:cubicBezTo>
                  <a:cubicBezTo>
                    <a:pt x="50" y="300"/>
                    <a:pt x="50" y="326"/>
                    <a:pt x="50" y="351"/>
                  </a:cubicBezTo>
                  <a:cubicBezTo>
                    <a:pt x="50" y="351"/>
                    <a:pt x="75" y="351"/>
                    <a:pt x="75" y="400"/>
                  </a:cubicBezTo>
                  <a:cubicBezTo>
                    <a:pt x="75" y="426"/>
                    <a:pt x="75" y="451"/>
                    <a:pt x="101" y="476"/>
                  </a:cubicBezTo>
                  <a:lnTo>
                    <a:pt x="101" y="501"/>
                  </a:lnTo>
                  <a:cubicBezTo>
                    <a:pt x="101" y="526"/>
                    <a:pt x="126" y="526"/>
                    <a:pt x="150" y="551"/>
                  </a:cubicBezTo>
                  <a:cubicBezTo>
                    <a:pt x="201" y="551"/>
                    <a:pt x="201" y="576"/>
                    <a:pt x="201" y="576"/>
                  </a:cubicBezTo>
                  <a:cubicBezTo>
                    <a:pt x="201" y="601"/>
                    <a:pt x="251" y="625"/>
                    <a:pt x="251" y="601"/>
                  </a:cubicBezTo>
                  <a:cubicBezTo>
                    <a:pt x="275" y="576"/>
                    <a:pt x="301" y="601"/>
                    <a:pt x="301" y="601"/>
                  </a:cubicBezTo>
                  <a:cubicBezTo>
                    <a:pt x="326" y="601"/>
                    <a:pt x="326" y="625"/>
                    <a:pt x="326" y="625"/>
                  </a:cubicBezTo>
                  <a:cubicBezTo>
                    <a:pt x="351" y="651"/>
                    <a:pt x="375" y="625"/>
                    <a:pt x="401" y="651"/>
                  </a:cubicBezTo>
                  <a:cubicBezTo>
                    <a:pt x="426" y="651"/>
                    <a:pt x="426" y="701"/>
                    <a:pt x="451" y="701"/>
                  </a:cubicBezTo>
                  <a:cubicBezTo>
                    <a:pt x="451" y="725"/>
                    <a:pt x="475" y="676"/>
                    <a:pt x="501" y="701"/>
                  </a:cubicBezTo>
                  <a:cubicBezTo>
                    <a:pt x="501" y="701"/>
                    <a:pt x="551" y="725"/>
                    <a:pt x="575" y="701"/>
                  </a:cubicBezTo>
                  <a:cubicBezTo>
                    <a:pt x="601" y="701"/>
                    <a:pt x="626" y="725"/>
                    <a:pt x="651" y="701"/>
                  </a:cubicBezTo>
                  <a:cubicBezTo>
                    <a:pt x="675" y="701"/>
                    <a:pt x="726" y="725"/>
                    <a:pt x="726" y="725"/>
                  </a:cubicBezTo>
                  <a:cubicBezTo>
                    <a:pt x="726" y="725"/>
                    <a:pt x="751" y="751"/>
                    <a:pt x="775" y="751"/>
                  </a:cubicBezTo>
                  <a:cubicBezTo>
                    <a:pt x="801" y="725"/>
                    <a:pt x="775" y="701"/>
                    <a:pt x="775" y="676"/>
                  </a:cubicBezTo>
                  <a:cubicBezTo>
                    <a:pt x="775" y="676"/>
                    <a:pt x="851" y="601"/>
                    <a:pt x="875" y="601"/>
                  </a:cubicBezTo>
                  <a:cubicBezTo>
                    <a:pt x="875" y="576"/>
                    <a:pt x="901" y="576"/>
                    <a:pt x="901" y="551"/>
                  </a:cubicBezTo>
                  <a:cubicBezTo>
                    <a:pt x="926" y="551"/>
                    <a:pt x="875" y="476"/>
                    <a:pt x="875" y="476"/>
                  </a:cubicBezTo>
                  <a:cubicBezTo>
                    <a:pt x="875" y="451"/>
                    <a:pt x="851" y="400"/>
                    <a:pt x="875" y="376"/>
                  </a:cubicBezTo>
                  <a:cubicBezTo>
                    <a:pt x="875" y="376"/>
                    <a:pt x="826" y="351"/>
                    <a:pt x="826" y="326"/>
                  </a:cubicBezTo>
                  <a:cubicBezTo>
                    <a:pt x="826" y="326"/>
                    <a:pt x="875" y="300"/>
                    <a:pt x="901" y="300"/>
                  </a:cubicBezTo>
                  <a:cubicBezTo>
                    <a:pt x="901" y="276"/>
                    <a:pt x="901" y="226"/>
                    <a:pt x="875" y="200"/>
                  </a:cubicBezTo>
                  <a:cubicBezTo>
                    <a:pt x="875" y="200"/>
                    <a:pt x="851" y="176"/>
                    <a:pt x="875" y="126"/>
                  </a:cubicBezTo>
                  <a:cubicBezTo>
                    <a:pt x="875" y="100"/>
                    <a:pt x="801" y="76"/>
                    <a:pt x="801" y="76"/>
                  </a:cubicBezTo>
                  <a:lnTo>
                    <a:pt x="801" y="76"/>
                  </a:lnTo>
                  <a:cubicBezTo>
                    <a:pt x="726" y="100"/>
                    <a:pt x="551" y="76"/>
                    <a:pt x="551" y="76"/>
                  </a:cubicBezTo>
                  <a:cubicBezTo>
                    <a:pt x="551" y="76"/>
                    <a:pt x="526" y="51"/>
                    <a:pt x="501" y="51"/>
                  </a:cubicBezTo>
                  <a:cubicBezTo>
                    <a:pt x="501" y="76"/>
                    <a:pt x="475" y="76"/>
                    <a:pt x="451" y="76"/>
                  </a:cubicBezTo>
                  <a:cubicBezTo>
                    <a:pt x="401" y="76"/>
                    <a:pt x="401" y="51"/>
                    <a:pt x="401" y="26"/>
                  </a:cubicBezTo>
                  <a:cubicBezTo>
                    <a:pt x="401" y="0"/>
                    <a:pt x="251" y="26"/>
                    <a:pt x="201" y="76"/>
                  </a:cubicBezTo>
                  <a:cubicBezTo>
                    <a:pt x="150" y="126"/>
                    <a:pt x="50" y="100"/>
                    <a:pt x="50" y="126"/>
                  </a:cubicBezTo>
                  <a:cubicBezTo>
                    <a:pt x="50" y="151"/>
                    <a:pt x="50" y="151"/>
                    <a:pt x="26" y="1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0" name="Freeform 63">
              <a:extLst>
                <a:ext uri="{FF2B5EF4-FFF2-40B4-BE49-F238E27FC236}">
                  <a16:creationId xmlns:a16="http://schemas.microsoft.com/office/drawing/2014/main" id="{E6E3C2E7-330C-DB6F-5AD4-4FE830C2E0A3}"/>
                </a:ext>
              </a:extLst>
            </p:cNvPr>
            <p:cNvSpPr>
              <a:spLocks noChangeArrowheads="1"/>
            </p:cNvSpPr>
            <p:nvPr/>
          </p:nvSpPr>
          <p:spPr bwMode="auto">
            <a:xfrm>
              <a:off x="6685251" y="4363400"/>
              <a:ext cx="164065" cy="164065"/>
            </a:xfrm>
            <a:custGeom>
              <a:avLst/>
              <a:gdLst>
                <a:gd name="T0" fmla="*/ 251 w 326"/>
                <a:gd name="T1" fmla="*/ 300 h 326"/>
                <a:gd name="T2" fmla="*/ 251 w 326"/>
                <a:gd name="T3" fmla="*/ 300 h 326"/>
                <a:gd name="T4" fmla="*/ 325 w 326"/>
                <a:gd name="T5" fmla="*/ 200 h 326"/>
                <a:gd name="T6" fmla="*/ 325 w 326"/>
                <a:gd name="T7" fmla="*/ 75 h 326"/>
                <a:gd name="T8" fmla="*/ 251 w 326"/>
                <a:gd name="T9" fmla="*/ 25 h 326"/>
                <a:gd name="T10" fmla="*/ 101 w 326"/>
                <a:gd name="T11" fmla="*/ 25 h 326"/>
                <a:gd name="T12" fmla="*/ 51 w 326"/>
                <a:gd name="T13" fmla="*/ 25 h 326"/>
                <a:gd name="T14" fmla="*/ 0 w 326"/>
                <a:gd name="T15" fmla="*/ 50 h 326"/>
                <a:gd name="T16" fmla="*/ 51 w 326"/>
                <a:gd name="T17" fmla="*/ 125 h 326"/>
                <a:gd name="T18" fmla="*/ 125 w 326"/>
                <a:gd name="T19" fmla="*/ 200 h 326"/>
                <a:gd name="T20" fmla="*/ 201 w 326"/>
                <a:gd name="T21" fmla="*/ 300 h 326"/>
                <a:gd name="T22" fmla="*/ 251 w 326"/>
                <a:gd name="T23" fmla="*/ 325 h 326"/>
                <a:gd name="T24" fmla="*/ 251 w 326"/>
                <a:gd name="T25" fmla="*/ 30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26">
                  <a:moveTo>
                    <a:pt x="251" y="300"/>
                  </a:moveTo>
                  <a:lnTo>
                    <a:pt x="251" y="300"/>
                  </a:lnTo>
                  <a:cubicBezTo>
                    <a:pt x="251" y="275"/>
                    <a:pt x="301" y="200"/>
                    <a:pt x="325" y="200"/>
                  </a:cubicBezTo>
                  <a:cubicBezTo>
                    <a:pt x="325" y="200"/>
                    <a:pt x="325" y="125"/>
                    <a:pt x="325" y="75"/>
                  </a:cubicBezTo>
                  <a:cubicBezTo>
                    <a:pt x="276" y="50"/>
                    <a:pt x="251" y="25"/>
                    <a:pt x="251" y="25"/>
                  </a:cubicBezTo>
                  <a:cubicBezTo>
                    <a:pt x="251" y="25"/>
                    <a:pt x="125" y="25"/>
                    <a:pt x="101" y="25"/>
                  </a:cubicBezTo>
                  <a:cubicBezTo>
                    <a:pt x="76" y="0"/>
                    <a:pt x="51" y="50"/>
                    <a:pt x="51" y="25"/>
                  </a:cubicBezTo>
                  <a:cubicBezTo>
                    <a:pt x="25" y="0"/>
                    <a:pt x="0" y="25"/>
                    <a:pt x="0" y="50"/>
                  </a:cubicBezTo>
                  <a:cubicBezTo>
                    <a:pt x="0" y="75"/>
                    <a:pt x="51" y="75"/>
                    <a:pt x="51" y="125"/>
                  </a:cubicBezTo>
                  <a:cubicBezTo>
                    <a:pt x="51" y="150"/>
                    <a:pt x="125" y="200"/>
                    <a:pt x="125" y="200"/>
                  </a:cubicBezTo>
                  <a:cubicBezTo>
                    <a:pt x="125" y="225"/>
                    <a:pt x="176" y="250"/>
                    <a:pt x="201" y="300"/>
                  </a:cubicBezTo>
                  <a:cubicBezTo>
                    <a:pt x="201" y="300"/>
                    <a:pt x="225" y="325"/>
                    <a:pt x="251" y="325"/>
                  </a:cubicBezTo>
                  <a:lnTo>
                    <a:pt x="251" y="300"/>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1" name="Freeform 64">
              <a:extLst>
                <a:ext uri="{FF2B5EF4-FFF2-40B4-BE49-F238E27FC236}">
                  <a16:creationId xmlns:a16="http://schemas.microsoft.com/office/drawing/2014/main" id="{D6DA5D40-369D-AF91-9954-6B3E47C13287}"/>
                </a:ext>
              </a:extLst>
            </p:cNvPr>
            <p:cNvSpPr>
              <a:spLocks noChangeArrowheads="1"/>
            </p:cNvSpPr>
            <p:nvPr/>
          </p:nvSpPr>
          <p:spPr bwMode="auto">
            <a:xfrm>
              <a:off x="6598781" y="4288017"/>
              <a:ext cx="252751" cy="226144"/>
            </a:xfrm>
            <a:custGeom>
              <a:avLst/>
              <a:gdLst>
                <a:gd name="T0" fmla="*/ 300 w 501"/>
                <a:gd name="T1" fmla="*/ 350 h 451"/>
                <a:gd name="T2" fmla="*/ 300 w 501"/>
                <a:gd name="T3" fmla="*/ 350 h 451"/>
                <a:gd name="T4" fmla="*/ 226 w 501"/>
                <a:gd name="T5" fmla="*/ 275 h 451"/>
                <a:gd name="T6" fmla="*/ 175 w 501"/>
                <a:gd name="T7" fmla="*/ 200 h 451"/>
                <a:gd name="T8" fmla="*/ 226 w 501"/>
                <a:gd name="T9" fmla="*/ 175 h 451"/>
                <a:gd name="T10" fmla="*/ 276 w 501"/>
                <a:gd name="T11" fmla="*/ 175 h 451"/>
                <a:gd name="T12" fmla="*/ 426 w 501"/>
                <a:gd name="T13" fmla="*/ 175 h 451"/>
                <a:gd name="T14" fmla="*/ 500 w 501"/>
                <a:gd name="T15" fmla="*/ 225 h 451"/>
                <a:gd name="T16" fmla="*/ 500 w 501"/>
                <a:gd name="T17" fmla="*/ 200 h 451"/>
                <a:gd name="T18" fmla="*/ 476 w 501"/>
                <a:gd name="T19" fmla="*/ 125 h 451"/>
                <a:gd name="T20" fmla="*/ 451 w 501"/>
                <a:gd name="T21" fmla="*/ 75 h 451"/>
                <a:gd name="T22" fmla="*/ 426 w 501"/>
                <a:gd name="T23" fmla="*/ 75 h 451"/>
                <a:gd name="T24" fmla="*/ 326 w 501"/>
                <a:gd name="T25" fmla="*/ 75 h 451"/>
                <a:gd name="T26" fmla="*/ 251 w 501"/>
                <a:gd name="T27" fmla="*/ 0 h 451"/>
                <a:gd name="T28" fmla="*/ 175 w 501"/>
                <a:gd name="T29" fmla="*/ 50 h 451"/>
                <a:gd name="T30" fmla="*/ 151 w 501"/>
                <a:gd name="T31" fmla="*/ 100 h 451"/>
                <a:gd name="T32" fmla="*/ 126 w 501"/>
                <a:gd name="T33" fmla="*/ 125 h 451"/>
                <a:gd name="T34" fmla="*/ 75 w 501"/>
                <a:gd name="T35" fmla="*/ 125 h 451"/>
                <a:gd name="T36" fmla="*/ 0 w 501"/>
                <a:gd name="T37" fmla="*/ 150 h 451"/>
                <a:gd name="T38" fmla="*/ 25 w 501"/>
                <a:gd name="T39" fmla="*/ 175 h 451"/>
                <a:gd name="T40" fmla="*/ 100 w 501"/>
                <a:gd name="T41" fmla="*/ 225 h 451"/>
                <a:gd name="T42" fmla="*/ 175 w 501"/>
                <a:gd name="T43" fmla="*/ 350 h 451"/>
                <a:gd name="T44" fmla="*/ 251 w 501"/>
                <a:gd name="T45" fmla="*/ 375 h 451"/>
                <a:gd name="T46" fmla="*/ 326 w 501"/>
                <a:gd name="T47" fmla="*/ 425 h 451"/>
                <a:gd name="T48" fmla="*/ 376 w 501"/>
                <a:gd name="T49" fmla="*/ 450 h 451"/>
                <a:gd name="T50" fmla="*/ 300 w 501"/>
                <a:gd name="T51" fmla="*/ 3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1" h="451">
                  <a:moveTo>
                    <a:pt x="300" y="350"/>
                  </a:moveTo>
                  <a:lnTo>
                    <a:pt x="300" y="350"/>
                  </a:lnTo>
                  <a:cubicBezTo>
                    <a:pt x="300" y="350"/>
                    <a:pt x="226" y="300"/>
                    <a:pt x="226" y="275"/>
                  </a:cubicBezTo>
                  <a:cubicBezTo>
                    <a:pt x="226" y="225"/>
                    <a:pt x="175" y="225"/>
                    <a:pt x="175" y="200"/>
                  </a:cubicBezTo>
                  <a:cubicBezTo>
                    <a:pt x="175" y="175"/>
                    <a:pt x="200" y="150"/>
                    <a:pt x="226" y="175"/>
                  </a:cubicBezTo>
                  <a:cubicBezTo>
                    <a:pt x="226" y="200"/>
                    <a:pt x="251" y="150"/>
                    <a:pt x="276" y="175"/>
                  </a:cubicBezTo>
                  <a:cubicBezTo>
                    <a:pt x="300" y="175"/>
                    <a:pt x="426" y="175"/>
                    <a:pt x="426" y="175"/>
                  </a:cubicBezTo>
                  <a:cubicBezTo>
                    <a:pt x="426" y="175"/>
                    <a:pt x="451" y="200"/>
                    <a:pt x="500" y="225"/>
                  </a:cubicBezTo>
                  <a:cubicBezTo>
                    <a:pt x="500" y="200"/>
                    <a:pt x="500" y="200"/>
                    <a:pt x="500" y="200"/>
                  </a:cubicBezTo>
                  <a:cubicBezTo>
                    <a:pt x="500" y="175"/>
                    <a:pt x="500" y="150"/>
                    <a:pt x="476" y="125"/>
                  </a:cubicBezTo>
                  <a:cubicBezTo>
                    <a:pt x="451" y="125"/>
                    <a:pt x="451" y="100"/>
                    <a:pt x="451" y="75"/>
                  </a:cubicBezTo>
                  <a:cubicBezTo>
                    <a:pt x="426" y="75"/>
                    <a:pt x="426" y="75"/>
                    <a:pt x="426" y="75"/>
                  </a:cubicBezTo>
                  <a:cubicBezTo>
                    <a:pt x="400" y="100"/>
                    <a:pt x="326" y="100"/>
                    <a:pt x="326" y="75"/>
                  </a:cubicBezTo>
                  <a:cubicBezTo>
                    <a:pt x="300" y="50"/>
                    <a:pt x="251" y="25"/>
                    <a:pt x="251" y="0"/>
                  </a:cubicBezTo>
                  <a:cubicBezTo>
                    <a:pt x="226" y="25"/>
                    <a:pt x="200" y="50"/>
                    <a:pt x="175" y="50"/>
                  </a:cubicBezTo>
                  <a:cubicBezTo>
                    <a:pt x="175" y="50"/>
                    <a:pt x="175" y="100"/>
                    <a:pt x="151" y="100"/>
                  </a:cubicBezTo>
                  <a:lnTo>
                    <a:pt x="126" y="125"/>
                  </a:lnTo>
                  <a:cubicBezTo>
                    <a:pt x="126" y="150"/>
                    <a:pt x="75" y="125"/>
                    <a:pt x="75" y="125"/>
                  </a:cubicBezTo>
                  <a:cubicBezTo>
                    <a:pt x="51" y="125"/>
                    <a:pt x="25" y="150"/>
                    <a:pt x="0" y="150"/>
                  </a:cubicBezTo>
                  <a:cubicBezTo>
                    <a:pt x="0" y="150"/>
                    <a:pt x="0" y="175"/>
                    <a:pt x="25" y="175"/>
                  </a:cubicBezTo>
                  <a:cubicBezTo>
                    <a:pt x="51" y="175"/>
                    <a:pt x="100" y="175"/>
                    <a:pt x="100" y="225"/>
                  </a:cubicBezTo>
                  <a:cubicBezTo>
                    <a:pt x="100" y="250"/>
                    <a:pt x="151" y="325"/>
                    <a:pt x="175" y="350"/>
                  </a:cubicBezTo>
                  <a:cubicBezTo>
                    <a:pt x="200" y="375"/>
                    <a:pt x="251" y="375"/>
                    <a:pt x="251" y="375"/>
                  </a:cubicBezTo>
                  <a:cubicBezTo>
                    <a:pt x="251" y="400"/>
                    <a:pt x="300" y="425"/>
                    <a:pt x="326" y="425"/>
                  </a:cubicBezTo>
                  <a:cubicBezTo>
                    <a:pt x="351" y="425"/>
                    <a:pt x="351" y="425"/>
                    <a:pt x="376" y="450"/>
                  </a:cubicBezTo>
                  <a:cubicBezTo>
                    <a:pt x="351" y="400"/>
                    <a:pt x="300" y="375"/>
                    <a:pt x="300" y="3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2" name="Freeform 65">
              <a:extLst>
                <a:ext uri="{FF2B5EF4-FFF2-40B4-BE49-F238E27FC236}">
                  <a16:creationId xmlns:a16="http://schemas.microsoft.com/office/drawing/2014/main" id="{08623058-8F19-2D3B-06DF-14220E735C81}"/>
                </a:ext>
              </a:extLst>
            </p:cNvPr>
            <p:cNvSpPr>
              <a:spLocks noChangeArrowheads="1"/>
            </p:cNvSpPr>
            <p:nvPr/>
          </p:nvSpPr>
          <p:spPr bwMode="auto">
            <a:xfrm>
              <a:off x="6838233" y="4527463"/>
              <a:ext cx="88683" cy="164065"/>
            </a:xfrm>
            <a:custGeom>
              <a:avLst/>
              <a:gdLst>
                <a:gd name="T0" fmla="*/ 124 w 176"/>
                <a:gd name="T1" fmla="*/ 275 h 326"/>
                <a:gd name="T2" fmla="*/ 124 w 176"/>
                <a:gd name="T3" fmla="*/ 275 h 326"/>
                <a:gd name="T4" fmla="*/ 150 w 176"/>
                <a:gd name="T5" fmla="*/ 250 h 326"/>
                <a:gd name="T6" fmla="*/ 175 w 176"/>
                <a:gd name="T7" fmla="*/ 200 h 326"/>
                <a:gd name="T8" fmla="*/ 175 w 176"/>
                <a:gd name="T9" fmla="*/ 200 h 326"/>
                <a:gd name="T10" fmla="*/ 124 w 176"/>
                <a:gd name="T11" fmla="*/ 125 h 326"/>
                <a:gd name="T12" fmla="*/ 150 w 176"/>
                <a:gd name="T13" fmla="*/ 25 h 326"/>
                <a:gd name="T14" fmla="*/ 50 w 176"/>
                <a:gd name="T15" fmla="*/ 0 h 326"/>
                <a:gd name="T16" fmla="*/ 24 w 176"/>
                <a:gd name="T17" fmla="*/ 50 h 326"/>
                <a:gd name="T18" fmla="*/ 50 w 176"/>
                <a:gd name="T19" fmla="*/ 125 h 326"/>
                <a:gd name="T20" fmla="*/ 24 w 176"/>
                <a:gd name="T21" fmla="*/ 250 h 326"/>
                <a:gd name="T22" fmla="*/ 100 w 176"/>
                <a:gd name="T23" fmla="*/ 325 h 326"/>
                <a:gd name="T24" fmla="*/ 124 w 176"/>
                <a:gd name="T25" fmla="*/ 2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326">
                  <a:moveTo>
                    <a:pt x="124" y="275"/>
                  </a:moveTo>
                  <a:lnTo>
                    <a:pt x="124" y="275"/>
                  </a:lnTo>
                  <a:cubicBezTo>
                    <a:pt x="150" y="275"/>
                    <a:pt x="124" y="275"/>
                    <a:pt x="150" y="250"/>
                  </a:cubicBezTo>
                  <a:cubicBezTo>
                    <a:pt x="175" y="225"/>
                    <a:pt x="175" y="200"/>
                    <a:pt x="175" y="200"/>
                  </a:cubicBezTo>
                  <a:lnTo>
                    <a:pt x="175" y="200"/>
                  </a:lnTo>
                  <a:cubicBezTo>
                    <a:pt x="150" y="175"/>
                    <a:pt x="124" y="150"/>
                    <a:pt x="124" y="125"/>
                  </a:cubicBezTo>
                  <a:cubicBezTo>
                    <a:pt x="124" y="100"/>
                    <a:pt x="124" y="75"/>
                    <a:pt x="150" y="25"/>
                  </a:cubicBezTo>
                  <a:cubicBezTo>
                    <a:pt x="124" y="25"/>
                    <a:pt x="75" y="0"/>
                    <a:pt x="50" y="0"/>
                  </a:cubicBezTo>
                  <a:cubicBezTo>
                    <a:pt x="50" y="0"/>
                    <a:pt x="24" y="25"/>
                    <a:pt x="24" y="50"/>
                  </a:cubicBezTo>
                  <a:cubicBezTo>
                    <a:pt x="50" y="75"/>
                    <a:pt x="75" y="100"/>
                    <a:pt x="50" y="125"/>
                  </a:cubicBezTo>
                  <a:cubicBezTo>
                    <a:pt x="24" y="150"/>
                    <a:pt x="0" y="225"/>
                    <a:pt x="24" y="250"/>
                  </a:cubicBezTo>
                  <a:cubicBezTo>
                    <a:pt x="75" y="275"/>
                    <a:pt x="75" y="325"/>
                    <a:pt x="100" y="325"/>
                  </a:cubicBezTo>
                  <a:cubicBezTo>
                    <a:pt x="100" y="300"/>
                    <a:pt x="100" y="275"/>
                    <a:pt x="124" y="2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3" name="Freeform 67">
              <a:extLst>
                <a:ext uri="{FF2B5EF4-FFF2-40B4-BE49-F238E27FC236}">
                  <a16:creationId xmlns:a16="http://schemas.microsoft.com/office/drawing/2014/main" id="{DE2A8C8E-3978-A709-439E-8ED9B152ED8B}"/>
                </a:ext>
              </a:extLst>
            </p:cNvPr>
            <p:cNvSpPr>
              <a:spLocks noChangeArrowheads="1"/>
            </p:cNvSpPr>
            <p:nvPr/>
          </p:nvSpPr>
          <p:spPr bwMode="auto">
            <a:xfrm>
              <a:off x="6711858" y="4163859"/>
              <a:ext cx="301527" cy="177368"/>
            </a:xfrm>
            <a:custGeom>
              <a:avLst/>
              <a:gdLst>
                <a:gd name="T0" fmla="*/ 574 w 601"/>
                <a:gd name="T1" fmla="*/ 50 h 351"/>
                <a:gd name="T2" fmla="*/ 574 w 601"/>
                <a:gd name="T3" fmla="*/ 50 h 351"/>
                <a:gd name="T4" fmla="*/ 550 w 601"/>
                <a:gd name="T5" fmla="*/ 50 h 351"/>
                <a:gd name="T6" fmla="*/ 500 w 601"/>
                <a:gd name="T7" fmla="*/ 25 h 351"/>
                <a:gd name="T8" fmla="*/ 425 w 601"/>
                <a:gd name="T9" fmla="*/ 0 h 351"/>
                <a:gd name="T10" fmla="*/ 325 w 601"/>
                <a:gd name="T11" fmla="*/ 50 h 351"/>
                <a:gd name="T12" fmla="*/ 225 w 601"/>
                <a:gd name="T13" fmla="*/ 75 h 351"/>
                <a:gd name="T14" fmla="*/ 100 w 601"/>
                <a:gd name="T15" fmla="*/ 75 h 351"/>
                <a:gd name="T16" fmla="*/ 100 w 601"/>
                <a:gd name="T17" fmla="*/ 75 h 351"/>
                <a:gd name="T18" fmla="*/ 74 w 601"/>
                <a:gd name="T19" fmla="*/ 100 h 351"/>
                <a:gd name="T20" fmla="*/ 25 w 601"/>
                <a:gd name="T21" fmla="*/ 125 h 351"/>
                <a:gd name="T22" fmla="*/ 25 w 601"/>
                <a:gd name="T23" fmla="*/ 150 h 351"/>
                <a:gd name="T24" fmla="*/ 0 w 601"/>
                <a:gd name="T25" fmla="*/ 200 h 351"/>
                <a:gd name="T26" fmla="*/ 0 w 601"/>
                <a:gd name="T27" fmla="*/ 225 h 351"/>
                <a:gd name="T28" fmla="*/ 25 w 601"/>
                <a:gd name="T29" fmla="*/ 250 h 351"/>
                <a:gd name="T30" fmla="*/ 25 w 601"/>
                <a:gd name="T31" fmla="*/ 250 h 351"/>
                <a:gd name="T32" fmla="*/ 100 w 601"/>
                <a:gd name="T33" fmla="*/ 325 h 351"/>
                <a:gd name="T34" fmla="*/ 200 w 601"/>
                <a:gd name="T35" fmla="*/ 325 h 351"/>
                <a:gd name="T36" fmla="*/ 325 w 601"/>
                <a:gd name="T37" fmla="*/ 300 h 351"/>
                <a:gd name="T38" fmla="*/ 350 w 601"/>
                <a:gd name="T39" fmla="*/ 300 h 351"/>
                <a:gd name="T40" fmla="*/ 374 w 601"/>
                <a:gd name="T41" fmla="*/ 325 h 351"/>
                <a:gd name="T42" fmla="*/ 450 w 601"/>
                <a:gd name="T43" fmla="*/ 275 h 351"/>
                <a:gd name="T44" fmla="*/ 525 w 601"/>
                <a:gd name="T45" fmla="*/ 125 h 351"/>
                <a:gd name="T46" fmla="*/ 600 w 601"/>
                <a:gd name="T47" fmla="*/ 100 h 351"/>
                <a:gd name="T48" fmla="*/ 574 w 601"/>
                <a:gd name="T49" fmla="*/ 5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51">
                  <a:moveTo>
                    <a:pt x="574" y="50"/>
                  </a:moveTo>
                  <a:lnTo>
                    <a:pt x="574" y="50"/>
                  </a:lnTo>
                  <a:cubicBezTo>
                    <a:pt x="574" y="50"/>
                    <a:pt x="574" y="50"/>
                    <a:pt x="550" y="50"/>
                  </a:cubicBezTo>
                  <a:cubicBezTo>
                    <a:pt x="525" y="50"/>
                    <a:pt x="500" y="25"/>
                    <a:pt x="500" y="25"/>
                  </a:cubicBezTo>
                  <a:cubicBezTo>
                    <a:pt x="474" y="0"/>
                    <a:pt x="425" y="0"/>
                    <a:pt x="425" y="0"/>
                  </a:cubicBezTo>
                  <a:cubicBezTo>
                    <a:pt x="400" y="0"/>
                    <a:pt x="350" y="50"/>
                    <a:pt x="325" y="50"/>
                  </a:cubicBezTo>
                  <a:cubicBezTo>
                    <a:pt x="300" y="50"/>
                    <a:pt x="225" y="75"/>
                    <a:pt x="225" y="75"/>
                  </a:cubicBezTo>
                  <a:cubicBezTo>
                    <a:pt x="225" y="100"/>
                    <a:pt x="125" y="100"/>
                    <a:pt x="100" y="75"/>
                  </a:cubicBezTo>
                  <a:lnTo>
                    <a:pt x="100" y="75"/>
                  </a:lnTo>
                  <a:cubicBezTo>
                    <a:pt x="74" y="75"/>
                    <a:pt x="74" y="75"/>
                    <a:pt x="74" y="100"/>
                  </a:cubicBezTo>
                  <a:cubicBezTo>
                    <a:pt x="74" y="125"/>
                    <a:pt x="50" y="125"/>
                    <a:pt x="25" y="125"/>
                  </a:cubicBezTo>
                  <a:lnTo>
                    <a:pt x="25" y="150"/>
                  </a:lnTo>
                  <a:cubicBezTo>
                    <a:pt x="25" y="175"/>
                    <a:pt x="25" y="200"/>
                    <a:pt x="0" y="200"/>
                  </a:cubicBezTo>
                  <a:cubicBezTo>
                    <a:pt x="0" y="200"/>
                    <a:pt x="0" y="200"/>
                    <a:pt x="0" y="225"/>
                  </a:cubicBezTo>
                  <a:lnTo>
                    <a:pt x="25" y="250"/>
                  </a:lnTo>
                  <a:lnTo>
                    <a:pt x="25" y="250"/>
                  </a:lnTo>
                  <a:cubicBezTo>
                    <a:pt x="25" y="275"/>
                    <a:pt x="74" y="300"/>
                    <a:pt x="100" y="325"/>
                  </a:cubicBezTo>
                  <a:cubicBezTo>
                    <a:pt x="100" y="350"/>
                    <a:pt x="174" y="350"/>
                    <a:pt x="200" y="325"/>
                  </a:cubicBezTo>
                  <a:cubicBezTo>
                    <a:pt x="225" y="325"/>
                    <a:pt x="325" y="300"/>
                    <a:pt x="325" y="300"/>
                  </a:cubicBezTo>
                  <a:lnTo>
                    <a:pt x="350" y="300"/>
                  </a:lnTo>
                  <a:cubicBezTo>
                    <a:pt x="350" y="300"/>
                    <a:pt x="374" y="300"/>
                    <a:pt x="374" y="325"/>
                  </a:cubicBezTo>
                  <a:cubicBezTo>
                    <a:pt x="400" y="300"/>
                    <a:pt x="425" y="300"/>
                    <a:pt x="450" y="275"/>
                  </a:cubicBezTo>
                  <a:cubicBezTo>
                    <a:pt x="474" y="250"/>
                    <a:pt x="525" y="150"/>
                    <a:pt x="525" y="125"/>
                  </a:cubicBezTo>
                  <a:cubicBezTo>
                    <a:pt x="550" y="125"/>
                    <a:pt x="574" y="100"/>
                    <a:pt x="600" y="100"/>
                  </a:cubicBezTo>
                  <a:cubicBezTo>
                    <a:pt x="600" y="75"/>
                    <a:pt x="600" y="75"/>
                    <a:pt x="574" y="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4" name="Freeform 68">
              <a:extLst>
                <a:ext uri="{FF2B5EF4-FFF2-40B4-BE49-F238E27FC236}">
                  <a16:creationId xmlns:a16="http://schemas.microsoft.com/office/drawing/2014/main" id="{2BBB6345-EFC6-5D5E-F4A8-F34884800838}"/>
                </a:ext>
              </a:extLst>
            </p:cNvPr>
            <p:cNvSpPr>
              <a:spLocks noChangeArrowheads="1"/>
            </p:cNvSpPr>
            <p:nvPr/>
          </p:nvSpPr>
          <p:spPr bwMode="auto">
            <a:xfrm>
              <a:off x="6523403" y="4013096"/>
              <a:ext cx="301527" cy="150763"/>
            </a:xfrm>
            <a:custGeom>
              <a:avLst/>
              <a:gdLst>
                <a:gd name="T0" fmla="*/ 575 w 601"/>
                <a:gd name="T1" fmla="*/ 150 h 301"/>
                <a:gd name="T2" fmla="*/ 575 w 601"/>
                <a:gd name="T3" fmla="*/ 150 h 301"/>
                <a:gd name="T4" fmla="*/ 500 w 601"/>
                <a:gd name="T5" fmla="*/ 124 h 301"/>
                <a:gd name="T6" fmla="*/ 475 w 601"/>
                <a:gd name="T7" fmla="*/ 100 h 301"/>
                <a:gd name="T8" fmla="*/ 425 w 601"/>
                <a:gd name="T9" fmla="*/ 100 h 301"/>
                <a:gd name="T10" fmla="*/ 375 w 601"/>
                <a:gd name="T11" fmla="*/ 75 h 301"/>
                <a:gd name="T12" fmla="*/ 324 w 601"/>
                <a:gd name="T13" fmla="*/ 50 h 301"/>
                <a:gd name="T14" fmla="*/ 275 w 601"/>
                <a:gd name="T15" fmla="*/ 0 h 301"/>
                <a:gd name="T16" fmla="*/ 249 w 601"/>
                <a:gd name="T17" fmla="*/ 25 h 301"/>
                <a:gd name="T18" fmla="*/ 200 w 601"/>
                <a:gd name="T19" fmla="*/ 25 h 301"/>
                <a:gd name="T20" fmla="*/ 124 w 601"/>
                <a:gd name="T21" fmla="*/ 50 h 301"/>
                <a:gd name="T22" fmla="*/ 24 w 601"/>
                <a:gd name="T23" fmla="*/ 100 h 301"/>
                <a:gd name="T24" fmla="*/ 49 w 601"/>
                <a:gd name="T25" fmla="*/ 150 h 301"/>
                <a:gd name="T26" fmla="*/ 75 w 601"/>
                <a:gd name="T27" fmla="*/ 224 h 301"/>
                <a:gd name="T28" fmla="*/ 174 w 601"/>
                <a:gd name="T29" fmla="*/ 300 h 301"/>
                <a:gd name="T30" fmla="*/ 174 w 601"/>
                <a:gd name="T31" fmla="*/ 300 h 301"/>
                <a:gd name="T32" fmla="*/ 249 w 601"/>
                <a:gd name="T33" fmla="*/ 300 h 301"/>
                <a:gd name="T34" fmla="*/ 275 w 601"/>
                <a:gd name="T35" fmla="*/ 250 h 301"/>
                <a:gd name="T36" fmla="*/ 349 w 601"/>
                <a:gd name="T37" fmla="*/ 275 h 301"/>
                <a:gd name="T38" fmla="*/ 425 w 601"/>
                <a:gd name="T39" fmla="*/ 300 h 301"/>
                <a:gd name="T40" fmla="*/ 425 w 601"/>
                <a:gd name="T41" fmla="*/ 300 h 301"/>
                <a:gd name="T42" fmla="*/ 449 w 601"/>
                <a:gd name="T43" fmla="*/ 275 h 301"/>
                <a:gd name="T44" fmla="*/ 549 w 601"/>
                <a:gd name="T45" fmla="*/ 224 h 301"/>
                <a:gd name="T46" fmla="*/ 600 w 601"/>
                <a:gd name="T47" fmla="*/ 200 h 301"/>
                <a:gd name="T48" fmla="*/ 575 w 601"/>
                <a:gd name="T49" fmla="*/ 15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01">
                  <a:moveTo>
                    <a:pt x="575" y="150"/>
                  </a:moveTo>
                  <a:lnTo>
                    <a:pt x="575" y="150"/>
                  </a:lnTo>
                  <a:cubicBezTo>
                    <a:pt x="549" y="124"/>
                    <a:pt x="525" y="150"/>
                    <a:pt x="500" y="124"/>
                  </a:cubicBezTo>
                  <a:cubicBezTo>
                    <a:pt x="500" y="124"/>
                    <a:pt x="500" y="100"/>
                    <a:pt x="475" y="100"/>
                  </a:cubicBezTo>
                  <a:cubicBezTo>
                    <a:pt x="475" y="100"/>
                    <a:pt x="449" y="75"/>
                    <a:pt x="425" y="100"/>
                  </a:cubicBezTo>
                  <a:cubicBezTo>
                    <a:pt x="425" y="124"/>
                    <a:pt x="375" y="100"/>
                    <a:pt x="375" y="75"/>
                  </a:cubicBezTo>
                  <a:cubicBezTo>
                    <a:pt x="375" y="75"/>
                    <a:pt x="375" y="50"/>
                    <a:pt x="324" y="50"/>
                  </a:cubicBezTo>
                  <a:cubicBezTo>
                    <a:pt x="300" y="25"/>
                    <a:pt x="275" y="25"/>
                    <a:pt x="275" y="0"/>
                  </a:cubicBezTo>
                  <a:cubicBezTo>
                    <a:pt x="275" y="25"/>
                    <a:pt x="275" y="25"/>
                    <a:pt x="249" y="25"/>
                  </a:cubicBezTo>
                  <a:cubicBezTo>
                    <a:pt x="249" y="25"/>
                    <a:pt x="224" y="0"/>
                    <a:pt x="200" y="25"/>
                  </a:cubicBezTo>
                  <a:cubicBezTo>
                    <a:pt x="200" y="25"/>
                    <a:pt x="149" y="25"/>
                    <a:pt x="124" y="50"/>
                  </a:cubicBezTo>
                  <a:cubicBezTo>
                    <a:pt x="100" y="75"/>
                    <a:pt x="75" y="100"/>
                    <a:pt x="24" y="100"/>
                  </a:cubicBezTo>
                  <a:cubicBezTo>
                    <a:pt x="0" y="100"/>
                    <a:pt x="24" y="124"/>
                    <a:pt x="49" y="150"/>
                  </a:cubicBezTo>
                  <a:cubicBezTo>
                    <a:pt x="49" y="175"/>
                    <a:pt x="49" y="200"/>
                    <a:pt x="75" y="224"/>
                  </a:cubicBezTo>
                  <a:cubicBezTo>
                    <a:pt x="100" y="250"/>
                    <a:pt x="174" y="275"/>
                    <a:pt x="174" y="300"/>
                  </a:cubicBezTo>
                  <a:lnTo>
                    <a:pt x="174" y="300"/>
                  </a:lnTo>
                  <a:cubicBezTo>
                    <a:pt x="200" y="300"/>
                    <a:pt x="249" y="300"/>
                    <a:pt x="249" y="300"/>
                  </a:cubicBezTo>
                  <a:cubicBezTo>
                    <a:pt x="249" y="275"/>
                    <a:pt x="275" y="250"/>
                    <a:pt x="275" y="250"/>
                  </a:cubicBezTo>
                  <a:cubicBezTo>
                    <a:pt x="275" y="250"/>
                    <a:pt x="324" y="250"/>
                    <a:pt x="349" y="275"/>
                  </a:cubicBezTo>
                  <a:cubicBezTo>
                    <a:pt x="375" y="300"/>
                    <a:pt x="425" y="300"/>
                    <a:pt x="425" y="300"/>
                  </a:cubicBezTo>
                  <a:lnTo>
                    <a:pt x="425" y="300"/>
                  </a:lnTo>
                  <a:cubicBezTo>
                    <a:pt x="449" y="300"/>
                    <a:pt x="449" y="275"/>
                    <a:pt x="449" y="275"/>
                  </a:cubicBezTo>
                  <a:cubicBezTo>
                    <a:pt x="475" y="275"/>
                    <a:pt x="525" y="275"/>
                    <a:pt x="549" y="224"/>
                  </a:cubicBezTo>
                  <a:cubicBezTo>
                    <a:pt x="549" y="224"/>
                    <a:pt x="575" y="200"/>
                    <a:pt x="600" y="200"/>
                  </a:cubicBezTo>
                  <a:cubicBezTo>
                    <a:pt x="600" y="175"/>
                    <a:pt x="575" y="150"/>
                    <a:pt x="57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5" name="Freeform 69">
              <a:extLst>
                <a:ext uri="{FF2B5EF4-FFF2-40B4-BE49-F238E27FC236}">
                  <a16:creationId xmlns:a16="http://schemas.microsoft.com/office/drawing/2014/main" id="{E0296725-B7ED-C9C4-20E2-3183367131C3}"/>
                </a:ext>
              </a:extLst>
            </p:cNvPr>
            <p:cNvSpPr>
              <a:spLocks noChangeArrowheads="1"/>
            </p:cNvSpPr>
            <p:nvPr/>
          </p:nvSpPr>
          <p:spPr bwMode="auto">
            <a:xfrm>
              <a:off x="6736246" y="4099566"/>
              <a:ext cx="263836" cy="113074"/>
            </a:xfrm>
            <a:custGeom>
              <a:avLst/>
              <a:gdLst>
                <a:gd name="T0" fmla="*/ 400 w 525"/>
                <a:gd name="T1" fmla="*/ 25 h 226"/>
                <a:gd name="T2" fmla="*/ 400 w 525"/>
                <a:gd name="T3" fmla="*/ 25 h 226"/>
                <a:gd name="T4" fmla="*/ 324 w 525"/>
                <a:gd name="T5" fmla="*/ 25 h 226"/>
                <a:gd name="T6" fmla="*/ 250 w 525"/>
                <a:gd name="T7" fmla="*/ 25 h 226"/>
                <a:gd name="T8" fmla="*/ 200 w 525"/>
                <a:gd name="T9" fmla="*/ 25 h 226"/>
                <a:gd name="T10" fmla="*/ 175 w 525"/>
                <a:gd name="T11" fmla="*/ 25 h 226"/>
                <a:gd name="T12" fmla="*/ 124 w 525"/>
                <a:gd name="T13" fmla="*/ 49 h 226"/>
                <a:gd name="T14" fmla="*/ 24 w 525"/>
                <a:gd name="T15" fmla="*/ 100 h 226"/>
                <a:gd name="T16" fmla="*/ 0 w 525"/>
                <a:gd name="T17" fmla="*/ 125 h 226"/>
                <a:gd name="T18" fmla="*/ 50 w 525"/>
                <a:gd name="T19" fmla="*/ 200 h 226"/>
                <a:gd name="T20" fmla="*/ 175 w 525"/>
                <a:gd name="T21" fmla="*/ 200 h 226"/>
                <a:gd name="T22" fmla="*/ 275 w 525"/>
                <a:gd name="T23" fmla="*/ 175 h 226"/>
                <a:gd name="T24" fmla="*/ 375 w 525"/>
                <a:gd name="T25" fmla="*/ 125 h 226"/>
                <a:gd name="T26" fmla="*/ 450 w 525"/>
                <a:gd name="T27" fmla="*/ 150 h 226"/>
                <a:gd name="T28" fmla="*/ 500 w 525"/>
                <a:gd name="T29" fmla="*/ 175 h 226"/>
                <a:gd name="T30" fmla="*/ 500 w 525"/>
                <a:gd name="T31" fmla="*/ 150 h 226"/>
                <a:gd name="T32" fmla="*/ 524 w 525"/>
                <a:gd name="T33" fmla="*/ 75 h 226"/>
                <a:gd name="T34" fmla="*/ 524 w 525"/>
                <a:gd name="T35" fmla="*/ 75 h 226"/>
                <a:gd name="T36" fmla="*/ 475 w 525"/>
                <a:gd name="T37" fmla="*/ 49 h 226"/>
                <a:gd name="T38" fmla="*/ 400 w 525"/>
                <a:gd name="T39" fmla="*/ 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5" h="226">
                  <a:moveTo>
                    <a:pt x="400" y="25"/>
                  </a:moveTo>
                  <a:lnTo>
                    <a:pt x="400" y="25"/>
                  </a:lnTo>
                  <a:cubicBezTo>
                    <a:pt x="375" y="49"/>
                    <a:pt x="350" y="25"/>
                    <a:pt x="324" y="25"/>
                  </a:cubicBezTo>
                  <a:cubicBezTo>
                    <a:pt x="300" y="49"/>
                    <a:pt x="250" y="25"/>
                    <a:pt x="250" y="25"/>
                  </a:cubicBezTo>
                  <a:cubicBezTo>
                    <a:pt x="224" y="0"/>
                    <a:pt x="200" y="49"/>
                    <a:pt x="200" y="25"/>
                  </a:cubicBezTo>
                  <a:cubicBezTo>
                    <a:pt x="175" y="25"/>
                    <a:pt x="175" y="25"/>
                    <a:pt x="175" y="25"/>
                  </a:cubicBezTo>
                  <a:cubicBezTo>
                    <a:pt x="150" y="25"/>
                    <a:pt x="124" y="49"/>
                    <a:pt x="124" y="49"/>
                  </a:cubicBezTo>
                  <a:cubicBezTo>
                    <a:pt x="100" y="100"/>
                    <a:pt x="50" y="100"/>
                    <a:pt x="24" y="100"/>
                  </a:cubicBezTo>
                  <a:cubicBezTo>
                    <a:pt x="24" y="100"/>
                    <a:pt x="24" y="125"/>
                    <a:pt x="0" y="125"/>
                  </a:cubicBezTo>
                  <a:cubicBezTo>
                    <a:pt x="24" y="150"/>
                    <a:pt x="24" y="200"/>
                    <a:pt x="50" y="200"/>
                  </a:cubicBezTo>
                  <a:cubicBezTo>
                    <a:pt x="75" y="225"/>
                    <a:pt x="175" y="225"/>
                    <a:pt x="175" y="200"/>
                  </a:cubicBezTo>
                  <a:cubicBezTo>
                    <a:pt x="175" y="200"/>
                    <a:pt x="250" y="175"/>
                    <a:pt x="275" y="175"/>
                  </a:cubicBezTo>
                  <a:cubicBezTo>
                    <a:pt x="300" y="175"/>
                    <a:pt x="350" y="125"/>
                    <a:pt x="375" y="125"/>
                  </a:cubicBezTo>
                  <a:cubicBezTo>
                    <a:pt x="375" y="125"/>
                    <a:pt x="424" y="125"/>
                    <a:pt x="450" y="150"/>
                  </a:cubicBezTo>
                  <a:cubicBezTo>
                    <a:pt x="450" y="150"/>
                    <a:pt x="475" y="175"/>
                    <a:pt x="500" y="175"/>
                  </a:cubicBezTo>
                  <a:cubicBezTo>
                    <a:pt x="500" y="150"/>
                    <a:pt x="500" y="150"/>
                    <a:pt x="500" y="150"/>
                  </a:cubicBezTo>
                  <a:cubicBezTo>
                    <a:pt x="500" y="125"/>
                    <a:pt x="524" y="75"/>
                    <a:pt x="524" y="75"/>
                  </a:cubicBezTo>
                  <a:lnTo>
                    <a:pt x="524" y="75"/>
                  </a:lnTo>
                  <a:cubicBezTo>
                    <a:pt x="500" y="75"/>
                    <a:pt x="475" y="49"/>
                    <a:pt x="475" y="49"/>
                  </a:cubicBezTo>
                  <a:cubicBezTo>
                    <a:pt x="475" y="49"/>
                    <a:pt x="424" y="25"/>
                    <a:pt x="40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6" name="Freeform 70">
              <a:extLst>
                <a:ext uri="{FF2B5EF4-FFF2-40B4-BE49-F238E27FC236}">
                  <a16:creationId xmlns:a16="http://schemas.microsoft.com/office/drawing/2014/main" id="{FB11A490-E068-7BB4-7BC3-7CAFE4815B45}"/>
                </a:ext>
              </a:extLst>
            </p:cNvPr>
            <p:cNvSpPr>
              <a:spLocks noChangeArrowheads="1"/>
            </p:cNvSpPr>
            <p:nvPr/>
          </p:nvSpPr>
          <p:spPr bwMode="auto">
            <a:xfrm>
              <a:off x="5492444" y="4551852"/>
              <a:ext cx="177368" cy="290443"/>
            </a:xfrm>
            <a:custGeom>
              <a:avLst/>
              <a:gdLst>
                <a:gd name="T0" fmla="*/ 250 w 351"/>
                <a:gd name="T1" fmla="*/ 475 h 576"/>
                <a:gd name="T2" fmla="*/ 250 w 351"/>
                <a:gd name="T3" fmla="*/ 475 h 576"/>
                <a:gd name="T4" fmla="*/ 225 w 351"/>
                <a:gd name="T5" fmla="*/ 425 h 576"/>
                <a:gd name="T6" fmla="*/ 250 w 351"/>
                <a:gd name="T7" fmla="*/ 375 h 576"/>
                <a:gd name="T8" fmla="*/ 225 w 351"/>
                <a:gd name="T9" fmla="*/ 325 h 576"/>
                <a:gd name="T10" fmla="*/ 250 w 351"/>
                <a:gd name="T11" fmla="*/ 275 h 576"/>
                <a:gd name="T12" fmla="*/ 250 w 351"/>
                <a:gd name="T13" fmla="*/ 225 h 576"/>
                <a:gd name="T14" fmla="*/ 250 w 351"/>
                <a:gd name="T15" fmla="*/ 125 h 576"/>
                <a:gd name="T16" fmla="*/ 325 w 351"/>
                <a:gd name="T17" fmla="*/ 75 h 576"/>
                <a:gd name="T18" fmla="*/ 300 w 351"/>
                <a:gd name="T19" fmla="*/ 50 h 576"/>
                <a:gd name="T20" fmla="*/ 225 w 351"/>
                <a:gd name="T21" fmla="*/ 25 h 576"/>
                <a:gd name="T22" fmla="*/ 200 w 351"/>
                <a:gd name="T23" fmla="*/ 25 h 576"/>
                <a:gd name="T24" fmla="*/ 150 w 351"/>
                <a:gd name="T25" fmla="*/ 25 h 576"/>
                <a:gd name="T26" fmla="*/ 100 w 351"/>
                <a:gd name="T27" fmla="*/ 0 h 576"/>
                <a:gd name="T28" fmla="*/ 75 w 351"/>
                <a:gd name="T29" fmla="*/ 25 h 576"/>
                <a:gd name="T30" fmla="*/ 75 w 351"/>
                <a:gd name="T31" fmla="*/ 75 h 576"/>
                <a:gd name="T32" fmla="*/ 25 w 351"/>
                <a:gd name="T33" fmla="*/ 300 h 576"/>
                <a:gd name="T34" fmla="*/ 50 w 351"/>
                <a:gd name="T35" fmla="*/ 400 h 576"/>
                <a:gd name="T36" fmla="*/ 75 w 351"/>
                <a:gd name="T37" fmla="*/ 550 h 576"/>
                <a:gd name="T38" fmla="*/ 150 w 351"/>
                <a:gd name="T39" fmla="*/ 575 h 576"/>
                <a:gd name="T40" fmla="*/ 225 w 351"/>
                <a:gd name="T41" fmla="*/ 550 h 576"/>
                <a:gd name="T42" fmla="*/ 200 w 351"/>
                <a:gd name="T43" fmla="*/ 525 h 576"/>
                <a:gd name="T44" fmla="*/ 250 w 351"/>
                <a:gd name="T45"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576">
                  <a:moveTo>
                    <a:pt x="250" y="475"/>
                  </a:moveTo>
                  <a:lnTo>
                    <a:pt x="250" y="475"/>
                  </a:lnTo>
                  <a:cubicBezTo>
                    <a:pt x="275" y="450"/>
                    <a:pt x="225" y="425"/>
                    <a:pt x="225" y="425"/>
                  </a:cubicBezTo>
                  <a:cubicBezTo>
                    <a:pt x="225" y="400"/>
                    <a:pt x="225" y="375"/>
                    <a:pt x="250" y="375"/>
                  </a:cubicBezTo>
                  <a:cubicBezTo>
                    <a:pt x="275" y="375"/>
                    <a:pt x="250" y="350"/>
                    <a:pt x="225" y="325"/>
                  </a:cubicBezTo>
                  <a:cubicBezTo>
                    <a:pt x="200" y="300"/>
                    <a:pt x="225" y="275"/>
                    <a:pt x="250" y="275"/>
                  </a:cubicBezTo>
                  <a:cubicBezTo>
                    <a:pt x="275" y="275"/>
                    <a:pt x="225" y="250"/>
                    <a:pt x="250" y="225"/>
                  </a:cubicBezTo>
                  <a:cubicBezTo>
                    <a:pt x="275" y="200"/>
                    <a:pt x="250" y="150"/>
                    <a:pt x="250" y="125"/>
                  </a:cubicBezTo>
                  <a:cubicBezTo>
                    <a:pt x="250" y="100"/>
                    <a:pt x="275" y="100"/>
                    <a:pt x="325" y="75"/>
                  </a:cubicBezTo>
                  <a:cubicBezTo>
                    <a:pt x="350" y="50"/>
                    <a:pt x="300" y="50"/>
                    <a:pt x="300" y="50"/>
                  </a:cubicBezTo>
                  <a:cubicBezTo>
                    <a:pt x="300" y="25"/>
                    <a:pt x="250" y="0"/>
                    <a:pt x="225" y="25"/>
                  </a:cubicBezTo>
                  <a:cubicBezTo>
                    <a:pt x="200" y="50"/>
                    <a:pt x="225" y="25"/>
                    <a:pt x="200" y="25"/>
                  </a:cubicBezTo>
                  <a:cubicBezTo>
                    <a:pt x="175" y="25"/>
                    <a:pt x="150" y="25"/>
                    <a:pt x="150" y="25"/>
                  </a:cubicBezTo>
                  <a:cubicBezTo>
                    <a:pt x="150" y="0"/>
                    <a:pt x="125" y="0"/>
                    <a:pt x="100" y="0"/>
                  </a:cubicBezTo>
                  <a:cubicBezTo>
                    <a:pt x="100" y="25"/>
                    <a:pt x="100" y="25"/>
                    <a:pt x="75" y="25"/>
                  </a:cubicBezTo>
                  <a:cubicBezTo>
                    <a:pt x="75" y="50"/>
                    <a:pt x="75" y="75"/>
                    <a:pt x="75" y="75"/>
                  </a:cubicBezTo>
                  <a:cubicBezTo>
                    <a:pt x="100" y="125"/>
                    <a:pt x="50" y="275"/>
                    <a:pt x="25" y="300"/>
                  </a:cubicBezTo>
                  <a:cubicBezTo>
                    <a:pt x="0" y="350"/>
                    <a:pt x="25" y="375"/>
                    <a:pt x="50" y="400"/>
                  </a:cubicBezTo>
                  <a:cubicBezTo>
                    <a:pt x="100" y="425"/>
                    <a:pt x="75" y="525"/>
                    <a:pt x="75" y="550"/>
                  </a:cubicBezTo>
                  <a:cubicBezTo>
                    <a:pt x="75" y="575"/>
                    <a:pt x="100" y="575"/>
                    <a:pt x="150" y="575"/>
                  </a:cubicBezTo>
                  <a:cubicBezTo>
                    <a:pt x="175" y="575"/>
                    <a:pt x="200" y="550"/>
                    <a:pt x="225" y="550"/>
                  </a:cubicBezTo>
                  <a:cubicBezTo>
                    <a:pt x="200" y="550"/>
                    <a:pt x="200" y="525"/>
                    <a:pt x="200" y="525"/>
                  </a:cubicBezTo>
                  <a:cubicBezTo>
                    <a:pt x="200" y="500"/>
                    <a:pt x="200" y="475"/>
                    <a:pt x="250" y="4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7" name="Freeform 71">
              <a:extLst>
                <a:ext uri="{FF2B5EF4-FFF2-40B4-BE49-F238E27FC236}">
                  <a16:creationId xmlns:a16="http://schemas.microsoft.com/office/drawing/2014/main" id="{63EFFDA1-515B-A82A-5C5A-561A8880E944}"/>
                </a:ext>
              </a:extLst>
            </p:cNvPr>
            <p:cNvSpPr>
              <a:spLocks noChangeArrowheads="1"/>
            </p:cNvSpPr>
            <p:nvPr/>
          </p:nvSpPr>
          <p:spPr bwMode="auto">
            <a:xfrm>
              <a:off x="6095495" y="3860116"/>
              <a:ext cx="201757" cy="164065"/>
            </a:xfrm>
            <a:custGeom>
              <a:avLst/>
              <a:gdLst>
                <a:gd name="T0" fmla="*/ 126 w 401"/>
                <a:gd name="T1" fmla="*/ 251 h 327"/>
                <a:gd name="T2" fmla="*/ 126 w 401"/>
                <a:gd name="T3" fmla="*/ 251 h 327"/>
                <a:gd name="T4" fmla="*/ 200 w 401"/>
                <a:gd name="T5" fmla="*/ 276 h 327"/>
                <a:gd name="T6" fmla="*/ 275 w 401"/>
                <a:gd name="T7" fmla="*/ 326 h 327"/>
                <a:gd name="T8" fmla="*/ 275 w 401"/>
                <a:gd name="T9" fmla="*/ 326 h 327"/>
                <a:gd name="T10" fmla="*/ 300 w 401"/>
                <a:gd name="T11" fmla="*/ 276 h 327"/>
                <a:gd name="T12" fmla="*/ 300 w 401"/>
                <a:gd name="T13" fmla="*/ 226 h 327"/>
                <a:gd name="T14" fmla="*/ 351 w 401"/>
                <a:gd name="T15" fmla="*/ 200 h 327"/>
                <a:gd name="T16" fmla="*/ 375 w 401"/>
                <a:gd name="T17" fmla="*/ 176 h 327"/>
                <a:gd name="T18" fmla="*/ 351 w 401"/>
                <a:gd name="T19" fmla="*/ 126 h 327"/>
                <a:gd name="T20" fmla="*/ 400 w 401"/>
                <a:gd name="T21" fmla="*/ 76 h 327"/>
                <a:gd name="T22" fmla="*/ 400 w 401"/>
                <a:gd name="T23" fmla="*/ 0 h 327"/>
                <a:gd name="T24" fmla="*/ 375 w 401"/>
                <a:gd name="T25" fmla="*/ 26 h 327"/>
                <a:gd name="T26" fmla="*/ 275 w 401"/>
                <a:gd name="T27" fmla="*/ 26 h 327"/>
                <a:gd name="T28" fmla="*/ 226 w 401"/>
                <a:gd name="T29" fmla="*/ 76 h 327"/>
                <a:gd name="T30" fmla="*/ 200 w 401"/>
                <a:gd name="T31" fmla="*/ 76 h 327"/>
                <a:gd name="T32" fmla="*/ 150 w 401"/>
                <a:gd name="T33" fmla="*/ 100 h 327"/>
                <a:gd name="T34" fmla="*/ 100 w 401"/>
                <a:gd name="T35" fmla="*/ 176 h 327"/>
                <a:gd name="T36" fmla="*/ 26 w 401"/>
                <a:gd name="T37" fmla="*/ 276 h 327"/>
                <a:gd name="T38" fmla="*/ 0 w 401"/>
                <a:gd name="T39" fmla="*/ 276 h 327"/>
                <a:gd name="T40" fmla="*/ 50 w 401"/>
                <a:gd name="T41" fmla="*/ 301 h 327"/>
                <a:gd name="T42" fmla="*/ 126 w 401"/>
                <a:gd name="T43" fmla="*/ 25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1" h="327">
                  <a:moveTo>
                    <a:pt x="126" y="251"/>
                  </a:moveTo>
                  <a:lnTo>
                    <a:pt x="126" y="251"/>
                  </a:lnTo>
                  <a:cubicBezTo>
                    <a:pt x="150" y="251"/>
                    <a:pt x="175" y="251"/>
                    <a:pt x="200" y="276"/>
                  </a:cubicBezTo>
                  <a:cubicBezTo>
                    <a:pt x="226" y="276"/>
                    <a:pt x="250" y="301"/>
                    <a:pt x="275" y="326"/>
                  </a:cubicBezTo>
                  <a:lnTo>
                    <a:pt x="275" y="326"/>
                  </a:lnTo>
                  <a:cubicBezTo>
                    <a:pt x="300" y="326"/>
                    <a:pt x="300" y="276"/>
                    <a:pt x="300" y="276"/>
                  </a:cubicBezTo>
                  <a:cubicBezTo>
                    <a:pt x="300" y="251"/>
                    <a:pt x="300" y="226"/>
                    <a:pt x="300" y="226"/>
                  </a:cubicBezTo>
                  <a:cubicBezTo>
                    <a:pt x="326" y="226"/>
                    <a:pt x="351" y="226"/>
                    <a:pt x="351" y="200"/>
                  </a:cubicBezTo>
                  <a:cubicBezTo>
                    <a:pt x="351" y="176"/>
                    <a:pt x="375" y="176"/>
                    <a:pt x="375" y="176"/>
                  </a:cubicBezTo>
                  <a:cubicBezTo>
                    <a:pt x="375" y="151"/>
                    <a:pt x="351" y="126"/>
                    <a:pt x="351" y="126"/>
                  </a:cubicBezTo>
                  <a:cubicBezTo>
                    <a:pt x="351" y="100"/>
                    <a:pt x="375" y="100"/>
                    <a:pt x="400" y="76"/>
                  </a:cubicBezTo>
                  <a:cubicBezTo>
                    <a:pt x="400" y="51"/>
                    <a:pt x="400" y="26"/>
                    <a:pt x="400" y="0"/>
                  </a:cubicBezTo>
                  <a:cubicBezTo>
                    <a:pt x="375" y="26"/>
                    <a:pt x="375" y="26"/>
                    <a:pt x="375" y="26"/>
                  </a:cubicBezTo>
                  <a:cubicBezTo>
                    <a:pt x="351" y="0"/>
                    <a:pt x="326" y="0"/>
                    <a:pt x="275" y="26"/>
                  </a:cubicBezTo>
                  <a:cubicBezTo>
                    <a:pt x="226" y="26"/>
                    <a:pt x="226" y="76"/>
                    <a:pt x="226" y="76"/>
                  </a:cubicBezTo>
                  <a:cubicBezTo>
                    <a:pt x="250" y="100"/>
                    <a:pt x="200" y="100"/>
                    <a:pt x="200" y="76"/>
                  </a:cubicBezTo>
                  <a:cubicBezTo>
                    <a:pt x="175" y="76"/>
                    <a:pt x="150" y="76"/>
                    <a:pt x="150" y="100"/>
                  </a:cubicBezTo>
                  <a:cubicBezTo>
                    <a:pt x="150" y="126"/>
                    <a:pt x="100" y="151"/>
                    <a:pt x="100" y="176"/>
                  </a:cubicBezTo>
                  <a:cubicBezTo>
                    <a:pt x="100" y="226"/>
                    <a:pt x="50" y="251"/>
                    <a:pt x="26" y="276"/>
                  </a:cubicBezTo>
                  <a:cubicBezTo>
                    <a:pt x="26" y="276"/>
                    <a:pt x="26" y="276"/>
                    <a:pt x="0" y="276"/>
                  </a:cubicBezTo>
                  <a:cubicBezTo>
                    <a:pt x="26" y="276"/>
                    <a:pt x="50" y="301"/>
                    <a:pt x="50" y="301"/>
                  </a:cubicBezTo>
                  <a:cubicBezTo>
                    <a:pt x="75" y="301"/>
                    <a:pt x="126" y="276"/>
                    <a:pt x="126" y="2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8" name="Freeform 72">
              <a:extLst>
                <a:ext uri="{FF2B5EF4-FFF2-40B4-BE49-F238E27FC236}">
                  <a16:creationId xmlns:a16="http://schemas.microsoft.com/office/drawing/2014/main" id="{C7D69EB3-C4B2-AE20-2B82-E69CA9BF60FA}"/>
                </a:ext>
              </a:extLst>
            </p:cNvPr>
            <p:cNvSpPr>
              <a:spLocks noChangeArrowheads="1"/>
            </p:cNvSpPr>
            <p:nvPr/>
          </p:nvSpPr>
          <p:spPr bwMode="auto">
            <a:xfrm>
              <a:off x="6221877" y="4075178"/>
              <a:ext cx="37689" cy="37689"/>
            </a:xfrm>
            <a:custGeom>
              <a:avLst/>
              <a:gdLst>
                <a:gd name="T0" fmla="*/ 50 w 77"/>
                <a:gd name="T1" fmla="*/ 0 h 77"/>
                <a:gd name="T2" fmla="*/ 50 w 77"/>
                <a:gd name="T3" fmla="*/ 0 h 77"/>
                <a:gd name="T4" fmla="*/ 0 w 77"/>
                <a:gd name="T5" fmla="*/ 76 h 77"/>
                <a:gd name="T6" fmla="*/ 76 w 77"/>
                <a:gd name="T7" fmla="*/ 76 h 77"/>
                <a:gd name="T8" fmla="*/ 50 w 77"/>
                <a:gd name="T9" fmla="*/ 0 h 77"/>
              </a:gdLst>
              <a:ahLst/>
              <a:cxnLst>
                <a:cxn ang="0">
                  <a:pos x="T0" y="T1"/>
                </a:cxn>
                <a:cxn ang="0">
                  <a:pos x="T2" y="T3"/>
                </a:cxn>
                <a:cxn ang="0">
                  <a:pos x="T4" y="T5"/>
                </a:cxn>
                <a:cxn ang="0">
                  <a:pos x="T6" y="T7"/>
                </a:cxn>
                <a:cxn ang="0">
                  <a:pos x="T8" y="T9"/>
                </a:cxn>
              </a:cxnLst>
              <a:rect l="0" t="0" r="r" b="b"/>
              <a:pathLst>
                <a:path w="77" h="77">
                  <a:moveTo>
                    <a:pt x="50" y="0"/>
                  </a:moveTo>
                  <a:lnTo>
                    <a:pt x="50" y="0"/>
                  </a:lnTo>
                  <a:cubicBezTo>
                    <a:pt x="25" y="0"/>
                    <a:pt x="0" y="26"/>
                    <a:pt x="0" y="76"/>
                  </a:cubicBezTo>
                  <a:cubicBezTo>
                    <a:pt x="25" y="76"/>
                    <a:pt x="50" y="76"/>
                    <a:pt x="76" y="76"/>
                  </a:cubicBezTo>
                  <a:cubicBezTo>
                    <a:pt x="76" y="26"/>
                    <a:pt x="50" y="26"/>
                    <a:pt x="50"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9" name="Freeform 73">
              <a:extLst>
                <a:ext uri="{FF2B5EF4-FFF2-40B4-BE49-F238E27FC236}">
                  <a16:creationId xmlns:a16="http://schemas.microsoft.com/office/drawing/2014/main" id="{CDFB18CD-DAAF-1494-4B69-80F3EF74F077}"/>
                </a:ext>
              </a:extLst>
            </p:cNvPr>
            <p:cNvSpPr>
              <a:spLocks noChangeArrowheads="1"/>
            </p:cNvSpPr>
            <p:nvPr/>
          </p:nvSpPr>
          <p:spPr bwMode="auto">
            <a:xfrm>
              <a:off x="6071108" y="3986489"/>
              <a:ext cx="188455" cy="126374"/>
            </a:xfrm>
            <a:custGeom>
              <a:avLst/>
              <a:gdLst>
                <a:gd name="T0" fmla="*/ 0 w 377"/>
                <a:gd name="T1" fmla="*/ 75 h 251"/>
                <a:gd name="T2" fmla="*/ 0 w 377"/>
                <a:gd name="T3" fmla="*/ 75 h 251"/>
                <a:gd name="T4" fmla="*/ 50 w 377"/>
                <a:gd name="T5" fmla="*/ 100 h 251"/>
                <a:gd name="T6" fmla="*/ 100 w 377"/>
                <a:gd name="T7" fmla="*/ 125 h 251"/>
                <a:gd name="T8" fmla="*/ 150 w 377"/>
                <a:gd name="T9" fmla="*/ 174 h 251"/>
                <a:gd name="T10" fmla="*/ 176 w 377"/>
                <a:gd name="T11" fmla="*/ 200 h 251"/>
                <a:gd name="T12" fmla="*/ 225 w 377"/>
                <a:gd name="T13" fmla="*/ 174 h 251"/>
                <a:gd name="T14" fmla="*/ 250 w 377"/>
                <a:gd name="T15" fmla="*/ 225 h 251"/>
                <a:gd name="T16" fmla="*/ 300 w 377"/>
                <a:gd name="T17" fmla="*/ 250 h 251"/>
                <a:gd name="T18" fmla="*/ 300 w 377"/>
                <a:gd name="T19" fmla="*/ 250 h 251"/>
                <a:gd name="T20" fmla="*/ 350 w 377"/>
                <a:gd name="T21" fmla="*/ 174 h 251"/>
                <a:gd name="T22" fmla="*/ 350 w 377"/>
                <a:gd name="T23" fmla="*/ 150 h 251"/>
                <a:gd name="T24" fmla="*/ 325 w 377"/>
                <a:gd name="T25" fmla="*/ 100 h 251"/>
                <a:gd name="T26" fmla="*/ 325 w 377"/>
                <a:gd name="T27" fmla="*/ 75 h 251"/>
                <a:gd name="T28" fmla="*/ 325 w 377"/>
                <a:gd name="T29" fmla="*/ 75 h 251"/>
                <a:gd name="T30" fmla="*/ 250 w 377"/>
                <a:gd name="T31" fmla="*/ 25 h 251"/>
                <a:gd name="T32" fmla="*/ 176 w 377"/>
                <a:gd name="T33" fmla="*/ 0 h 251"/>
                <a:gd name="T34" fmla="*/ 100 w 377"/>
                <a:gd name="T35" fmla="*/ 50 h 251"/>
                <a:gd name="T36" fmla="*/ 50 w 377"/>
                <a:gd name="T37" fmla="*/ 25 h 251"/>
                <a:gd name="T38" fmla="*/ 0 w 377"/>
                <a:gd name="T39" fmla="*/ 50 h 251"/>
                <a:gd name="T40" fmla="*/ 0 w 377"/>
                <a:gd name="T41" fmla="*/ 7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251">
                  <a:moveTo>
                    <a:pt x="0" y="75"/>
                  </a:moveTo>
                  <a:lnTo>
                    <a:pt x="0" y="75"/>
                  </a:lnTo>
                  <a:cubicBezTo>
                    <a:pt x="25" y="75"/>
                    <a:pt x="25" y="125"/>
                    <a:pt x="50" y="100"/>
                  </a:cubicBezTo>
                  <a:cubicBezTo>
                    <a:pt x="50" y="100"/>
                    <a:pt x="76" y="125"/>
                    <a:pt x="100" y="125"/>
                  </a:cubicBezTo>
                  <a:cubicBezTo>
                    <a:pt x="100" y="150"/>
                    <a:pt x="150" y="150"/>
                    <a:pt x="150" y="174"/>
                  </a:cubicBezTo>
                  <a:cubicBezTo>
                    <a:pt x="150" y="174"/>
                    <a:pt x="150" y="200"/>
                    <a:pt x="176" y="200"/>
                  </a:cubicBezTo>
                  <a:cubicBezTo>
                    <a:pt x="200" y="200"/>
                    <a:pt x="225" y="174"/>
                    <a:pt x="225" y="174"/>
                  </a:cubicBezTo>
                  <a:cubicBezTo>
                    <a:pt x="225" y="200"/>
                    <a:pt x="225" y="225"/>
                    <a:pt x="250" y="225"/>
                  </a:cubicBezTo>
                  <a:cubicBezTo>
                    <a:pt x="276" y="225"/>
                    <a:pt x="276" y="250"/>
                    <a:pt x="300" y="250"/>
                  </a:cubicBezTo>
                  <a:lnTo>
                    <a:pt x="300" y="250"/>
                  </a:lnTo>
                  <a:cubicBezTo>
                    <a:pt x="300" y="200"/>
                    <a:pt x="325" y="174"/>
                    <a:pt x="350" y="174"/>
                  </a:cubicBezTo>
                  <a:lnTo>
                    <a:pt x="350" y="150"/>
                  </a:lnTo>
                  <a:cubicBezTo>
                    <a:pt x="376" y="125"/>
                    <a:pt x="325" y="100"/>
                    <a:pt x="325" y="100"/>
                  </a:cubicBezTo>
                  <a:cubicBezTo>
                    <a:pt x="325" y="75"/>
                    <a:pt x="325" y="75"/>
                    <a:pt x="325" y="75"/>
                  </a:cubicBezTo>
                  <a:lnTo>
                    <a:pt x="325" y="75"/>
                  </a:lnTo>
                  <a:cubicBezTo>
                    <a:pt x="300" y="50"/>
                    <a:pt x="276" y="25"/>
                    <a:pt x="250" y="25"/>
                  </a:cubicBezTo>
                  <a:cubicBezTo>
                    <a:pt x="225" y="0"/>
                    <a:pt x="200" y="0"/>
                    <a:pt x="176" y="0"/>
                  </a:cubicBezTo>
                  <a:cubicBezTo>
                    <a:pt x="176" y="25"/>
                    <a:pt x="125" y="50"/>
                    <a:pt x="100" y="50"/>
                  </a:cubicBezTo>
                  <a:cubicBezTo>
                    <a:pt x="100" y="50"/>
                    <a:pt x="76" y="25"/>
                    <a:pt x="50" y="25"/>
                  </a:cubicBezTo>
                  <a:cubicBezTo>
                    <a:pt x="50" y="50"/>
                    <a:pt x="25" y="50"/>
                    <a:pt x="0" y="50"/>
                  </a:cubicBezTo>
                  <a:cubicBezTo>
                    <a:pt x="0" y="50"/>
                    <a:pt x="0" y="50"/>
                    <a:pt x="0"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0" name="Freeform 74">
              <a:extLst>
                <a:ext uri="{FF2B5EF4-FFF2-40B4-BE49-F238E27FC236}">
                  <a16:creationId xmlns:a16="http://schemas.microsoft.com/office/drawing/2014/main" id="{6AA3EA93-4BE3-FDA4-C351-60226C1C23AB}"/>
                </a:ext>
              </a:extLst>
            </p:cNvPr>
            <p:cNvSpPr>
              <a:spLocks noChangeArrowheads="1"/>
            </p:cNvSpPr>
            <p:nvPr/>
          </p:nvSpPr>
          <p:spPr bwMode="auto">
            <a:xfrm>
              <a:off x="6900311" y="4174945"/>
              <a:ext cx="427901" cy="290443"/>
            </a:xfrm>
            <a:custGeom>
              <a:avLst/>
              <a:gdLst>
                <a:gd name="T0" fmla="*/ 776 w 852"/>
                <a:gd name="T1" fmla="*/ 375 h 576"/>
                <a:gd name="T2" fmla="*/ 776 w 852"/>
                <a:gd name="T3" fmla="*/ 375 h 576"/>
                <a:gd name="T4" fmla="*/ 725 w 852"/>
                <a:gd name="T5" fmla="*/ 350 h 576"/>
                <a:gd name="T6" fmla="*/ 725 w 852"/>
                <a:gd name="T7" fmla="*/ 350 h 576"/>
                <a:gd name="T8" fmla="*/ 725 w 852"/>
                <a:gd name="T9" fmla="*/ 250 h 576"/>
                <a:gd name="T10" fmla="*/ 651 w 852"/>
                <a:gd name="T11" fmla="*/ 125 h 576"/>
                <a:gd name="T12" fmla="*/ 601 w 852"/>
                <a:gd name="T13" fmla="*/ 0 h 576"/>
                <a:gd name="T14" fmla="*/ 551 w 852"/>
                <a:gd name="T15" fmla="*/ 25 h 576"/>
                <a:gd name="T16" fmla="*/ 501 w 852"/>
                <a:gd name="T17" fmla="*/ 50 h 576"/>
                <a:gd name="T18" fmla="*/ 451 w 852"/>
                <a:gd name="T19" fmla="*/ 75 h 576"/>
                <a:gd name="T20" fmla="*/ 400 w 852"/>
                <a:gd name="T21" fmla="*/ 75 h 576"/>
                <a:gd name="T22" fmla="*/ 351 w 852"/>
                <a:gd name="T23" fmla="*/ 50 h 576"/>
                <a:gd name="T24" fmla="*/ 251 w 852"/>
                <a:gd name="T25" fmla="*/ 50 h 576"/>
                <a:gd name="T26" fmla="*/ 226 w 852"/>
                <a:gd name="T27" fmla="*/ 50 h 576"/>
                <a:gd name="T28" fmla="*/ 226 w 852"/>
                <a:gd name="T29" fmla="*/ 75 h 576"/>
                <a:gd name="T30" fmla="*/ 151 w 852"/>
                <a:gd name="T31" fmla="*/ 100 h 576"/>
                <a:gd name="T32" fmla="*/ 76 w 852"/>
                <a:gd name="T33" fmla="*/ 250 h 576"/>
                <a:gd name="T34" fmla="*/ 0 w 852"/>
                <a:gd name="T35" fmla="*/ 300 h 576"/>
                <a:gd name="T36" fmla="*/ 51 w 852"/>
                <a:gd name="T37" fmla="*/ 350 h 576"/>
                <a:gd name="T38" fmla="*/ 76 w 852"/>
                <a:gd name="T39" fmla="*/ 375 h 576"/>
                <a:gd name="T40" fmla="*/ 76 w 852"/>
                <a:gd name="T41" fmla="*/ 450 h 576"/>
                <a:gd name="T42" fmla="*/ 200 w 852"/>
                <a:gd name="T43" fmla="*/ 475 h 576"/>
                <a:gd name="T44" fmla="*/ 200 w 852"/>
                <a:gd name="T45" fmla="*/ 500 h 576"/>
                <a:gd name="T46" fmla="*/ 251 w 852"/>
                <a:gd name="T47" fmla="*/ 550 h 576"/>
                <a:gd name="T48" fmla="*/ 351 w 852"/>
                <a:gd name="T49" fmla="*/ 550 h 576"/>
                <a:gd name="T50" fmla="*/ 451 w 852"/>
                <a:gd name="T51" fmla="*/ 550 h 576"/>
                <a:gd name="T52" fmla="*/ 526 w 852"/>
                <a:gd name="T53" fmla="*/ 525 h 576"/>
                <a:gd name="T54" fmla="*/ 626 w 852"/>
                <a:gd name="T55" fmla="*/ 525 h 576"/>
                <a:gd name="T56" fmla="*/ 701 w 852"/>
                <a:gd name="T57" fmla="*/ 525 h 576"/>
                <a:gd name="T58" fmla="*/ 751 w 852"/>
                <a:gd name="T59" fmla="*/ 550 h 576"/>
                <a:gd name="T60" fmla="*/ 751 w 852"/>
                <a:gd name="T61" fmla="*/ 525 h 576"/>
                <a:gd name="T62" fmla="*/ 801 w 852"/>
                <a:gd name="T63" fmla="*/ 425 h 576"/>
                <a:gd name="T64" fmla="*/ 851 w 852"/>
                <a:gd name="T65" fmla="*/ 375 h 576"/>
                <a:gd name="T66" fmla="*/ 851 w 852"/>
                <a:gd name="T67" fmla="*/ 375 h 576"/>
                <a:gd name="T68" fmla="*/ 826 w 852"/>
                <a:gd name="T69" fmla="*/ 350 h 576"/>
                <a:gd name="T70" fmla="*/ 776 w 852"/>
                <a:gd name="T71" fmla="*/ 3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2" h="576">
                  <a:moveTo>
                    <a:pt x="776" y="375"/>
                  </a:moveTo>
                  <a:lnTo>
                    <a:pt x="776" y="375"/>
                  </a:lnTo>
                  <a:cubicBezTo>
                    <a:pt x="751" y="375"/>
                    <a:pt x="725" y="375"/>
                    <a:pt x="725" y="350"/>
                  </a:cubicBezTo>
                  <a:lnTo>
                    <a:pt x="725" y="350"/>
                  </a:lnTo>
                  <a:cubicBezTo>
                    <a:pt x="701" y="325"/>
                    <a:pt x="701" y="275"/>
                    <a:pt x="725" y="250"/>
                  </a:cubicBezTo>
                  <a:cubicBezTo>
                    <a:pt x="751" y="225"/>
                    <a:pt x="676" y="150"/>
                    <a:pt x="651" y="125"/>
                  </a:cubicBezTo>
                  <a:cubicBezTo>
                    <a:pt x="651" y="100"/>
                    <a:pt x="626" y="50"/>
                    <a:pt x="601" y="0"/>
                  </a:cubicBezTo>
                  <a:cubicBezTo>
                    <a:pt x="576" y="25"/>
                    <a:pt x="551" y="25"/>
                    <a:pt x="551" y="25"/>
                  </a:cubicBezTo>
                  <a:cubicBezTo>
                    <a:pt x="551" y="50"/>
                    <a:pt x="526" y="50"/>
                    <a:pt x="501" y="50"/>
                  </a:cubicBezTo>
                  <a:cubicBezTo>
                    <a:pt x="476" y="50"/>
                    <a:pt x="476" y="50"/>
                    <a:pt x="451" y="75"/>
                  </a:cubicBezTo>
                  <a:cubicBezTo>
                    <a:pt x="426" y="75"/>
                    <a:pt x="426" y="75"/>
                    <a:pt x="400" y="75"/>
                  </a:cubicBezTo>
                  <a:cubicBezTo>
                    <a:pt x="400" y="75"/>
                    <a:pt x="376" y="50"/>
                    <a:pt x="351" y="50"/>
                  </a:cubicBezTo>
                  <a:cubicBezTo>
                    <a:pt x="326" y="50"/>
                    <a:pt x="276" y="50"/>
                    <a:pt x="251" y="50"/>
                  </a:cubicBezTo>
                  <a:lnTo>
                    <a:pt x="226" y="50"/>
                  </a:lnTo>
                  <a:cubicBezTo>
                    <a:pt x="226" y="50"/>
                    <a:pt x="226" y="50"/>
                    <a:pt x="226" y="75"/>
                  </a:cubicBezTo>
                  <a:cubicBezTo>
                    <a:pt x="200" y="75"/>
                    <a:pt x="176" y="100"/>
                    <a:pt x="151" y="100"/>
                  </a:cubicBezTo>
                  <a:cubicBezTo>
                    <a:pt x="151" y="125"/>
                    <a:pt x="100" y="225"/>
                    <a:pt x="76" y="250"/>
                  </a:cubicBezTo>
                  <a:cubicBezTo>
                    <a:pt x="26" y="275"/>
                    <a:pt x="0" y="275"/>
                    <a:pt x="0" y="300"/>
                  </a:cubicBezTo>
                  <a:cubicBezTo>
                    <a:pt x="0" y="300"/>
                    <a:pt x="51" y="325"/>
                    <a:pt x="51" y="350"/>
                  </a:cubicBezTo>
                  <a:cubicBezTo>
                    <a:pt x="51" y="375"/>
                    <a:pt x="51" y="375"/>
                    <a:pt x="76" y="375"/>
                  </a:cubicBezTo>
                  <a:cubicBezTo>
                    <a:pt x="100" y="375"/>
                    <a:pt x="76" y="425"/>
                    <a:pt x="76" y="450"/>
                  </a:cubicBezTo>
                  <a:cubicBezTo>
                    <a:pt x="100" y="450"/>
                    <a:pt x="200" y="450"/>
                    <a:pt x="200" y="475"/>
                  </a:cubicBezTo>
                  <a:lnTo>
                    <a:pt x="200" y="500"/>
                  </a:lnTo>
                  <a:cubicBezTo>
                    <a:pt x="226" y="525"/>
                    <a:pt x="251" y="550"/>
                    <a:pt x="251" y="550"/>
                  </a:cubicBezTo>
                  <a:cubicBezTo>
                    <a:pt x="251" y="550"/>
                    <a:pt x="326" y="550"/>
                    <a:pt x="351" y="550"/>
                  </a:cubicBezTo>
                  <a:cubicBezTo>
                    <a:pt x="351" y="550"/>
                    <a:pt x="426" y="550"/>
                    <a:pt x="451" y="550"/>
                  </a:cubicBezTo>
                  <a:cubicBezTo>
                    <a:pt x="476" y="575"/>
                    <a:pt x="501" y="550"/>
                    <a:pt x="526" y="525"/>
                  </a:cubicBezTo>
                  <a:cubicBezTo>
                    <a:pt x="526" y="525"/>
                    <a:pt x="601" y="500"/>
                    <a:pt x="626" y="525"/>
                  </a:cubicBezTo>
                  <a:cubicBezTo>
                    <a:pt x="651" y="525"/>
                    <a:pt x="701" y="525"/>
                    <a:pt x="701" y="525"/>
                  </a:cubicBezTo>
                  <a:cubicBezTo>
                    <a:pt x="701" y="550"/>
                    <a:pt x="725" y="550"/>
                    <a:pt x="751" y="550"/>
                  </a:cubicBezTo>
                  <a:lnTo>
                    <a:pt x="751" y="525"/>
                  </a:lnTo>
                  <a:cubicBezTo>
                    <a:pt x="751" y="475"/>
                    <a:pt x="776" y="450"/>
                    <a:pt x="801" y="425"/>
                  </a:cubicBezTo>
                  <a:cubicBezTo>
                    <a:pt x="826" y="425"/>
                    <a:pt x="851" y="425"/>
                    <a:pt x="851" y="375"/>
                  </a:cubicBezTo>
                  <a:lnTo>
                    <a:pt x="851" y="375"/>
                  </a:lnTo>
                  <a:lnTo>
                    <a:pt x="826" y="350"/>
                  </a:lnTo>
                  <a:cubicBezTo>
                    <a:pt x="801" y="350"/>
                    <a:pt x="776" y="375"/>
                    <a:pt x="776" y="3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1" name="Freeform 75">
              <a:extLst>
                <a:ext uri="{FF2B5EF4-FFF2-40B4-BE49-F238E27FC236}">
                  <a16:creationId xmlns:a16="http://schemas.microsoft.com/office/drawing/2014/main" id="{01A1A3B5-7A8A-7F43-32AF-3BEA40F07944}"/>
                </a:ext>
              </a:extLst>
            </p:cNvPr>
            <p:cNvSpPr>
              <a:spLocks noChangeArrowheads="1"/>
            </p:cNvSpPr>
            <p:nvPr/>
          </p:nvSpPr>
          <p:spPr bwMode="auto">
            <a:xfrm>
              <a:off x="7201840" y="4174945"/>
              <a:ext cx="139678" cy="177368"/>
            </a:xfrm>
            <a:custGeom>
              <a:avLst/>
              <a:gdLst>
                <a:gd name="T0" fmla="*/ 200 w 276"/>
                <a:gd name="T1" fmla="*/ 75 h 351"/>
                <a:gd name="T2" fmla="*/ 200 w 276"/>
                <a:gd name="T3" fmla="*/ 75 h 351"/>
                <a:gd name="T4" fmla="*/ 150 w 276"/>
                <a:gd name="T5" fmla="*/ 25 h 351"/>
                <a:gd name="T6" fmla="*/ 75 w 276"/>
                <a:gd name="T7" fmla="*/ 0 h 351"/>
                <a:gd name="T8" fmla="*/ 0 w 276"/>
                <a:gd name="T9" fmla="*/ 0 h 351"/>
                <a:gd name="T10" fmla="*/ 50 w 276"/>
                <a:gd name="T11" fmla="*/ 125 h 351"/>
                <a:gd name="T12" fmla="*/ 124 w 276"/>
                <a:gd name="T13" fmla="*/ 250 h 351"/>
                <a:gd name="T14" fmla="*/ 124 w 276"/>
                <a:gd name="T15" fmla="*/ 350 h 351"/>
                <a:gd name="T16" fmla="*/ 175 w 276"/>
                <a:gd name="T17" fmla="*/ 275 h 351"/>
                <a:gd name="T18" fmla="*/ 225 w 276"/>
                <a:gd name="T19" fmla="*/ 225 h 351"/>
                <a:gd name="T20" fmla="*/ 275 w 276"/>
                <a:gd name="T21" fmla="*/ 250 h 351"/>
                <a:gd name="T22" fmla="*/ 275 w 276"/>
                <a:gd name="T23" fmla="*/ 175 h 351"/>
                <a:gd name="T24" fmla="*/ 200 w 276"/>
                <a:gd name="T25" fmla="*/ 75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351">
                  <a:moveTo>
                    <a:pt x="200" y="75"/>
                  </a:moveTo>
                  <a:lnTo>
                    <a:pt x="200" y="75"/>
                  </a:lnTo>
                  <a:cubicBezTo>
                    <a:pt x="200" y="50"/>
                    <a:pt x="150" y="25"/>
                    <a:pt x="150" y="25"/>
                  </a:cubicBezTo>
                  <a:cubicBezTo>
                    <a:pt x="124" y="25"/>
                    <a:pt x="75" y="0"/>
                    <a:pt x="75" y="0"/>
                  </a:cubicBezTo>
                  <a:cubicBezTo>
                    <a:pt x="50" y="0"/>
                    <a:pt x="25" y="0"/>
                    <a:pt x="0" y="0"/>
                  </a:cubicBezTo>
                  <a:cubicBezTo>
                    <a:pt x="25" y="50"/>
                    <a:pt x="50" y="100"/>
                    <a:pt x="50" y="125"/>
                  </a:cubicBezTo>
                  <a:cubicBezTo>
                    <a:pt x="75" y="150"/>
                    <a:pt x="150" y="225"/>
                    <a:pt x="124" y="250"/>
                  </a:cubicBezTo>
                  <a:cubicBezTo>
                    <a:pt x="100" y="275"/>
                    <a:pt x="100" y="325"/>
                    <a:pt x="124" y="350"/>
                  </a:cubicBezTo>
                  <a:cubicBezTo>
                    <a:pt x="150" y="350"/>
                    <a:pt x="175" y="275"/>
                    <a:pt x="175" y="275"/>
                  </a:cubicBezTo>
                  <a:cubicBezTo>
                    <a:pt x="175" y="250"/>
                    <a:pt x="200" y="225"/>
                    <a:pt x="225" y="225"/>
                  </a:cubicBezTo>
                  <a:cubicBezTo>
                    <a:pt x="250" y="250"/>
                    <a:pt x="275" y="250"/>
                    <a:pt x="275" y="250"/>
                  </a:cubicBezTo>
                  <a:cubicBezTo>
                    <a:pt x="275" y="225"/>
                    <a:pt x="275" y="200"/>
                    <a:pt x="275" y="175"/>
                  </a:cubicBezTo>
                  <a:cubicBezTo>
                    <a:pt x="250" y="175"/>
                    <a:pt x="225" y="125"/>
                    <a:pt x="200"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2" name="Freeform 76">
              <a:extLst>
                <a:ext uri="{FF2B5EF4-FFF2-40B4-BE49-F238E27FC236}">
                  <a16:creationId xmlns:a16="http://schemas.microsoft.com/office/drawing/2014/main" id="{62DC3A54-78BF-401C-79E9-6B03F8690F96}"/>
                </a:ext>
              </a:extLst>
            </p:cNvPr>
            <p:cNvSpPr>
              <a:spLocks noChangeArrowheads="1"/>
            </p:cNvSpPr>
            <p:nvPr/>
          </p:nvSpPr>
          <p:spPr bwMode="auto">
            <a:xfrm>
              <a:off x="6988996" y="4427695"/>
              <a:ext cx="290440" cy="164065"/>
            </a:xfrm>
            <a:custGeom>
              <a:avLst/>
              <a:gdLst>
                <a:gd name="T0" fmla="*/ 450 w 576"/>
                <a:gd name="T1" fmla="*/ 25 h 326"/>
                <a:gd name="T2" fmla="*/ 450 w 576"/>
                <a:gd name="T3" fmla="*/ 25 h 326"/>
                <a:gd name="T4" fmla="*/ 350 w 576"/>
                <a:gd name="T5" fmla="*/ 25 h 326"/>
                <a:gd name="T6" fmla="*/ 275 w 576"/>
                <a:gd name="T7" fmla="*/ 50 h 326"/>
                <a:gd name="T8" fmla="*/ 175 w 576"/>
                <a:gd name="T9" fmla="*/ 50 h 326"/>
                <a:gd name="T10" fmla="*/ 75 w 576"/>
                <a:gd name="T11" fmla="*/ 50 h 326"/>
                <a:gd name="T12" fmla="*/ 24 w 576"/>
                <a:gd name="T13" fmla="*/ 0 h 326"/>
                <a:gd name="T14" fmla="*/ 0 w 576"/>
                <a:gd name="T15" fmla="*/ 25 h 326"/>
                <a:gd name="T16" fmla="*/ 0 w 576"/>
                <a:gd name="T17" fmla="*/ 75 h 326"/>
                <a:gd name="T18" fmla="*/ 50 w 576"/>
                <a:gd name="T19" fmla="*/ 150 h 326"/>
                <a:gd name="T20" fmla="*/ 0 w 576"/>
                <a:gd name="T21" fmla="*/ 175 h 326"/>
                <a:gd name="T22" fmla="*/ 0 w 576"/>
                <a:gd name="T23" fmla="*/ 225 h 326"/>
                <a:gd name="T24" fmla="*/ 50 w 576"/>
                <a:gd name="T25" fmla="*/ 300 h 326"/>
                <a:gd name="T26" fmla="*/ 75 w 576"/>
                <a:gd name="T27" fmla="*/ 325 h 326"/>
                <a:gd name="T28" fmla="*/ 200 w 576"/>
                <a:gd name="T29" fmla="*/ 325 h 326"/>
                <a:gd name="T30" fmla="*/ 300 w 576"/>
                <a:gd name="T31" fmla="*/ 325 h 326"/>
                <a:gd name="T32" fmla="*/ 350 w 576"/>
                <a:gd name="T33" fmla="*/ 300 h 326"/>
                <a:gd name="T34" fmla="*/ 375 w 576"/>
                <a:gd name="T35" fmla="*/ 300 h 326"/>
                <a:gd name="T36" fmla="*/ 375 w 576"/>
                <a:gd name="T37" fmla="*/ 275 h 326"/>
                <a:gd name="T38" fmla="*/ 475 w 576"/>
                <a:gd name="T39" fmla="*/ 275 h 326"/>
                <a:gd name="T40" fmla="*/ 525 w 576"/>
                <a:gd name="T41" fmla="*/ 250 h 326"/>
                <a:gd name="T42" fmla="*/ 500 w 576"/>
                <a:gd name="T43" fmla="*/ 225 h 326"/>
                <a:gd name="T44" fmla="*/ 500 w 576"/>
                <a:gd name="T45" fmla="*/ 175 h 326"/>
                <a:gd name="T46" fmla="*/ 575 w 576"/>
                <a:gd name="T47" fmla="*/ 75 h 326"/>
                <a:gd name="T48" fmla="*/ 575 w 576"/>
                <a:gd name="T49" fmla="*/ 50 h 326"/>
                <a:gd name="T50" fmla="*/ 525 w 576"/>
                <a:gd name="T51" fmla="*/ 25 h 326"/>
                <a:gd name="T52" fmla="*/ 450 w 576"/>
                <a:gd name="T53"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326">
                  <a:moveTo>
                    <a:pt x="450" y="25"/>
                  </a:moveTo>
                  <a:lnTo>
                    <a:pt x="450" y="25"/>
                  </a:lnTo>
                  <a:cubicBezTo>
                    <a:pt x="425" y="0"/>
                    <a:pt x="350" y="25"/>
                    <a:pt x="350" y="25"/>
                  </a:cubicBezTo>
                  <a:cubicBezTo>
                    <a:pt x="325" y="50"/>
                    <a:pt x="300" y="75"/>
                    <a:pt x="275" y="50"/>
                  </a:cubicBezTo>
                  <a:cubicBezTo>
                    <a:pt x="250" y="50"/>
                    <a:pt x="175" y="50"/>
                    <a:pt x="175" y="50"/>
                  </a:cubicBezTo>
                  <a:cubicBezTo>
                    <a:pt x="150" y="50"/>
                    <a:pt x="75" y="50"/>
                    <a:pt x="75" y="50"/>
                  </a:cubicBezTo>
                  <a:cubicBezTo>
                    <a:pt x="75" y="50"/>
                    <a:pt x="50" y="25"/>
                    <a:pt x="24" y="0"/>
                  </a:cubicBezTo>
                  <a:cubicBezTo>
                    <a:pt x="24" y="25"/>
                    <a:pt x="24" y="25"/>
                    <a:pt x="0" y="25"/>
                  </a:cubicBezTo>
                  <a:lnTo>
                    <a:pt x="0" y="75"/>
                  </a:lnTo>
                  <a:cubicBezTo>
                    <a:pt x="24" y="100"/>
                    <a:pt x="50" y="150"/>
                    <a:pt x="50" y="150"/>
                  </a:cubicBezTo>
                  <a:cubicBezTo>
                    <a:pt x="24" y="150"/>
                    <a:pt x="0" y="175"/>
                    <a:pt x="0" y="175"/>
                  </a:cubicBezTo>
                  <a:cubicBezTo>
                    <a:pt x="0" y="200"/>
                    <a:pt x="0" y="225"/>
                    <a:pt x="0" y="225"/>
                  </a:cubicBezTo>
                  <a:cubicBezTo>
                    <a:pt x="24" y="225"/>
                    <a:pt x="50" y="275"/>
                    <a:pt x="50" y="300"/>
                  </a:cubicBezTo>
                  <a:cubicBezTo>
                    <a:pt x="75" y="300"/>
                    <a:pt x="75" y="300"/>
                    <a:pt x="75" y="325"/>
                  </a:cubicBezTo>
                  <a:cubicBezTo>
                    <a:pt x="124" y="300"/>
                    <a:pt x="200" y="300"/>
                    <a:pt x="200" y="325"/>
                  </a:cubicBezTo>
                  <a:cubicBezTo>
                    <a:pt x="224" y="325"/>
                    <a:pt x="300" y="325"/>
                    <a:pt x="300" y="325"/>
                  </a:cubicBezTo>
                  <a:cubicBezTo>
                    <a:pt x="325" y="325"/>
                    <a:pt x="350" y="325"/>
                    <a:pt x="350" y="300"/>
                  </a:cubicBezTo>
                  <a:lnTo>
                    <a:pt x="375" y="300"/>
                  </a:lnTo>
                  <a:cubicBezTo>
                    <a:pt x="375" y="275"/>
                    <a:pt x="375" y="275"/>
                    <a:pt x="375" y="275"/>
                  </a:cubicBezTo>
                  <a:cubicBezTo>
                    <a:pt x="400" y="250"/>
                    <a:pt x="450" y="250"/>
                    <a:pt x="475" y="275"/>
                  </a:cubicBezTo>
                  <a:cubicBezTo>
                    <a:pt x="500" y="275"/>
                    <a:pt x="500" y="275"/>
                    <a:pt x="525" y="250"/>
                  </a:cubicBezTo>
                  <a:cubicBezTo>
                    <a:pt x="525" y="250"/>
                    <a:pt x="525" y="225"/>
                    <a:pt x="500" y="225"/>
                  </a:cubicBezTo>
                  <a:cubicBezTo>
                    <a:pt x="500" y="225"/>
                    <a:pt x="475" y="175"/>
                    <a:pt x="500" y="175"/>
                  </a:cubicBezTo>
                  <a:cubicBezTo>
                    <a:pt x="500" y="150"/>
                    <a:pt x="525" y="100"/>
                    <a:pt x="575" y="75"/>
                  </a:cubicBezTo>
                  <a:cubicBezTo>
                    <a:pt x="575" y="75"/>
                    <a:pt x="575" y="75"/>
                    <a:pt x="575" y="50"/>
                  </a:cubicBezTo>
                  <a:cubicBezTo>
                    <a:pt x="549" y="50"/>
                    <a:pt x="525" y="50"/>
                    <a:pt x="525" y="25"/>
                  </a:cubicBezTo>
                  <a:cubicBezTo>
                    <a:pt x="525" y="25"/>
                    <a:pt x="475" y="25"/>
                    <a:pt x="4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3" name="Freeform 77">
              <a:extLst>
                <a:ext uri="{FF2B5EF4-FFF2-40B4-BE49-F238E27FC236}">
                  <a16:creationId xmlns:a16="http://schemas.microsoft.com/office/drawing/2014/main" id="{FC50B871-F742-5F4B-1AE9-435CB4ED1FB8}"/>
                </a:ext>
              </a:extLst>
            </p:cNvPr>
            <p:cNvSpPr>
              <a:spLocks noChangeArrowheads="1"/>
            </p:cNvSpPr>
            <p:nvPr/>
          </p:nvSpPr>
          <p:spPr bwMode="auto">
            <a:xfrm>
              <a:off x="6900309" y="4527467"/>
              <a:ext cx="126374" cy="101987"/>
            </a:xfrm>
            <a:custGeom>
              <a:avLst/>
              <a:gdLst>
                <a:gd name="T0" fmla="*/ 51 w 252"/>
                <a:gd name="T1" fmla="*/ 200 h 201"/>
                <a:gd name="T2" fmla="*/ 51 w 252"/>
                <a:gd name="T3" fmla="*/ 200 h 201"/>
                <a:gd name="T4" fmla="*/ 51 w 252"/>
                <a:gd name="T5" fmla="*/ 200 h 201"/>
                <a:gd name="T6" fmla="*/ 76 w 252"/>
                <a:gd name="T7" fmla="*/ 200 h 201"/>
                <a:gd name="T8" fmla="*/ 76 w 252"/>
                <a:gd name="T9" fmla="*/ 200 h 201"/>
                <a:gd name="T10" fmla="*/ 76 w 252"/>
                <a:gd name="T11" fmla="*/ 200 h 201"/>
                <a:gd name="T12" fmla="*/ 76 w 252"/>
                <a:gd name="T13" fmla="*/ 200 h 201"/>
                <a:gd name="T14" fmla="*/ 100 w 252"/>
                <a:gd name="T15" fmla="*/ 200 h 201"/>
                <a:gd name="T16" fmla="*/ 100 w 252"/>
                <a:gd name="T17" fmla="*/ 200 h 201"/>
                <a:gd name="T18" fmla="*/ 100 w 252"/>
                <a:gd name="T19" fmla="*/ 175 h 201"/>
                <a:gd name="T20" fmla="*/ 126 w 252"/>
                <a:gd name="T21" fmla="*/ 175 h 201"/>
                <a:gd name="T22" fmla="*/ 126 w 252"/>
                <a:gd name="T23" fmla="*/ 175 h 201"/>
                <a:gd name="T24" fmla="*/ 176 w 252"/>
                <a:gd name="T25" fmla="*/ 150 h 201"/>
                <a:gd name="T26" fmla="*/ 251 w 252"/>
                <a:gd name="T27" fmla="*/ 125 h 201"/>
                <a:gd name="T28" fmla="*/ 251 w 252"/>
                <a:gd name="T29" fmla="*/ 125 h 201"/>
                <a:gd name="T30" fmla="*/ 226 w 252"/>
                <a:gd name="T31" fmla="*/ 100 h 201"/>
                <a:gd name="T32" fmla="*/ 176 w 252"/>
                <a:gd name="T33" fmla="*/ 25 h 201"/>
                <a:gd name="T34" fmla="*/ 176 w 252"/>
                <a:gd name="T35" fmla="*/ 25 h 201"/>
                <a:gd name="T36" fmla="*/ 176 w 252"/>
                <a:gd name="T37" fmla="*/ 25 h 201"/>
                <a:gd name="T38" fmla="*/ 176 w 252"/>
                <a:gd name="T39" fmla="*/ 0 h 201"/>
                <a:gd name="T40" fmla="*/ 26 w 252"/>
                <a:gd name="T41" fmla="*/ 50 h 201"/>
                <a:gd name="T42" fmla="*/ 26 w 252"/>
                <a:gd name="T43" fmla="*/ 25 h 201"/>
                <a:gd name="T44" fmla="*/ 0 w 252"/>
                <a:gd name="T45" fmla="*/ 125 h 201"/>
                <a:gd name="T46" fmla="*/ 51 w 252"/>
                <a:gd name="T47" fmla="*/ 2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2" h="201">
                  <a:moveTo>
                    <a:pt x="51" y="200"/>
                  </a:moveTo>
                  <a:lnTo>
                    <a:pt x="51" y="200"/>
                  </a:lnTo>
                  <a:lnTo>
                    <a:pt x="51" y="200"/>
                  </a:lnTo>
                  <a:cubicBezTo>
                    <a:pt x="51" y="200"/>
                    <a:pt x="51" y="200"/>
                    <a:pt x="76" y="200"/>
                  </a:cubicBezTo>
                  <a:lnTo>
                    <a:pt x="76" y="200"/>
                  </a:lnTo>
                  <a:lnTo>
                    <a:pt x="76" y="200"/>
                  </a:lnTo>
                  <a:lnTo>
                    <a:pt x="76" y="200"/>
                  </a:lnTo>
                  <a:lnTo>
                    <a:pt x="100" y="200"/>
                  </a:lnTo>
                  <a:lnTo>
                    <a:pt x="100" y="200"/>
                  </a:lnTo>
                  <a:cubicBezTo>
                    <a:pt x="100" y="200"/>
                    <a:pt x="100" y="200"/>
                    <a:pt x="100" y="175"/>
                  </a:cubicBezTo>
                  <a:cubicBezTo>
                    <a:pt x="100" y="175"/>
                    <a:pt x="100" y="175"/>
                    <a:pt x="126" y="175"/>
                  </a:cubicBezTo>
                  <a:lnTo>
                    <a:pt x="126" y="175"/>
                  </a:lnTo>
                  <a:cubicBezTo>
                    <a:pt x="151" y="175"/>
                    <a:pt x="151" y="150"/>
                    <a:pt x="176" y="150"/>
                  </a:cubicBezTo>
                  <a:cubicBezTo>
                    <a:pt x="176" y="175"/>
                    <a:pt x="251" y="125"/>
                    <a:pt x="251" y="125"/>
                  </a:cubicBezTo>
                  <a:lnTo>
                    <a:pt x="251" y="125"/>
                  </a:lnTo>
                  <a:cubicBezTo>
                    <a:pt x="251" y="100"/>
                    <a:pt x="251" y="100"/>
                    <a:pt x="226" y="100"/>
                  </a:cubicBezTo>
                  <a:cubicBezTo>
                    <a:pt x="226" y="75"/>
                    <a:pt x="200" y="25"/>
                    <a:pt x="176" y="25"/>
                  </a:cubicBezTo>
                  <a:lnTo>
                    <a:pt x="176" y="25"/>
                  </a:lnTo>
                  <a:lnTo>
                    <a:pt x="176" y="25"/>
                  </a:lnTo>
                  <a:cubicBezTo>
                    <a:pt x="176" y="25"/>
                    <a:pt x="176" y="25"/>
                    <a:pt x="176" y="0"/>
                  </a:cubicBezTo>
                  <a:cubicBezTo>
                    <a:pt x="126" y="25"/>
                    <a:pt x="26" y="50"/>
                    <a:pt x="26" y="50"/>
                  </a:cubicBezTo>
                  <a:cubicBezTo>
                    <a:pt x="26" y="50"/>
                    <a:pt x="26" y="50"/>
                    <a:pt x="26" y="25"/>
                  </a:cubicBezTo>
                  <a:cubicBezTo>
                    <a:pt x="0" y="75"/>
                    <a:pt x="0" y="100"/>
                    <a:pt x="0" y="125"/>
                  </a:cubicBezTo>
                  <a:cubicBezTo>
                    <a:pt x="0" y="150"/>
                    <a:pt x="26" y="175"/>
                    <a:pt x="51" y="2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4" name="Freeform 78">
              <a:extLst>
                <a:ext uri="{FF2B5EF4-FFF2-40B4-BE49-F238E27FC236}">
                  <a16:creationId xmlns:a16="http://schemas.microsoft.com/office/drawing/2014/main" id="{A55B90DD-B010-897A-4CC2-792295803FC3}"/>
                </a:ext>
              </a:extLst>
            </p:cNvPr>
            <p:cNvSpPr>
              <a:spLocks noChangeArrowheads="1"/>
            </p:cNvSpPr>
            <p:nvPr/>
          </p:nvSpPr>
          <p:spPr bwMode="auto">
            <a:xfrm>
              <a:off x="6988994" y="3924413"/>
              <a:ext cx="842502" cy="489980"/>
            </a:xfrm>
            <a:custGeom>
              <a:avLst/>
              <a:gdLst>
                <a:gd name="T0" fmla="*/ 1475 w 1676"/>
                <a:gd name="T1" fmla="*/ 625 h 976"/>
                <a:gd name="T2" fmla="*/ 1625 w 1676"/>
                <a:gd name="T3" fmla="*/ 575 h 976"/>
                <a:gd name="T4" fmla="*/ 1625 w 1676"/>
                <a:gd name="T5" fmla="*/ 475 h 976"/>
                <a:gd name="T6" fmla="*/ 1625 w 1676"/>
                <a:gd name="T7" fmla="*/ 425 h 976"/>
                <a:gd name="T8" fmla="*/ 1600 w 1676"/>
                <a:gd name="T9" fmla="*/ 350 h 976"/>
                <a:gd name="T10" fmla="*/ 1450 w 1676"/>
                <a:gd name="T11" fmla="*/ 325 h 976"/>
                <a:gd name="T12" fmla="*/ 1350 w 1676"/>
                <a:gd name="T13" fmla="*/ 275 h 976"/>
                <a:gd name="T14" fmla="*/ 1275 w 1676"/>
                <a:gd name="T15" fmla="*/ 250 h 976"/>
                <a:gd name="T16" fmla="*/ 1200 w 1676"/>
                <a:gd name="T17" fmla="*/ 175 h 976"/>
                <a:gd name="T18" fmla="*/ 1100 w 1676"/>
                <a:gd name="T19" fmla="*/ 100 h 976"/>
                <a:gd name="T20" fmla="*/ 1000 w 1676"/>
                <a:gd name="T21" fmla="*/ 25 h 976"/>
                <a:gd name="T22" fmla="*/ 900 w 1676"/>
                <a:gd name="T23" fmla="*/ 50 h 976"/>
                <a:gd name="T24" fmla="*/ 825 w 1676"/>
                <a:gd name="T25" fmla="*/ 50 h 976"/>
                <a:gd name="T26" fmla="*/ 749 w 1676"/>
                <a:gd name="T27" fmla="*/ 125 h 976"/>
                <a:gd name="T28" fmla="*/ 600 w 1676"/>
                <a:gd name="T29" fmla="*/ 100 h 976"/>
                <a:gd name="T30" fmla="*/ 475 w 1676"/>
                <a:gd name="T31" fmla="*/ 100 h 976"/>
                <a:gd name="T32" fmla="*/ 224 w 1676"/>
                <a:gd name="T33" fmla="*/ 74 h 976"/>
                <a:gd name="T34" fmla="*/ 124 w 1676"/>
                <a:gd name="T35" fmla="*/ 100 h 976"/>
                <a:gd name="T36" fmla="*/ 150 w 1676"/>
                <a:gd name="T37" fmla="*/ 225 h 976"/>
                <a:gd name="T38" fmla="*/ 24 w 1676"/>
                <a:gd name="T39" fmla="*/ 350 h 976"/>
                <a:gd name="T40" fmla="*/ 0 w 1676"/>
                <a:gd name="T41" fmla="*/ 500 h 976"/>
                <a:gd name="T42" fmla="*/ 50 w 1676"/>
                <a:gd name="T43" fmla="*/ 550 h 976"/>
                <a:gd name="T44" fmla="*/ 175 w 1676"/>
                <a:gd name="T45" fmla="*/ 550 h 976"/>
                <a:gd name="T46" fmla="*/ 275 w 1676"/>
                <a:gd name="T47" fmla="*/ 575 h 976"/>
                <a:gd name="T48" fmla="*/ 375 w 1676"/>
                <a:gd name="T49" fmla="*/ 525 h 976"/>
                <a:gd name="T50" fmla="*/ 575 w 1676"/>
                <a:gd name="T51" fmla="*/ 525 h 976"/>
                <a:gd name="T52" fmla="*/ 700 w 1676"/>
                <a:gd name="T53" fmla="*/ 675 h 976"/>
                <a:gd name="T54" fmla="*/ 650 w 1676"/>
                <a:gd name="T55" fmla="*/ 725 h 976"/>
                <a:gd name="T56" fmla="*/ 549 w 1676"/>
                <a:gd name="T57" fmla="*/ 850 h 976"/>
                <a:gd name="T58" fmla="*/ 650 w 1676"/>
                <a:gd name="T59" fmla="*/ 850 h 976"/>
                <a:gd name="T60" fmla="*/ 725 w 1676"/>
                <a:gd name="T61" fmla="*/ 800 h 976"/>
                <a:gd name="T62" fmla="*/ 900 w 1676"/>
                <a:gd name="T63" fmla="*/ 700 h 976"/>
                <a:gd name="T64" fmla="*/ 1075 w 1676"/>
                <a:gd name="T65" fmla="*/ 775 h 976"/>
                <a:gd name="T66" fmla="*/ 1050 w 1676"/>
                <a:gd name="T67" fmla="*/ 900 h 976"/>
                <a:gd name="T68" fmla="*/ 1125 w 1676"/>
                <a:gd name="T69" fmla="*/ 950 h 976"/>
                <a:gd name="T70" fmla="*/ 1325 w 1676"/>
                <a:gd name="T71" fmla="*/ 900 h 976"/>
                <a:gd name="T72" fmla="*/ 1175 w 1676"/>
                <a:gd name="T73" fmla="*/ 800 h 976"/>
                <a:gd name="T74" fmla="*/ 1400 w 1676"/>
                <a:gd name="T75" fmla="*/ 675 h 976"/>
                <a:gd name="T76" fmla="*/ 1475 w 1676"/>
                <a:gd name="T77" fmla="*/ 625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76" h="976">
                  <a:moveTo>
                    <a:pt x="1475" y="625"/>
                  </a:moveTo>
                  <a:lnTo>
                    <a:pt x="1475" y="625"/>
                  </a:lnTo>
                  <a:cubicBezTo>
                    <a:pt x="1500" y="625"/>
                    <a:pt x="1550" y="575"/>
                    <a:pt x="1550" y="575"/>
                  </a:cubicBezTo>
                  <a:cubicBezTo>
                    <a:pt x="1575" y="575"/>
                    <a:pt x="1625" y="575"/>
                    <a:pt x="1625" y="575"/>
                  </a:cubicBezTo>
                  <a:cubicBezTo>
                    <a:pt x="1625" y="550"/>
                    <a:pt x="1650" y="525"/>
                    <a:pt x="1650" y="500"/>
                  </a:cubicBezTo>
                  <a:lnTo>
                    <a:pt x="1625" y="475"/>
                  </a:lnTo>
                  <a:cubicBezTo>
                    <a:pt x="1625" y="475"/>
                    <a:pt x="1650" y="475"/>
                    <a:pt x="1650" y="450"/>
                  </a:cubicBezTo>
                  <a:lnTo>
                    <a:pt x="1625" y="425"/>
                  </a:lnTo>
                  <a:cubicBezTo>
                    <a:pt x="1625" y="425"/>
                    <a:pt x="1675" y="399"/>
                    <a:pt x="1675" y="375"/>
                  </a:cubicBezTo>
                  <a:cubicBezTo>
                    <a:pt x="1650" y="375"/>
                    <a:pt x="1625" y="375"/>
                    <a:pt x="1600" y="350"/>
                  </a:cubicBezTo>
                  <a:cubicBezTo>
                    <a:pt x="1575" y="350"/>
                    <a:pt x="1550" y="350"/>
                    <a:pt x="1525" y="325"/>
                  </a:cubicBezTo>
                  <a:cubicBezTo>
                    <a:pt x="1500" y="325"/>
                    <a:pt x="1450" y="325"/>
                    <a:pt x="1450" y="325"/>
                  </a:cubicBezTo>
                  <a:cubicBezTo>
                    <a:pt x="1450" y="299"/>
                    <a:pt x="1425" y="275"/>
                    <a:pt x="1400" y="275"/>
                  </a:cubicBezTo>
                  <a:cubicBezTo>
                    <a:pt x="1400" y="250"/>
                    <a:pt x="1375" y="275"/>
                    <a:pt x="1350" y="275"/>
                  </a:cubicBezTo>
                  <a:cubicBezTo>
                    <a:pt x="1350" y="275"/>
                    <a:pt x="1325" y="299"/>
                    <a:pt x="1300" y="275"/>
                  </a:cubicBezTo>
                  <a:lnTo>
                    <a:pt x="1275" y="250"/>
                  </a:lnTo>
                  <a:cubicBezTo>
                    <a:pt x="1250" y="275"/>
                    <a:pt x="1225" y="250"/>
                    <a:pt x="1225" y="250"/>
                  </a:cubicBezTo>
                  <a:cubicBezTo>
                    <a:pt x="1225" y="225"/>
                    <a:pt x="1200" y="175"/>
                    <a:pt x="1200" y="175"/>
                  </a:cubicBezTo>
                  <a:cubicBezTo>
                    <a:pt x="1175" y="150"/>
                    <a:pt x="1125" y="175"/>
                    <a:pt x="1125" y="150"/>
                  </a:cubicBezTo>
                  <a:cubicBezTo>
                    <a:pt x="1100" y="125"/>
                    <a:pt x="1100" y="100"/>
                    <a:pt x="1100" y="100"/>
                  </a:cubicBezTo>
                  <a:cubicBezTo>
                    <a:pt x="1100" y="74"/>
                    <a:pt x="1100" y="50"/>
                    <a:pt x="1075" y="25"/>
                  </a:cubicBezTo>
                  <a:cubicBezTo>
                    <a:pt x="1075" y="0"/>
                    <a:pt x="1025" y="0"/>
                    <a:pt x="1000" y="25"/>
                  </a:cubicBezTo>
                  <a:cubicBezTo>
                    <a:pt x="1000" y="25"/>
                    <a:pt x="950" y="0"/>
                    <a:pt x="950" y="25"/>
                  </a:cubicBezTo>
                  <a:cubicBezTo>
                    <a:pt x="925" y="25"/>
                    <a:pt x="925" y="50"/>
                    <a:pt x="900" y="50"/>
                  </a:cubicBezTo>
                  <a:cubicBezTo>
                    <a:pt x="900" y="50"/>
                    <a:pt x="875" y="50"/>
                    <a:pt x="875" y="25"/>
                  </a:cubicBezTo>
                  <a:cubicBezTo>
                    <a:pt x="850" y="50"/>
                    <a:pt x="825" y="50"/>
                    <a:pt x="825" y="50"/>
                  </a:cubicBezTo>
                  <a:lnTo>
                    <a:pt x="749" y="100"/>
                  </a:lnTo>
                  <a:cubicBezTo>
                    <a:pt x="749" y="125"/>
                    <a:pt x="749" y="150"/>
                    <a:pt x="749" y="125"/>
                  </a:cubicBezTo>
                  <a:cubicBezTo>
                    <a:pt x="725" y="125"/>
                    <a:pt x="675" y="125"/>
                    <a:pt x="650" y="125"/>
                  </a:cubicBezTo>
                  <a:cubicBezTo>
                    <a:pt x="650" y="150"/>
                    <a:pt x="625" y="100"/>
                    <a:pt x="600" y="100"/>
                  </a:cubicBezTo>
                  <a:cubicBezTo>
                    <a:pt x="575" y="125"/>
                    <a:pt x="549" y="100"/>
                    <a:pt x="525" y="100"/>
                  </a:cubicBezTo>
                  <a:cubicBezTo>
                    <a:pt x="525" y="125"/>
                    <a:pt x="500" y="100"/>
                    <a:pt x="475" y="100"/>
                  </a:cubicBezTo>
                  <a:cubicBezTo>
                    <a:pt x="450" y="74"/>
                    <a:pt x="400" y="100"/>
                    <a:pt x="375" y="74"/>
                  </a:cubicBezTo>
                  <a:cubicBezTo>
                    <a:pt x="375" y="74"/>
                    <a:pt x="250" y="74"/>
                    <a:pt x="224" y="74"/>
                  </a:cubicBezTo>
                  <a:cubicBezTo>
                    <a:pt x="200" y="74"/>
                    <a:pt x="175" y="74"/>
                    <a:pt x="175" y="100"/>
                  </a:cubicBezTo>
                  <a:cubicBezTo>
                    <a:pt x="150" y="125"/>
                    <a:pt x="124" y="100"/>
                    <a:pt x="124" y="100"/>
                  </a:cubicBezTo>
                  <a:cubicBezTo>
                    <a:pt x="124" y="125"/>
                    <a:pt x="124" y="125"/>
                    <a:pt x="124" y="150"/>
                  </a:cubicBezTo>
                  <a:cubicBezTo>
                    <a:pt x="124" y="150"/>
                    <a:pt x="175" y="225"/>
                    <a:pt x="150" y="225"/>
                  </a:cubicBezTo>
                  <a:cubicBezTo>
                    <a:pt x="150" y="250"/>
                    <a:pt x="124" y="250"/>
                    <a:pt x="124" y="275"/>
                  </a:cubicBezTo>
                  <a:cubicBezTo>
                    <a:pt x="100" y="275"/>
                    <a:pt x="24" y="350"/>
                    <a:pt x="24" y="350"/>
                  </a:cubicBezTo>
                  <a:cubicBezTo>
                    <a:pt x="24" y="375"/>
                    <a:pt x="50" y="425"/>
                    <a:pt x="24" y="425"/>
                  </a:cubicBezTo>
                  <a:cubicBezTo>
                    <a:pt x="24" y="425"/>
                    <a:pt x="0" y="475"/>
                    <a:pt x="0" y="500"/>
                  </a:cubicBezTo>
                  <a:lnTo>
                    <a:pt x="24" y="525"/>
                  </a:lnTo>
                  <a:cubicBezTo>
                    <a:pt x="50" y="550"/>
                    <a:pt x="50" y="550"/>
                    <a:pt x="50" y="550"/>
                  </a:cubicBezTo>
                  <a:lnTo>
                    <a:pt x="75" y="550"/>
                  </a:lnTo>
                  <a:cubicBezTo>
                    <a:pt x="100" y="550"/>
                    <a:pt x="150" y="550"/>
                    <a:pt x="175" y="550"/>
                  </a:cubicBezTo>
                  <a:cubicBezTo>
                    <a:pt x="200" y="550"/>
                    <a:pt x="224" y="575"/>
                    <a:pt x="224" y="575"/>
                  </a:cubicBezTo>
                  <a:cubicBezTo>
                    <a:pt x="250" y="575"/>
                    <a:pt x="250" y="575"/>
                    <a:pt x="275" y="575"/>
                  </a:cubicBezTo>
                  <a:cubicBezTo>
                    <a:pt x="300" y="550"/>
                    <a:pt x="300" y="550"/>
                    <a:pt x="325" y="550"/>
                  </a:cubicBezTo>
                  <a:cubicBezTo>
                    <a:pt x="350" y="550"/>
                    <a:pt x="375" y="550"/>
                    <a:pt x="375" y="525"/>
                  </a:cubicBezTo>
                  <a:cubicBezTo>
                    <a:pt x="375" y="525"/>
                    <a:pt x="475" y="500"/>
                    <a:pt x="500" y="500"/>
                  </a:cubicBezTo>
                  <a:cubicBezTo>
                    <a:pt x="500" y="500"/>
                    <a:pt x="549" y="525"/>
                    <a:pt x="575" y="525"/>
                  </a:cubicBezTo>
                  <a:cubicBezTo>
                    <a:pt x="575" y="525"/>
                    <a:pt x="625" y="550"/>
                    <a:pt x="625" y="575"/>
                  </a:cubicBezTo>
                  <a:cubicBezTo>
                    <a:pt x="650" y="625"/>
                    <a:pt x="675" y="675"/>
                    <a:pt x="700" y="675"/>
                  </a:cubicBezTo>
                  <a:cubicBezTo>
                    <a:pt x="700" y="700"/>
                    <a:pt x="700" y="725"/>
                    <a:pt x="700" y="750"/>
                  </a:cubicBezTo>
                  <a:cubicBezTo>
                    <a:pt x="700" y="750"/>
                    <a:pt x="675" y="750"/>
                    <a:pt x="650" y="725"/>
                  </a:cubicBezTo>
                  <a:cubicBezTo>
                    <a:pt x="625" y="725"/>
                    <a:pt x="600" y="750"/>
                    <a:pt x="600" y="775"/>
                  </a:cubicBezTo>
                  <a:cubicBezTo>
                    <a:pt x="600" y="800"/>
                    <a:pt x="575" y="850"/>
                    <a:pt x="549" y="850"/>
                  </a:cubicBezTo>
                  <a:cubicBezTo>
                    <a:pt x="549" y="875"/>
                    <a:pt x="575" y="875"/>
                    <a:pt x="600" y="875"/>
                  </a:cubicBezTo>
                  <a:cubicBezTo>
                    <a:pt x="600" y="875"/>
                    <a:pt x="625" y="850"/>
                    <a:pt x="650" y="850"/>
                  </a:cubicBezTo>
                  <a:lnTo>
                    <a:pt x="675" y="875"/>
                  </a:lnTo>
                  <a:cubicBezTo>
                    <a:pt x="675" y="825"/>
                    <a:pt x="675" y="850"/>
                    <a:pt x="725" y="800"/>
                  </a:cubicBezTo>
                  <a:cubicBezTo>
                    <a:pt x="775" y="775"/>
                    <a:pt x="775" y="725"/>
                    <a:pt x="800" y="725"/>
                  </a:cubicBezTo>
                  <a:cubicBezTo>
                    <a:pt x="850" y="700"/>
                    <a:pt x="850" y="700"/>
                    <a:pt x="900" y="700"/>
                  </a:cubicBezTo>
                  <a:cubicBezTo>
                    <a:pt x="950" y="700"/>
                    <a:pt x="875" y="750"/>
                    <a:pt x="925" y="750"/>
                  </a:cubicBezTo>
                  <a:cubicBezTo>
                    <a:pt x="950" y="775"/>
                    <a:pt x="1075" y="750"/>
                    <a:pt x="1075" y="775"/>
                  </a:cubicBezTo>
                  <a:cubicBezTo>
                    <a:pt x="1075" y="800"/>
                    <a:pt x="950" y="850"/>
                    <a:pt x="950" y="850"/>
                  </a:cubicBezTo>
                  <a:cubicBezTo>
                    <a:pt x="950" y="875"/>
                    <a:pt x="1025" y="875"/>
                    <a:pt x="1050" y="900"/>
                  </a:cubicBezTo>
                  <a:cubicBezTo>
                    <a:pt x="1075" y="900"/>
                    <a:pt x="1025" y="950"/>
                    <a:pt x="1050" y="975"/>
                  </a:cubicBezTo>
                  <a:cubicBezTo>
                    <a:pt x="1050" y="975"/>
                    <a:pt x="1100" y="975"/>
                    <a:pt x="1125" y="950"/>
                  </a:cubicBezTo>
                  <a:cubicBezTo>
                    <a:pt x="1150" y="925"/>
                    <a:pt x="1175" y="925"/>
                    <a:pt x="1200" y="900"/>
                  </a:cubicBezTo>
                  <a:cubicBezTo>
                    <a:pt x="1250" y="875"/>
                    <a:pt x="1325" y="900"/>
                    <a:pt x="1325" y="900"/>
                  </a:cubicBezTo>
                  <a:cubicBezTo>
                    <a:pt x="1350" y="875"/>
                    <a:pt x="1325" y="875"/>
                    <a:pt x="1250" y="875"/>
                  </a:cubicBezTo>
                  <a:cubicBezTo>
                    <a:pt x="1175" y="875"/>
                    <a:pt x="1175" y="800"/>
                    <a:pt x="1175" y="800"/>
                  </a:cubicBezTo>
                  <a:cubicBezTo>
                    <a:pt x="1175" y="775"/>
                    <a:pt x="1250" y="725"/>
                    <a:pt x="1275" y="725"/>
                  </a:cubicBezTo>
                  <a:cubicBezTo>
                    <a:pt x="1325" y="725"/>
                    <a:pt x="1350" y="700"/>
                    <a:pt x="1400" y="675"/>
                  </a:cubicBezTo>
                  <a:cubicBezTo>
                    <a:pt x="1425" y="675"/>
                    <a:pt x="1450" y="675"/>
                    <a:pt x="1475" y="650"/>
                  </a:cubicBezTo>
                  <a:lnTo>
                    <a:pt x="1475" y="625"/>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5" name="Freeform 79">
              <a:extLst>
                <a:ext uri="{FF2B5EF4-FFF2-40B4-BE49-F238E27FC236}">
                  <a16:creationId xmlns:a16="http://schemas.microsoft.com/office/drawing/2014/main" id="{721BF628-643D-CD72-E05A-8B5BD675FE84}"/>
                </a:ext>
              </a:extLst>
            </p:cNvPr>
            <p:cNvSpPr>
              <a:spLocks noChangeArrowheads="1"/>
            </p:cNvSpPr>
            <p:nvPr/>
          </p:nvSpPr>
          <p:spPr bwMode="auto">
            <a:xfrm>
              <a:off x="7026685" y="3673880"/>
              <a:ext cx="452290" cy="328133"/>
            </a:xfrm>
            <a:custGeom>
              <a:avLst/>
              <a:gdLst>
                <a:gd name="T0" fmla="*/ 825 w 901"/>
                <a:gd name="T1" fmla="*/ 325 h 651"/>
                <a:gd name="T2" fmla="*/ 825 w 901"/>
                <a:gd name="T3" fmla="*/ 325 h 651"/>
                <a:gd name="T4" fmla="*/ 775 w 901"/>
                <a:gd name="T5" fmla="*/ 274 h 651"/>
                <a:gd name="T6" fmla="*/ 750 w 901"/>
                <a:gd name="T7" fmla="*/ 225 h 651"/>
                <a:gd name="T8" fmla="*/ 725 w 901"/>
                <a:gd name="T9" fmla="*/ 150 h 651"/>
                <a:gd name="T10" fmla="*/ 725 w 901"/>
                <a:gd name="T11" fmla="*/ 74 h 651"/>
                <a:gd name="T12" fmla="*/ 625 w 901"/>
                <a:gd name="T13" fmla="*/ 50 h 651"/>
                <a:gd name="T14" fmla="*/ 575 w 901"/>
                <a:gd name="T15" fmla="*/ 50 h 651"/>
                <a:gd name="T16" fmla="*/ 525 w 901"/>
                <a:gd name="T17" fmla="*/ 25 h 651"/>
                <a:gd name="T18" fmla="*/ 474 w 901"/>
                <a:gd name="T19" fmla="*/ 25 h 651"/>
                <a:gd name="T20" fmla="*/ 474 w 901"/>
                <a:gd name="T21" fmla="*/ 0 h 651"/>
                <a:gd name="T22" fmla="*/ 450 w 901"/>
                <a:gd name="T23" fmla="*/ 25 h 651"/>
                <a:gd name="T24" fmla="*/ 425 w 901"/>
                <a:gd name="T25" fmla="*/ 50 h 651"/>
                <a:gd name="T26" fmla="*/ 350 w 901"/>
                <a:gd name="T27" fmla="*/ 74 h 651"/>
                <a:gd name="T28" fmla="*/ 325 w 901"/>
                <a:gd name="T29" fmla="*/ 125 h 651"/>
                <a:gd name="T30" fmla="*/ 325 w 901"/>
                <a:gd name="T31" fmla="*/ 150 h 651"/>
                <a:gd name="T32" fmla="*/ 275 w 901"/>
                <a:gd name="T33" fmla="*/ 174 h 651"/>
                <a:gd name="T34" fmla="*/ 225 w 901"/>
                <a:gd name="T35" fmla="*/ 225 h 651"/>
                <a:gd name="T36" fmla="*/ 225 w 901"/>
                <a:gd name="T37" fmla="*/ 274 h 651"/>
                <a:gd name="T38" fmla="*/ 149 w 901"/>
                <a:gd name="T39" fmla="*/ 274 h 651"/>
                <a:gd name="T40" fmla="*/ 125 w 901"/>
                <a:gd name="T41" fmla="*/ 300 h 651"/>
                <a:gd name="T42" fmla="*/ 49 w 901"/>
                <a:gd name="T43" fmla="*/ 300 h 651"/>
                <a:gd name="T44" fmla="*/ 49 w 901"/>
                <a:gd name="T45" fmla="*/ 300 h 651"/>
                <a:gd name="T46" fmla="*/ 49 w 901"/>
                <a:gd name="T47" fmla="*/ 374 h 651"/>
                <a:gd name="T48" fmla="*/ 75 w 901"/>
                <a:gd name="T49" fmla="*/ 474 h 651"/>
                <a:gd name="T50" fmla="*/ 0 w 901"/>
                <a:gd name="T51" fmla="*/ 500 h 651"/>
                <a:gd name="T52" fmla="*/ 49 w 901"/>
                <a:gd name="T53" fmla="*/ 550 h 651"/>
                <a:gd name="T54" fmla="*/ 49 w 901"/>
                <a:gd name="T55" fmla="*/ 600 h 651"/>
                <a:gd name="T56" fmla="*/ 100 w 901"/>
                <a:gd name="T57" fmla="*/ 600 h 651"/>
                <a:gd name="T58" fmla="*/ 149 w 901"/>
                <a:gd name="T59" fmla="*/ 574 h 651"/>
                <a:gd name="T60" fmla="*/ 300 w 901"/>
                <a:gd name="T61" fmla="*/ 574 h 651"/>
                <a:gd name="T62" fmla="*/ 400 w 901"/>
                <a:gd name="T63" fmla="*/ 600 h 651"/>
                <a:gd name="T64" fmla="*/ 450 w 901"/>
                <a:gd name="T65" fmla="*/ 600 h 651"/>
                <a:gd name="T66" fmla="*/ 525 w 901"/>
                <a:gd name="T67" fmla="*/ 600 h 651"/>
                <a:gd name="T68" fmla="*/ 575 w 901"/>
                <a:gd name="T69" fmla="*/ 625 h 651"/>
                <a:gd name="T70" fmla="*/ 674 w 901"/>
                <a:gd name="T71" fmla="*/ 625 h 651"/>
                <a:gd name="T72" fmla="*/ 674 w 901"/>
                <a:gd name="T73" fmla="*/ 600 h 651"/>
                <a:gd name="T74" fmla="*/ 750 w 901"/>
                <a:gd name="T75" fmla="*/ 550 h 651"/>
                <a:gd name="T76" fmla="*/ 800 w 901"/>
                <a:gd name="T77" fmla="*/ 525 h 651"/>
                <a:gd name="T78" fmla="*/ 800 w 901"/>
                <a:gd name="T79" fmla="*/ 500 h 651"/>
                <a:gd name="T80" fmla="*/ 775 w 901"/>
                <a:gd name="T81" fmla="*/ 400 h 651"/>
                <a:gd name="T82" fmla="*/ 850 w 901"/>
                <a:gd name="T83" fmla="*/ 425 h 651"/>
                <a:gd name="T84" fmla="*/ 900 w 901"/>
                <a:gd name="T85" fmla="*/ 374 h 651"/>
                <a:gd name="T86" fmla="*/ 825 w 901"/>
                <a:gd name="T87" fmla="*/ 32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1" h="651">
                  <a:moveTo>
                    <a:pt x="825" y="325"/>
                  </a:moveTo>
                  <a:lnTo>
                    <a:pt x="825" y="325"/>
                  </a:lnTo>
                  <a:cubicBezTo>
                    <a:pt x="825" y="325"/>
                    <a:pt x="800" y="274"/>
                    <a:pt x="775" y="274"/>
                  </a:cubicBezTo>
                  <a:cubicBezTo>
                    <a:pt x="750" y="250"/>
                    <a:pt x="750" y="225"/>
                    <a:pt x="750" y="225"/>
                  </a:cubicBezTo>
                  <a:cubicBezTo>
                    <a:pt x="725" y="200"/>
                    <a:pt x="725" y="174"/>
                    <a:pt x="725" y="150"/>
                  </a:cubicBezTo>
                  <a:cubicBezTo>
                    <a:pt x="725" y="125"/>
                    <a:pt x="725" y="100"/>
                    <a:pt x="725" y="74"/>
                  </a:cubicBezTo>
                  <a:cubicBezTo>
                    <a:pt x="700" y="74"/>
                    <a:pt x="650" y="50"/>
                    <a:pt x="625" y="50"/>
                  </a:cubicBezTo>
                  <a:cubicBezTo>
                    <a:pt x="600" y="74"/>
                    <a:pt x="600" y="74"/>
                    <a:pt x="575" y="50"/>
                  </a:cubicBezTo>
                  <a:cubicBezTo>
                    <a:pt x="575" y="50"/>
                    <a:pt x="550" y="25"/>
                    <a:pt x="525" y="25"/>
                  </a:cubicBezTo>
                  <a:cubicBezTo>
                    <a:pt x="500" y="50"/>
                    <a:pt x="500" y="25"/>
                    <a:pt x="474" y="25"/>
                  </a:cubicBezTo>
                  <a:cubicBezTo>
                    <a:pt x="474" y="25"/>
                    <a:pt x="474" y="25"/>
                    <a:pt x="474" y="0"/>
                  </a:cubicBezTo>
                  <a:cubicBezTo>
                    <a:pt x="474" y="25"/>
                    <a:pt x="450" y="25"/>
                    <a:pt x="450" y="25"/>
                  </a:cubicBezTo>
                  <a:cubicBezTo>
                    <a:pt x="425" y="25"/>
                    <a:pt x="425" y="50"/>
                    <a:pt x="425" y="50"/>
                  </a:cubicBezTo>
                  <a:cubicBezTo>
                    <a:pt x="400" y="50"/>
                    <a:pt x="375" y="50"/>
                    <a:pt x="350" y="74"/>
                  </a:cubicBezTo>
                  <a:cubicBezTo>
                    <a:pt x="325" y="74"/>
                    <a:pt x="325" y="100"/>
                    <a:pt x="325" y="125"/>
                  </a:cubicBezTo>
                  <a:lnTo>
                    <a:pt x="325" y="150"/>
                  </a:lnTo>
                  <a:cubicBezTo>
                    <a:pt x="300" y="150"/>
                    <a:pt x="300" y="174"/>
                    <a:pt x="275" y="174"/>
                  </a:cubicBezTo>
                  <a:cubicBezTo>
                    <a:pt x="275" y="174"/>
                    <a:pt x="250" y="200"/>
                    <a:pt x="225" y="225"/>
                  </a:cubicBezTo>
                  <a:lnTo>
                    <a:pt x="225" y="274"/>
                  </a:lnTo>
                  <a:cubicBezTo>
                    <a:pt x="200" y="274"/>
                    <a:pt x="175" y="274"/>
                    <a:pt x="149" y="274"/>
                  </a:cubicBezTo>
                  <a:cubicBezTo>
                    <a:pt x="149" y="300"/>
                    <a:pt x="125" y="325"/>
                    <a:pt x="125" y="300"/>
                  </a:cubicBezTo>
                  <a:cubicBezTo>
                    <a:pt x="100" y="300"/>
                    <a:pt x="75" y="300"/>
                    <a:pt x="49" y="300"/>
                  </a:cubicBezTo>
                  <a:lnTo>
                    <a:pt x="49" y="300"/>
                  </a:lnTo>
                  <a:cubicBezTo>
                    <a:pt x="25" y="350"/>
                    <a:pt x="49" y="374"/>
                    <a:pt x="49" y="374"/>
                  </a:cubicBezTo>
                  <a:cubicBezTo>
                    <a:pt x="75" y="400"/>
                    <a:pt x="75" y="450"/>
                    <a:pt x="75" y="474"/>
                  </a:cubicBezTo>
                  <a:cubicBezTo>
                    <a:pt x="49" y="474"/>
                    <a:pt x="0" y="500"/>
                    <a:pt x="0" y="500"/>
                  </a:cubicBezTo>
                  <a:cubicBezTo>
                    <a:pt x="0" y="525"/>
                    <a:pt x="49" y="550"/>
                    <a:pt x="49" y="550"/>
                  </a:cubicBezTo>
                  <a:cubicBezTo>
                    <a:pt x="25" y="574"/>
                    <a:pt x="25" y="600"/>
                    <a:pt x="49" y="600"/>
                  </a:cubicBezTo>
                  <a:cubicBezTo>
                    <a:pt x="49" y="600"/>
                    <a:pt x="75" y="625"/>
                    <a:pt x="100" y="600"/>
                  </a:cubicBezTo>
                  <a:cubicBezTo>
                    <a:pt x="100" y="574"/>
                    <a:pt x="125" y="574"/>
                    <a:pt x="149" y="574"/>
                  </a:cubicBezTo>
                  <a:cubicBezTo>
                    <a:pt x="175" y="574"/>
                    <a:pt x="300" y="574"/>
                    <a:pt x="300" y="574"/>
                  </a:cubicBezTo>
                  <a:cubicBezTo>
                    <a:pt x="325" y="600"/>
                    <a:pt x="375" y="574"/>
                    <a:pt x="400" y="600"/>
                  </a:cubicBezTo>
                  <a:cubicBezTo>
                    <a:pt x="425" y="600"/>
                    <a:pt x="450" y="625"/>
                    <a:pt x="450" y="600"/>
                  </a:cubicBezTo>
                  <a:cubicBezTo>
                    <a:pt x="474" y="600"/>
                    <a:pt x="500" y="625"/>
                    <a:pt x="525" y="600"/>
                  </a:cubicBezTo>
                  <a:cubicBezTo>
                    <a:pt x="550" y="600"/>
                    <a:pt x="575" y="650"/>
                    <a:pt x="575" y="625"/>
                  </a:cubicBezTo>
                  <a:cubicBezTo>
                    <a:pt x="600" y="625"/>
                    <a:pt x="650" y="625"/>
                    <a:pt x="674" y="625"/>
                  </a:cubicBezTo>
                  <a:cubicBezTo>
                    <a:pt x="674" y="650"/>
                    <a:pt x="674" y="625"/>
                    <a:pt x="674" y="600"/>
                  </a:cubicBezTo>
                  <a:lnTo>
                    <a:pt x="750" y="550"/>
                  </a:lnTo>
                  <a:cubicBezTo>
                    <a:pt x="750" y="550"/>
                    <a:pt x="775" y="550"/>
                    <a:pt x="800" y="525"/>
                  </a:cubicBezTo>
                  <a:lnTo>
                    <a:pt x="800" y="500"/>
                  </a:lnTo>
                  <a:cubicBezTo>
                    <a:pt x="775" y="450"/>
                    <a:pt x="750" y="425"/>
                    <a:pt x="775" y="400"/>
                  </a:cubicBezTo>
                  <a:cubicBezTo>
                    <a:pt x="775" y="400"/>
                    <a:pt x="825" y="425"/>
                    <a:pt x="850" y="425"/>
                  </a:cubicBezTo>
                  <a:cubicBezTo>
                    <a:pt x="850" y="400"/>
                    <a:pt x="900" y="400"/>
                    <a:pt x="900" y="374"/>
                  </a:cubicBezTo>
                  <a:cubicBezTo>
                    <a:pt x="875" y="350"/>
                    <a:pt x="850" y="325"/>
                    <a:pt x="825" y="3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6" name="Freeform 80">
              <a:extLst>
                <a:ext uri="{FF2B5EF4-FFF2-40B4-BE49-F238E27FC236}">
                  <a16:creationId xmlns:a16="http://schemas.microsoft.com/office/drawing/2014/main" id="{DE753BBD-ACA7-2729-A6CF-2835BEF35277}"/>
                </a:ext>
              </a:extLst>
            </p:cNvPr>
            <p:cNvSpPr>
              <a:spLocks noChangeArrowheads="1"/>
            </p:cNvSpPr>
            <p:nvPr/>
          </p:nvSpPr>
          <p:spPr bwMode="auto">
            <a:xfrm>
              <a:off x="6913610" y="3547506"/>
              <a:ext cx="352520" cy="164065"/>
            </a:xfrm>
            <a:custGeom>
              <a:avLst/>
              <a:gdLst>
                <a:gd name="T0" fmla="*/ 250 w 700"/>
                <a:gd name="T1" fmla="*/ 224 h 325"/>
                <a:gd name="T2" fmla="*/ 250 w 700"/>
                <a:gd name="T3" fmla="*/ 224 h 325"/>
                <a:gd name="T4" fmla="*/ 374 w 700"/>
                <a:gd name="T5" fmla="*/ 224 h 325"/>
                <a:gd name="T6" fmla="*/ 425 w 700"/>
                <a:gd name="T7" fmla="*/ 250 h 325"/>
                <a:gd name="T8" fmla="*/ 500 w 700"/>
                <a:gd name="T9" fmla="*/ 300 h 325"/>
                <a:gd name="T10" fmla="*/ 550 w 700"/>
                <a:gd name="T11" fmla="*/ 324 h 325"/>
                <a:gd name="T12" fmla="*/ 575 w 700"/>
                <a:gd name="T13" fmla="*/ 324 h 325"/>
                <a:gd name="T14" fmla="*/ 650 w 700"/>
                <a:gd name="T15" fmla="*/ 300 h 325"/>
                <a:gd name="T16" fmla="*/ 675 w 700"/>
                <a:gd name="T17" fmla="*/ 275 h 325"/>
                <a:gd name="T18" fmla="*/ 699 w 700"/>
                <a:gd name="T19" fmla="*/ 250 h 325"/>
                <a:gd name="T20" fmla="*/ 675 w 700"/>
                <a:gd name="T21" fmla="*/ 200 h 325"/>
                <a:gd name="T22" fmla="*/ 650 w 700"/>
                <a:gd name="T23" fmla="*/ 150 h 325"/>
                <a:gd name="T24" fmla="*/ 650 w 700"/>
                <a:gd name="T25" fmla="*/ 100 h 325"/>
                <a:gd name="T26" fmla="*/ 625 w 700"/>
                <a:gd name="T27" fmla="*/ 75 h 325"/>
                <a:gd name="T28" fmla="*/ 550 w 700"/>
                <a:gd name="T29" fmla="*/ 75 h 325"/>
                <a:gd name="T30" fmla="*/ 450 w 700"/>
                <a:gd name="T31" fmla="*/ 24 h 325"/>
                <a:gd name="T32" fmla="*/ 350 w 700"/>
                <a:gd name="T33" fmla="*/ 24 h 325"/>
                <a:gd name="T34" fmla="*/ 325 w 700"/>
                <a:gd name="T35" fmla="*/ 100 h 325"/>
                <a:gd name="T36" fmla="*/ 250 w 700"/>
                <a:gd name="T37" fmla="*/ 150 h 325"/>
                <a:gd name="T38" fmla="*/ 174 w 700"/>
                <a:gd name="T39" fmla="*/ 50 h 325"/>
                <a:gd name="T40" fmla="*/ 74 w 700"/>
                <a:gd name="T41" fmla="*/ 100 h 325"/>
                <a:gd name="T42" fmla="*/ 50 w 700"/>
                <a:gd name="T43" fmla="*/ 175 h 325"/>
                <a:gd name="T44" fmla="*/ 25 w 700"/>
                <a:gd name="T45" fmla="*/ 250 h 325"/>
                <a:gd name="T46" fmla="*/ 25 w 700"/>
                <a:gd name="T47" fmla="*/ 250 h 325"/>
                <a:gd name="T48" fmla="*/ 100 w 700"/>
                <a:gd name="T49" fmla="*/ 224 h 325"/>
                <a:gd name="T50" fmla="*/ 250 w 700"/>
                <a:gd name="T51" fmla="*/ 22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0" h="325">
                  <a:moveTo>
                    <a:pt x="250" y="224"/>
                  </a:moveTo>
                  <a:lnTo>
                    <a:pt x="250" y="224"/>
                  </a:lnTo>
                  <a:cubicBezTo>
                    <a:pt x="274" y="224"/>
                    <a:pt x="325" y="250"/>
                    <a:pt x="374" y="224"/>
                  </a:cubicBezTo>
                  <a:cubicBezTo>
                    <a:pt x="400" y="224"/>
                    <a:pt x="400" y="275"/>
                    <a:pt x="425" y="250"/>
                  </a:cubicBezTo>
                  <a:cubicBezTo>
                    <a:pt x="450" y="250"/>
                    <a:pt x="475" y="275"/>
                    <a:pt x="500" y="300"/>
                  </a:cubicBezTo>
                  <a:cubicBezTo>
                    <a:pt x="525" y="324"/>
                    <a:pt x="550" y="324"/>
                    <a:pt x="550" y="324"/>
                  </a:cubicBezTo>
                  <a:lnTo>
                    <a:pt x="575" y="324"/>
                  </a:lnTo>
                  <a:cubicBezTo>
                    <a:pt x="600" y="300"/>
                    <a:pt x="625" y="300"/>
                    <a:pt x="650" y="300"/>
                  </a:cubicBezTo>
                  <a:cubicBezTo>
                    <a:pt x="650" y="300"/>
                    <a:pt x="650" y="275"/>
                    <a:pt x="675" y="275"/>
                  </a:cubicBezTo>
                  <a:cubicBezTo>
                    <a:pt x="675" y="275"/>
                    <a:pt x="699" y="275"/>
                    <a:pt x="699" y="250"/>
                  </a:cubicBezTo>
                  <a:cubicBezTo>
                    <a:pt x="699" y="250"/>
                    <a:pt x="699" y="224"/>
                    <a:pt x="675" y="200"/>
                  </a:cubicBezTo>
                  <a:cubicBezTo>
                    <a:pt x="675" y="200"/>
                    <a:pt x="650" y="175"/>
                    <a:pt x="650" y="150"/>
                  </a:cubicBezTo>
                  <a:cubicBezTo>
                    <a:pt x="650" y="124"/>
                    <a:pt x="650" y="124"/>
                    <a:pt x="650" y="100"/>
                  </a:cubicBezTo>
                  <a:lnTo>
                    <a:pt x="625" y="75"/>
                  </a:lnTo>
                  <a:cubicBezTo>
                    <a:pt x="600" y="75"/>
                    <a:pt x="550" y="75"/>
                    <a:pt x="550" y="75"/>
                  </a:cubicBezTo>
                  <a:cubicBezTo>
                    <a:pt x="525" y="75"/>
                    <a:pt x="450" y="24"/>
                    <a:pt x="450" y="24"/>
                  </a:cubicBezTo>
                  <a:cubicBezTo>
                    <a:pt x="450" y="0"/>
                    <a:pt x="400" y="0"/>
                    <a:pt x="350" y="24"/>
                  </a:cubicBezTo>
                  <a:cubicBezTo>
                    <a:pt x="325" y="50"/>
                    <a:pt x="325" y="75"/>
                    <a:pt x="325" y="100"/>
                  </a:cubicBezTo>
                  <a:cubicBezTo>
                    <a:pt x="325" y="150"/>
                    <a:pt x="274" y="150"/>
                    <a:pt x="250" y="150"/>
                  </a:cubicBezTo>
                  <a:cubicBezTo>
                    <a:pt x="225" y="150"/>
                    <a:pt x="200" y="75"/>
                    <a:pt x="174" y="50"/>
                  </a:cubicBezTo>
                  <a:cubicBezTo>
                    <a:pt x="150" y="24"/>
                    <a:pt x="125" y="75"/>
                    <a:pt x="74" y="100"/>
                  </a:cubicBezTo>
                  <a:cubicBezTo>
                    <a:pt x="50" y="100"/>
                    <a:pt x="74" y="150"/>
                    <a:pt x="50" y="175"/>
                  </a:cubicBezTo>
                  <a:cubicBezTo>
                    <a:pt x="25" y="175"/>
                    <a:pt x="0" y="200"/>
                    <a:pt x="25" y="250"/>
                  </a:cubicBezTo>
                  <a:lnTo>
                    <a:pt x="25" y="250"/>
                  </a:lnTo>
                  <a:cubicBezTo>
                    <a:pt x="74" y="250"/>
                    <a:pt x="100" y="250"/>
                    <a:pt x="100" y="224"/>
                  </a:cubicBezTo>
                  <a:cubicBezTo>
                    <a:pt x="150" y="224"/>
                    <a:pt x="225" y="224"/>
                    <a:pt x="250" y="224"/>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7" name="Freeform 81">
              <a:extLst>
                <a:ext uri="{FF2B5EF4-FFF2-40B4-BE49-F238E27FC236}">
                  <a16:creationId xmlns:a16="http://schemas.microsoft.com/office/drawing/2014/main" id="{76A0F36C-9DA3-E28A-28DC-F8BF8E93A70D}"/>
                </a:ext>
              </a:extLst>
            </p:cNvPr>
            <p:cNvSpPr>
              <a:spLocks noChangeArrowheads="1"/>
            </p:cNvSpPr>
            <p:nvPr/>
          </p:nvSpPr>
          <p:spPr bwMode="auto">
            <a:xfrm>
              <a:off x="6913613" y="3660576"/>
              <a:ext cx="277138" cy="177368"/>
            </a:xfrm>
            <a:custGeom>
              <a:avLst/>
              <a:gdLst>
                <a:gd name="T0" fmla="*/ 100 w 551"/>
                <a:gd name="T1" fmla="*/ 176 h 352"/>
                <a:gd name="T2" fmla="*/ 100 w 551"/>
                <a:gd name="T3" fmla="*/ 176 h 352"/>
                <a:gd name="T4" fmla="*/ 150 w 551"/>
                <a:gd name="T5" fmla="*/ 176 h 352"/>
                <a:gd name="T6" fmla="*/ 200 w 551"/>
                <a:gd name="T7" fmla="*/ 226 h 352"/>
                <a:gd name="T8" fmla="*/ 200 w 551"/>
                <a:gd name="T9" fmla="*/ 276 h 352"/>
                <a:gd name="T10" fmla="*/ 274 w 551"/>
                <a:gd name="T11" fmla="*/ 326 h 352"/>
                <a:gd name="T12" fmla="*/ 350 w 551"/>
                <a:gd name="T13" fmla="*/ 326 h 352"/>
                <a:gd name="T14" fmla="*/ 374 w 551"/>
                <a:gd name="T15" fmla="*/ 300 h 352"/>
                <a:gd name="T16" fmla="*/ 450 w 551"/>
                <a:gd name="T17" fmla="*/ 300 h 352"/>
                <a:gd name="T18" fmla="*/ 450 w 551"/>
                <a:gd name="T19" fmla="*/ 251 h 352"/>
                <a:gd name="T20" fmla="*/ 500 w 551"/>
                <a:gd name="T21" fmla="*/ 200 h 352"/>
                <a:gd name="T22" fmla="*/ 550 w 551"/>
                <a:gd name="T23" fmla="*/ 176 h 352"/>
                <a:gd name="T24" fmla="*/ 550 w 551"/>
                <a:gd name="T25" fmla="*/ 151 h 352"/>
                <a:gd name="T26" fmla="*/ 550 w 551"/>
                <a:gd name="T27" fmla="*/ 100 h 352"/>
                <a:gd name="T28" fmla="*/ 500 w 551"/>
                <a:gd name="T29" fmla="*/ 76 h 352"/>
                <a:gd name="T30" fmla="*/ 425 w 551"/>
                <a:gd name="T31" fmla="*/ 26 h 352"/>
                <a:gd name="T32" fmla="*/ 374 w 551"/>
                <a:gd name="T33" fmla="*/ 0 h 352"/>
                <a:gd name="T34" fmla="*/ 250 w 551"/>
                <a:gd name="T35" fmla="*/ 0 h 352"/>
                <a:gd name="T36" fmla="*/ 100 w 551"/>
                <a:gd name="T37" fmla="*/ 0 h 352"/>
                <a:gd name="T38" fmla="*/ 25 w 551"/>
                <a:gd name="T39" fmla="*/ 26 h 352"/>
                <a:gd name="T40" fmla="*/ 25 w 551"/>
                <a:gd name="T41" fmla="*/ 126 h 352"/>
                <a:gd name="T42" fmla="*/ 25 w 551"/>
                <a:gd name="T43" fmla="*/ 151 h 352"/>
                <a:gd name="T44" fmla="*/ 100 w 551"/>
                <a:gd name="T45"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1" h="352">
                  <a:moveTo>
                    <a:pt x="100" y="176"/>
                  </a:moveTo>
                  <a:lnTo>
                    <a:pt x="100" y="176"/>
                  </a:lnTo>
                  <a:cubicBezTo>
                    <a:pt x="100" y="176"/>
                    <a:pt x="125" y="200"/>
                    <a:pt x="150" y="176"/>
                  </a:cubicBezTo>
                  <a:cubicBezTo>
                    <a:pt x="150" y="176"/>
                    <a:pt x="200" y="200"/>
                    <a:pt x="200" y="226"/>
                  </a:cubicBezTo>
                  <a:cubicBezTo>
                    <a:pt x="200" y="226"/>
                    <a:pt x="174" y="276"/>
                    <a:pt x="200" y="276"/>
                  </a:cubicBezTo>
                  <a:cubicBezTo>
                    <a:pt x="200" y="276"/>
                    <a:pt x="274" y="300"/>
                    <a:pt x="274" y="326"/>
                  </a:cubicBezTo>
                  <a:cubicBezTo>
                    <a:pt x="300" y="326"/>
                    <a:pt x="325" y="326"/>
                    <a:pt x="350" y="326"/>
                  </a:cubicBezTo>
                  <a:cubicBezTo>
                    <a:pt x="350" y="351"/>
                    <a:pt x="374" y="326"/>
                    <a:pt x="374" y="300"/>
                  </a:cubicBezTo>
                  <a:cubicBezTo>
                    <a:pt x="400" y="300"/>
                    <a:pt x="425" y="300"/>
                    <a:pt x="450" y="300"/>
                  </a:cubicBezTo>
                  <a:lnTo>
                    <a:pt x="450" y="251"/>
                  </a:lnTo>
                  <a:cubicBezTo>
                    <a:pt x="475" y="226"/>
                    <a:pt x="500" y="200"/>
                    <a:pt x="500" y="200"/>
                  </a:cubicBezTo>
                  <a:cubicBezTo>
                    <a:pt x="525" y="200"/>
                    <a:pt x="525" y="176"/>
                    <a:pt x="550" y="176"/>
                  </a:cubicBezTo>
                  <a:lnTo>
                    <a:pt x="550" y="151"/>
                  </a:lnTo>
                  <a:cubicBezTo>
                    <a:pt x="550" y="126"/>
                    <a:pt x="550" y="126"/>
                    <a:pt x="550" y="100"/>
                  </a:cubicBezTo>
                  <a:cubicBezTo>
                    <a:pt x="550" y="100"/>
                    <a:pt x="525" y="100"/>
                    <a:pt x="500" y="76"/>
                  </a:cubicBezTo>
                  <a:cubicBezTo>
                    <a:pt x="475" y="51"/>
                    <a:pt x="450" y="26"/>
                    <a:pt x="425" y="26"/>
                  </a:cubicBezTo>
                  <a:cubicBezTo>
                    <a:pt x="400" y="51"/>
                    <a:pt x="400" y="0"/>
                    <a:pt x="374" y="0"/>
                  </a:cubicBezTo>
                  <a:cubicBezTo>
                    <a:pt x="325" y="26"/>
                    <a:pt x="274" y="0"/>
                    <a:pt x="250" y="0"/>
                  </a:cubicBezTo>
                  <a:cubicBezTo>
                    <a:pt x="225" y="0"/>
                    <a:pt x="150" y="0"/>
                    <a:pt x="100" y="0"/>
                  </a:cubicBezTo>
                  <a:cubicBezTo>
                    <a:pt x="100" y="26"/>
                    <a:pt x="74" y="26"/>
                    <a:pt x="25" y="26"/>
                  </a:cubicBezTo>
                  <a:cubicBezTo>
                    <a:pt x="50" y="76"/>
                    <a:pt x="50" y="100"/>
                    <a:pt x="25" y="126"/>
                  </a:cubicBezTo>
                  <a:cubicBezTo>
                    <a:pt x="0" y="151"/>
                    <a:pt x="25" y="151"/>
                    <a:pt x="25" y="151"/>
                  </a:cubicBezTo>
                  <a:cubicBezTo>
                    <a:pt x="50" y="151"/>
                    <a:pt x="74" y="151"/>
                    <a:pt x="100" y="1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8" name="Freeform 82">
              <a:extLst>
                <a:ext uri="{FF2B5EF4-FFF2-40B4-BE49-F238E27FC236}">
                  <a16:creationId xmlns:a16="http://schemas.microsoft.com/office/drawing/2014/main" id="{750D45C2-DD30-81B5-F7EE-77891F3D53C3}"/>
                </a:ext>
              </a:extLst>
            </p:cNvPr>
            <p:cNvSpPr>
              <a:spLocks noChangeArrowheads="1"/>
            </p:cNvSpPr>
            <p:nvPr/>
          </p:nvSpPr>
          <p:spPr bwMode="auto">
            <a:xfrm>
              <a:off x="6246263" y="4225938"/>
              <a:ext cx="215059" cy="113070"/>
            </a:xfrm>
            <a:custGeom>
              <a:avLst/>
              <a:gdLst>
                <a:gd name="T0" fmla="*/ 375 w 427"/>
                <a:gd name="T1" fmla="*/ 100 h 226"/>
                <a:gd name="T2" fmla="*/ 375 w 427"/>
                <a:gd name="T3" fmla="*/ 100 h 226"/>
                <a:gd name="T4" fmla="*/ 326 w 427"/>
                <a:gd name="T5" fmla="*/ 75 h 226"/>
                <a:gd name="T6" fmla="*/ 326 w 427"/>
                <a:gd name="T7" fmla="*/ 25 h 226"/>
                <a:gd name="T8" fmla="*/ 275 w 427"/>
                <a:gd name="T9" fmla="*/ 0 h 226"/>
                <a:gd name="T10" fmla="*/ 200 w 427"/>
                <a:gd name="T11" fmla="*/ 0 h 226"/>
                <a:gd name="T12" fmla="*/ 126 w 427"/>
                <a:gd name="T13" fmla="*/ 0 h 226"/>
                <a:gd name="T14" fmla="*/ 126 w 427"/>
                <a:gd name="T15" fmla="*/ 25 h 226"/>
                <a:gd name="T16" fmla="*/ 75 w 427"/>
                <a:gd name="T17" fmla="*/ 50 h 226"/>
                <a:gd name="T18" fmla="*/ 0 w 427"/>
                <a:gd name="T19" fmla="*/ 125 h 226"/>
                <a:gd name="T20" fmla="*/ 26 w 427"/>
                <a:gd name="T21" fmla="*/ 175 h 226"/>
                <a:gd name="T22" fmla="*/ 51 w 427"/>
                <a:gd name="T23" fmla="*/ 175 h 226"/>
                <a:gd name="T24" fmla="*/ 75 w 427"/>
                <a:gd name="T25" fmla="*/ 225 h 226"/>
                <a:gd name="T26" fmla="*/ 75 w 427"/>
                <a:gd name="T27" fmla="*/ 225 h 226"/>
                <a:gd name="T28" fmla="*/ 151 w 427"/>
                <a:gd name="T29" fmla="*/ 225 h 226"/>
                <a:gd name="T30" fmla="*/ 200 w 427"/>
                <a:gd name="T31" fmla="*/ 150 h 226"/>
                <a:gd name="T32" fmla="*/ 251 w 427"/>
                <a:gd name="T33" fmla="*/ 200 h 226"/>
                <a:gd name="T34" fmla="*/ 275 w 427"/>
                <a:gd name="T35" fmla="*/ 175 h 226"/>
                <a:gd name="T36" fmla="*/ 326 w 427"/>
                <a:gd name="T37" fmla="*/ 150 h 226"/>
                <a:gd name="T38" fmla="*/ 351 w 427"/>
                <a:gd name="T39" fmla="*/ 150 h 226"/>
                <a:gd name="T40" fmla="*/ 375 w 427"/>
                <a:gd name="T41" fmla="*/ 125 h 226"/>
                <a:gd name="T42" fmla="*/ 400 w 427"/>
                <a:gd name="T43" fmla="*/ 125 h 226"/>
                <a:gd name="T44" fmla="*/ 426 w 427"/>
                <a:gd name="T45" fmla="*/ 100 h 226"/>
                <a:gd name="T46" fmla="*/ 375 w 427"/>
                <a:gd name="T47" fmla="*/ 10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7" h="226">
                  <a:moveTo>
                    <a:pt x="375" y="100"/>
                  </a:moveTo>
                  <a:lnTo>
                    <a:pt x="375" y="100"/>
                  </a:lnTo>
                  <a:cubicBezTo>
                    <a:pt x="351" y="100"/>
                    <a:pt x="326" y="75"/>
                    <a:pt x="326" y="75"/>
                  </a:cubicBezTo>
                  <a:cubicBezTo>
                    <a:pt x="326" y="50"/>
                    <a:pt x="326" y="50"/>
                    <a:pt x="326" y="25"/>
                  </a:cubicBezTo>
                  <a:cubicBezTo>
                    <a:pt x="300" y="25"/>
                    <a:pt x="275" y="0"/>
                    <a:pt x="275" y="0"/>
                  </a:cubicBezTo>
                  <a:cubicBezTo>
                    <a:pt x="251" y="0"/>
                    <a:pt x="226" y="0"/>
                    <a:pt x="200" y="0"/>
                  </a:cubicBezTo>
                  <a:cubicBezTo>
                    <a:pt x="200" y="0"/>
                    <a:pt x="151" y="0"/>
                    <a:pt x="126" y="0"/>
                  </a:cubicBezTo>
                  <a:cubicBezTo>
                    <a:pt x="126" y="25"/>
                    <a:pt x="126" y="25"/>
                    <a:pt x="126" y="25"/>
                  </a:cubicBezTo>
                  <a:cubicBezTo>
                    <a:pt x="100" y="25"/>
                    <a:pt x="75" y="50"/>
                    <a:pt x="75" y="50"/>
                  </a:cubicBezTo>
                  <a:cubicBezTo>
                    <a:pt x="51" y="75"/>
                    <a:pt x="26" y="100"/>
                    <a:pt x="0" y="125"/>
                  </a:cubicBezTo>
                  <a:cubicBezTo>
                    <a:pt x="0" y="175"/>
                    <a:pt x="0" y="200"/>
                    <a:pt x="26" y="175"/>
                  </a:cubicBezTo>
                  <a:cubicBezTo>
                    <a:pt x="26" y="150"/>
                    <a:pt x="51" y="150"/>
                    <a:pt x="51" y="175"/>
                  </a:cubicBezTo>
                  <a:cubicBezTo>
                    <a:pt x="51" y="200"/>
                    <a:pt x="75" y="200"/>
                    <a:pt x="75" y="225"/>
                  </a:cubicBezTo>
                  <a:lnTo>
                    <a:pt x="75" y="225"/>
                  </a:lnTo>
                  <a:cubicBezTo>
                    <a:pt x="100" y="225"/>
                    <a:pt x="151" y="225"/>
                    <a:pt x="151" y="225"/>
                  </a:cubicBezTo>
                  <a:cubicBezTo>
                    <a:pt x="175" y="225"/>
                    <a:pt x="200" y="150"/>
                    <a:pt x="200" y="150"/>
                  </a:cubicBezTo>
                  <a:cubicBezTo>
                    <a:pt x="200" y="150"/>
                    <a:pt x="226" y="200"/>
                    <a:pt x="251" y="200"/>
                  </a:cubicBezTo>
                  <a:cubicBezTo>
                    <a:pt x="275" y="225"/>
                    <a:pt x="275" y="200"/>
                    <a:pt x="275" y="175"/>
                  </a:cubicBezTo>
                  <a:cubicBezTo>
                    <a:pt x="275" y="150"/>
                    <a:pt x="300" y="150"/>
                    <a:pt x="326" y="150"/>
                  </a:cubicBezTo>
                  <a:cubicBezTo>
                    <a:pt x="326" y="150"/>
                    <a:pt x="351" y="175"/>
                    <a:pt x="351" y="150"/>
                  </a:cubicBezTo>
                  <a:cubicBezTo>
                    <a:pt x="351" y="125"/>
                    <a:pt x="375" y="125"/>
                    <a:pt x="375" y="125"/>
                  </a:cubicBezTo>
                  <a:cubicBezTo>
                    <a:pt x="400" y="125"/>
                    <a:pt x="400" y="125"/>
                    <a:pt x="400" y="125"/>
                  </a:cubicBezTo>
                  <a:cubicBezTo>
                    <a:pt x="426" y="100"/>
                    <a:pt x="426" y="100"/>
                    <a:pt x="426" y="100"/>
                  </a:cubicBezTo>
                  <a:cubicBezTo>
                    <a:pt x="400" y="100"/>
                    <a:pt x="375" y="75"/>
                    <a:pt x="375"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39" name="Freeform 84">
              <a:extLst>
                <a:ext uri="{FF2B5EF4-FFF2-40B4-BE49-F238E27FC236}">
                  <a16:creationId xmlns:a16="http://schemas.microsoft.com/office/drawing/2014/main" id="{F8301519-DCB0-DE68-E67B-FA64C758C8A2}"/>
                </a:ext>
              </a:extLst>
            </p:cNvPr>
            <p:cNvSpPr>
              <a:spLocks noChangeArrowheads="1"/>
            </p:cNvSpPr>
            <p:nvPr/>
          </p:nvSpPr>
          <p:spPr bwMode="auto">
            <a:xfrm>
              <a:off x="6924698" y="2629621"/>
              <a:ext cx="503284" cy="791508"/>
            </a:xfrm>
            <a:custGeom>
              <a:avLst/>
              <a:gdLst>
                <a:gd name="T0" fmla="*/ 850 w 1001"/>
                <a:gd name="T1" fmla="*/ 1301 h 1576"/>
                <a:gd name="T2" fmla="*/ 850 w 1001"/>
                <a:gd name="T3" fmla="*/ 1301 h 1576"/>
                <a:gd name="T4" fmla="*/ 975 w 1001"/>
                <a:gd name="T5" fmla="*/ 1176 h 1576"/>
                <a:gd name="T6" fmla="*/ 950 w 1001"/>
                <a:gd name="T7" fmla="*/ 1101 h 1576"/>
                <a:gd name="T8" fmla="*/ 850 w 1001"/>
                <a:gd name="T9" fmla="*/ 1001 h 1576"/>
                <a:gd name="T10" fmla="*/ 900 w 1001"/>
                <a:gd name="T11" fmla="*/ 950 h 1576"/>
                <a:gd name="T12" fmla="*/ 850 w 1001"/>
                <a:gd name="T13" fmla="*/ 901 h 1576"/>
                <a:gd name="T14" fmla="*/ 850 w 1001"/>
                <a:gd name="T15" fmla="*/ 850 h 1576"/>
                <a:gd name="T16" fmla="*/ 825 w 1001"/>
                <a:gd name="T17" fmla="*/ 825 h 1576"/>
                <a:gd name="T18" fmla="*/ 825 w 1001"/>
                <a:gd name="T19" fmla="*/ 801 h 1576"/>
                <a:gd name="T20" fmla="*/ 825 w 1001"/>
                <a:gd name="T21" fmla="*/ 725 h 1576"/>
                <a:gd name="T22" fmla="*/ 850 w 1001"/>
                <a:gd name="T23" fmla="*/ 676 h 1576"/>
                <a:gd name="T24" fmla="*/ 775 w 1001"/>
                <a:gd name="T25" fmla="*/ 525 h 1576"/>
                <a:gd name="T26" fmla="*/ 800 w 1001"/>
                <a:gd name="T27" fmla="*/ 476 h 1576"/>
                <a:gd name="T28" fmla="*/ 850 w 1001"/>
                <a:gd name="T29" fmla="*/ 401 h 1576"/>
                <a:gd name="T30" fmla="*/ 775 w 1001"/>
                <a:gd name="T31" fmla="*/ 350 h 1576"/>
                <a:gd name="T32" fmla="*/ 725 w 1001"/>
                <a:gd name="T33" fmla="*/ 301 h 1576"/>
                <a:gd name="T34" fmla="*/ 700 w 1001"/>
                <a:gd name="T35" fmla="*/ 250 h 1576"/>
                <a:gd name="T36" fmla="*/ 725 w 1001"/>
                <a:gd name="T37" fmla="*/ 200 h 1576"/>
                <a:gd name="T38" fmla="*/ 750 w 1001"/>
                <a:gd name="T39" fmla="*/ 175 h 1576"/>
                <a:gd name="T40" fmla="*/ 775 w 1001"/>
                <a:gd name="T41" fmla="*/ 150 h 1576"/>
                <a:gd name="T42" fmla="*/ 775 w 1001"/>
                <a:gd name="T43" fmla="*/ 76 h 1576"/>
                <a:gd name="T44" fmla="*/ 674 w 1001"/>
                <a:gd name="T45" fmla="*/ 25 h 1576"/>
                <a:gd name="T46" fmla="*/ 600 w 1001"/>
                <a:gd name="T47" fmla="*/ 25 h 1576"/>
                <a:gd name="T48" fmla="*/ 525 w 1001"/>
                <a:gd name="T49" fmla="*/ 50 h 1576"/>
                <a:gd name="T50" fmla="*/ 450 w 1001"/>
                <a:gd name="T51" fmla="*/ 100 h 1576"/>
                <a:gd name="T52" fmla="*/ 450 w 1001"/>
                <a:gd name="T53" fmla="*/ 175 h 1576"/>
                <a:gd name="T54" fmla="*/ 400 w 1001"/>
                <a:gd name="T55" fmla="*/ 250 h 1576"/>
                <a:gd name="T56" fmla="*/ 349 w 1001"/>
                <a:gd name="T57" fmla="*/ 225 h 1576"/>
                <a:gd name="T58" fmla="*/ 275 w 1001"/>
                <a:gd name="T59" fmla="*/ 225 h 1576"/>
                <a:gd name="T60" fmla="*/ 175 w 1001"/>
                <a:gd name="T61" fmla="*/ 225 h 1576"/>
                <a:gd name="T62" fmla="*/ 75 w 1001"/>
                <a:gd name="T63" fmla="*/ 150 h 1576"/>
                <a:gd name="T64" fmla="*/ 0 w 1001"/>
                <a:gd name="T65" fmla="*/ 175 h 1576"/>
                <a:gd name="T66" fmla="*/ 100 w 1001"/>
                <a:gd name="T67" fmla="*/ 250 h 1576"/>
                <a:gd name="T68" fmla="*/ 249 w 1001"/>
                <a:gd name="T69" fmla="*/ 350 h 1576"/>
                <a:gd name="T70" fmla="*/ 249 w 1001"/>
                <a:gd name="T71" fmla="*/ 425 h 1576"/>
                <a:gd name="T72" fmla="*/ 275 w 1001"/>
                <a:gd name="T73" fmla="*/ 525 h 1576"/>
                <a:gd name="T74" fmla="*/ 275 w 1001"/>
                <a:gd name="T75" fmla="*/ 601 h 1576"/>
                <a:gd name="T76" fmla="*/ 275 w 1001"/>
                <a:gd name="T77" fmla="*/ 650 h 1576"/>
                <a:gd name="T78" fmla="*/ 300 w 1001"/>
                <a:gd name="T79" fmla="*/ 701 h 1576"/>
                <a:gd name="T80" fmla="*/ 375 w 1001"/>
                <a:gd name="T81" fmla="*/ 725 h 1576"/>
                <a:gd name="T82" fmla="*/ 400 w 1001"/>
                <a:gd name="T83" fmla="*/ 801 h 1576"/>
                <a:gd name="T84" fmla="*/ 400 w 1001"/>
                <a:gd name="T85" fmla="*/ 825 h 1576"/>
                <a:gd name="T86" fmla="*/ 325 w 1001"/>
                <a:gd name="T87" fmla="*/ 876 h 1576"/>
                <a:gd name="T88" fmla="*/ 249 w 1001"/>
                <a:gd name="T89" fmla="*/ 976 h 1576"/>
                <a:gd name="T90" fmla="*/ 175 w 1001"/>
                <a:gd name="T91" fmla="*/ 1001 h 1576"/>
                <a:gd name="T92" fmla="*/ 125 w 1001"/>
                <a:gd name="T93" fmla="*/ 1050 h 1576"/>
                <a:gd name="T94" fmla="*/ 75 w 1001"/>
                <a:gd name="T95" fmla="*/ 1101 h 1576"/>
                <a:gd name="T96" fmla="*/ 25 w 1001"/>
                <a:gd name="T97" fmla="*/ 1150 h 1576"/>
                <a:gd name="T98" fmla="*/ 25 w 1001"/>
                <a:gd name="T99" fmla="*/ 1201 h 1576"/>
                <a:gd name="T100" fmla="*/ 49 w 1001"/>
                <a:gd name="T101" fmla="*/ 1276 h 1576"/>
                <a:gd name="T102" fmla="*/ 49 w 1001"/>
                <a:gd name="T103" fmla="*/ 1376 h 1576"/>
                <a:gd name="T104" fmla="*/ 25 w 1001"/>
                <a:gd name="T105" fmla="*/ 1476 h 1576"/>
                <a:gd name="T106" fmla="*/ 125 w 1001"/>
                <a:gd name="T107" fmla="*/ 1501 h 1576"/>
                <a:gd name="T108" fmla="*/ 175 w 1001"/>
                <a:gd name="T109" fmla="*/ 1550 h 1576"/>
                <a:gd name="T110" fmla="*/ 275 w 1001"/>
                <a:gd name="T111" fmla="*/ 1550 h 1576"/>
                <a:gd name="T112" fmla="*/ 575 w 1001"/>
                <a:gd name="T113" fmla="*/ 1501 h 1576"/>
                <a:gd name="T114" fmla="*/ 650 w 1001"/>
                <a:gd name="T115" fmla="*/ 1476 h 1576"/>
                <a:gd name="T116" fmla="*/ 700 w 1001"/>
                <a:gd name="T117" fmla="*/ 1425 h 1576"/>
                <a:gd name="T118" fmla="*/ 850 w 1001"/>
                <a:gd name="T119" fmla="*/ 1301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1" h="1576">
                  <a:moveTo>
                    <a:pt x="850" y="1301"/>
                  </a:moveTo>
                  <a:lnTo>
                    <a:pt x="850" y="1301"/>
                  </a:lnTo>
                  <a:cubicBezTo>
                    <a:pt x="874" y="1250"/>
                    <a:pt x="975" y="1225"/>
                    <a:pt x="975" y="1176"/>
                  </a:cubicBezTo>
                  <a:cubicBezTo>
                    <a:pt x="1000" y="1150"/>
                    <a:pt x="1000" y="1150"/>
                    <a:pt x="950" y="1101"/>
                  </a:cubicBezTo>
                  <a:cubicBezTo>
                    <a:pt x="925" y="1050"/>
                    <a:pt x="850" y="1025"/>
                    <a:pt x="850" y="1001"/>
                  </a:cubicBezTo>
                  <a:cubicBezTo>
                    <a:pt x="825" y="1001"/>
                    <a:pt x="900" y="976"/>
                    <a:pt x="900" y="950"/>
                  </a:cubicBezTo>
                  <a:cubicBezTo>
                    <a:pt x="900" y="925"/>
                    <a:pt x="850" y="925"/>
                    <a:pt x="850" y="901"/>
                  </a:cubicBezTo>
                  <a:cubicBezTo>
                    <a:pt x="825" y="876"/>
                    <a:pt x="874" y="876"/>
                    <a:pt x="850" y="850"/>
                  </a:cubicBezTo>
                  <a:cubicBezTo>
                    <a:pt x="850" y="850"/>
                    <a:pt x="825" y="850"/>
                    <a:pt x="825" y="825"/>
                  </a:cubicBezTo>
                  <a:cubicBezTo>
                    <a:pt x="800" y="825"/>
                    <a:pt x="850" y="825"/>
                    <a:pt x="825" y="801"/>
                  </a:cubicBezTo>
                  <a:cubicBezTo>
                    <a:pt x="825" y="776"/>
                    <a:pt x="800" y="750"/>
                    <a:pt x="825" y="725"/>
                  </a:cubicBezTo>
                  <a:cubicBezTo>
                    <a:pt x="850" y="701"/>
                    <a:pt x="874" y="725"/>
                    <a:pt x="850" y="676"/>
                  </a:cubicBezTo>
                  <a:cubicBezTo>
                    <a:pt x="825" y="625"/>
                    <a:pt x="775" y="550"/>
                    <a:pt x="775" y="525"/>
                  </a:cubicBezTo>
                  <a:cubicBezTo>
                    <a:pt x="750" y="525"/>
                    <a:pt x="775" y="501"/>
                    <a:pt x="800" y="476"/>
                  </a:cubicBezTo>
                  <a:cubicBezTo>
                    <a:pt x="800" y="476"/>
                    <a:pt x="850" y="425"/>
                    <a:pt x="850" y="401"/>
                  </a:cubicBezTo>
                  <a:cubicBezTo>
                    <a:pt x="850" y="401"/>
                    <a:pt x="800" y="350"/>
                    <a:pt x="775" y="350"/>
                  </a:cubicBezTo>
                  <a:cubicBezTo>
                    <a:pt x="775" y="325"/>
                    <a:pt x="750" y="325"/>
                    <a:pt x="725" y="301"/>
                  </a:cubicBezTo>
                  <a:cubicBezTo>
                    <a:pt x="700" y="275"/>
                    <a:pt x="700" y="275"/>
                    <a:pt x="700" y="250"/>
                  </a:cubicBezTo>
                  <a:cubicBezTo>
                    <a:pt x="725" y="225"/>
                    <a:pt x="725" y="225"/>
                    <a:pt x="725" y="200"/>
                  </a:cubicBezTo>
                  <a:cubicBezTo>
                    <a:pt x="725" y="175"/>
                    <a:pt x="750" y="200"/>
                    <a:pt x="750" y="175"/>
                  </a:cubicBezTo>
                  <a:cubicBezTo>
                    <a:pt x="775" y="150"/>
                    <a:pt x="775" y="150"/>
                    <a:pt x="775" y="150"/>
                  </a:cubicBezTo>
                  <a:cubicBezTo>
                    <a:pt x="775" y="125"/>
                    <a:pt x="775" y="100"/>
                    <a:pt x="775" y="76"/>
                  </a:cubicBezTo>
                  <a:cubicBezTo>
                    <a:pt x="775" y="50"/>
                    <a:pt x="700" y="50"/>
                    <a:pt x="674" y="25"/>
                  </a:cubicBezTo>
                  <a:cubicBezTo>
                    <a:pt x="674" y="0"/>
                    <a:pt x="625" y="0"/>
                    <a:pt x="600" y="25"/>
                  </a:cubicBezTo>
                  <a:cubicBezTo>
                    <a:pt x="600" y="50"/>
                    <a:pt x="525" y="25"/>
                    <a:pt x="525" y="50"/>
                  </a:cubicBezTo>
                  <a:cubicBezTo>
                    <a:pt x="525" y="76"/>
                    <a:pt x="450" y="76"/>
                    <a:pt x="450" y="100"/>
                  </a:cubicBezTo>
                  <a:cubicBezTo>
                    <a:pt x="450" y="125"/>
                    <a:pt x="475" y="200"/>
                    <a:pt x="450" y="175"/>
                  </a:cubicBezTo>
                  <a:cubicBezTo>
                    <a:pt x="400" y="175"/>
                    <a:pt x="425" y="200"/>
                    <a:pt x="400" y="250"/>
                  </a:cubicBezTo>
                  <a:cubicBezTo>
                    <a:pt x="375" y="275"/>
                    <a:pt x="375" y="225"/>
                    <a:pt x="349" y="225"/>
                  </a:cubicBezTo>
                  <a:cubicBezTo>
                    <a:pt x="325" y="225"/>
                    <a:pt x="275" y="200"/>
                    <a:pt x="275" y="225"/>
                  </a:cubicBezTo>
                  <a:cubicBezTo>
                    <a:pt x="249" y="250"/>
                    <a:pt x="225" y="225"/>
                    <a:pt x="175" y="225"/>
                  </a:cubicBezTo>
                  <a:cubicBezTo>
                    <a:pt x="125" y="200"/>
                    <a:pt x="100" y="150"/>
                    <a:pt x="75" y="150"/>
                  </a:cubicBezTo>
                  <a:cubicBezTo>
                    <a:pt x="49" y="150"/>
                    <a:pt x="25" y="150"/>
                    <a:pt x="0" y="175"/>
                  </a:cubicBezTo>
                  <a:cubicBezTo>
                    <a:pt x="49" y="200"/>
                    <a:pt x="75" y="250"/>
                    <a:pt x="100" y="250"/>
                  </a:cubicBezTo>
                  <a:cubicBezTo>
                    <a:pt x="149" y="275"/>
                    <a:pt x="249" y="301"/>
                    <a:pt x="249" y="350"/>
                  </a:cubicBezTo>
                  <a:cubicBezTo>
                    <a:pt x="249" y="376"/>
                    <a:pt x="225" y="425"/>
                    <a:pt x="249" y="425"/>
                  </a:cubicBezTo>
                  <a:cubicBezTo>
                    <a:pt x="275" y="450"/>
                    <a:pt x="249" y="501"/>
                    <a:pt x="275" y="525"/>
                  </a:cubicBezTo>
                  <a:cubicBezTo>
                    <a:pt x="300" y="525"/>
                    <a:pt x="275" y="601"/>
                    <a:pt x="275" y="601"/>
                  </a:cubicBezTo>
                  <a:cubicBezTo>
                    <a:pt x="249" y="601"/>
                    <a:pt x="275" y="625"/>
                    <a:pt x="275" y="650"/>
                  </a:cubicBezTo>
                  <a:cubicBezTo>
                    <a:pt x="300" y="650"/>
                    <a:pt x="300" y="676"/>
                    <a:pt x="300" y="701"/>
                  </a:cubicBezTo>
                  <a:cubicBezTo>
                    <a:pt x="325" y="701"/>
                    <a:pt x="349" y="701"/>
                    <a:pt x="375" y="725"/>
                  </a:cubicBezTo>
                  <a:cubicBezTo>
                    <a:pt x="400" y="750"/>
                    <a:pt x="400" y="776"/>
                    <a:pt x="400" y="801"/>
                  </a:cubicBezTo>
                  <a:cubicBezTo>
                    <a:pt x="400" y="825"/>
                    <a:pt x="400" y="850"/>
                    <a:pt x="400" y="825"/>
                  </a:cubicBezTo>
                  <a:cubicBezTo>
                    <a:pt x="375" y="825"/>
                    <a:pt x="349" y="825"/>
                    <a:pt x="325" y="876"/>
                  </a:cubicBezTo>
                  <a:cubicBezTo>
                    <a:pt x="325" y="901"/>
                    <a:pt x="275" y="950"/>
                    <a:pt x="249" y="976"/>
                  </a:cubicBezTo>
                  <a:cubicBezTo>
                    <a:pt x="200" y="976"/>
                    <a:pt x="200" y="1001"/>
                    <a:pt x="175" y="1001"/>
                  </a:cubicBezTo>
                  <a:cubicBezTo>
                    <a:pt x="149" y="1025"/>
                    <a:pt x="125" y="1025"/>
                    <a:pt x="125" y="1050"/>
                  </a:cubicBezTo>
                  <a:cubicBezTo>
                    <a:pt x="125" y="1101"/>
                    <a:pt x="100" y="1101"/>
                    <a:pt x="75" y="1101"/>
                  </a:cubicBezTo>
                  <a:cubicBezTo>
                    <a:pt x="49" y="1101"/>
                    <a:pt x="49" y="1150"/>
                    <a:pt x="25" y="1150"/>
                  </a:cubicBezTo>
                  <a:cubicBezTo>
                    <a:pt x="0" y="1176"/>
                    <a:pt x="0" y="1176"/>
                    <a:pt x="25" y="1201"/>
                  </a:cubicBezTo>
                  <a:cubicBezTo>
                    <a:pt x="49" y="1225"/>
                    <a:pt x="25" y="1250"/>
                    <a:pt x="49" y="1276"/>
                  </a:cubicBezTo>
                  <a:cubicBezTo>
                    <a:pt x="49" y="1301"/>
                    <a:pt x="75" y="1325"/>
                    <a:pt x="49" y="1376"/>
                  </a:cubicBezTo>
                  <a:cubicBezTo>
                    <a:pt x="25" y="1425"/>
                    <a:pt x="25" y="1476"/>
                    <a:pt x="25" y="1476"/>
                  </a:cubicBezTo>
                  <a:cubicBezTo>
                    <a:pt x="49" y="1476"/>
                    <a:pt x="100" y="1501"/>
                    <a:pt x="125" y="1501"/>
                  </a:cubicBezTo>
                  <a:cubicBezTo>
                    <a:pt x="149" y="1501"/>
                    <a:pt x="149" y="1550"/>
                    <a:pt x="175" y="1550"/>
                  </a:cubicBezTo>
                  <a:cubicBezTo>
                    <a:pt x="200" y="1526"/>
                    <a:pt x="200" y="1575"/>
                    <a:pt x="275" y="1550"/>
                  </a:cubicBezTo>
                  <a:cubicBezTo>
                    <a:pt x="349" y="1550"/>
                    <a:pt x="500" y="1501"/>
                    <a:pt x="575" y="1501"/>
                  </a:cubicBezTo>
                  <a:cubicBezTo>
                    <a:pt x="600" y="1501"/>
                    <a:pt x="625" y="1501"/>
                    <a:pt x="650" y="1476"/>
                  </a:cubicBezTo>
                  <a:cubicBezTo>
                    <a:pt x="674" y="1476"/>
                    <a:pt x="674" y="1450"/>
                    <a:pt x="700" y="1425"/>
                  </a:cubicBezTo>
                  <a:cubicBezTo>
                    <a:pt x="750" y="1401"/>
                    <a:pt x="825" y="1350"/>
                    <a:pt x="850" y="130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1" name="Freeform 93">
              <a:extLst>
                <a:ext uri="{FF2B5EF4-FFF2-40B4-BE49-F238E27FC236}">
                  <a16:creationId xmlns:a16="http://schemas.microsoft.com/office/drawing/2014/main" id="{0A5F32F7-9E87-1063-5EF1-A8336FACC160}"/>
                </a:ext>
              </a:extLst>
            </p:cNvPr>
            <p:cNvSpPr>
              <a:spLocks noChangeArrowheads="1"/>
            </p:cNvSpPr>
            <p:nvPr/>
          </p:nvSpPr>
          <p:spPr bwMode="auto">
            <a:xfrm>
              <a:off x="5718588" y="4013099"/>
              <a:ext cx="691737" cy="578664"/>
            </a:xfrm>
            <a:custGeom>
              <a:avLst/>
              <a:gdLst>
                <a:gd name="T0" fmla="*/ 1201 w 1377"/>
                <a:gd name="T1" fmla="*/ 275 h 1151"/>
                <a:gd name="T2" fmla="*/ 1101 w 1377"/>
                <a:gd name="T3" fmla="*/ 224 h 1151"/>
                <a:gd name="T4" fmla="*/ 950 w 1377"/>
                <a:gd name="T5" fmla="*/ 175 h 1151"/>
                <a:gd name="T6" fmla="*/ 876 w 1377"/>
                <a:gd name="T7" fmla="*/ 150 h 1151"/>
                <a:gd name="T8" fmla="*/ 800 w 1377"/>
                <a:gd name="T9" fmla="*/ 75 h 1151"/>
                <a:gd name="T10" fmla="*/ 700 w 1377"/>
                <a:gd name="T11" fmla="*/ 25 h 1151"/>
                <a:gd name="T12" fmla="*/ 676 w 1377"/>
                <a:gd name="T13" fmla="*/ 0 h 1151"/>
                <a:gd name="T14" fmla="*/ 525 w 1377"/>
                <a:gd name="T15" fmla="*/ 150 h 1151"/>
                <a:gd name="T16" fmla="*/ 350 w 1377"/>
                <a:gd name="T17" fmla="*/ 175 h 1151"/>
                <a:gd name="T18" fmla="*/ 300 w 1377"/>
                <a:gd name="T19" fmla="*/ 325 h 1151"/>
                <a:gd name="T20" fmla="*/ 176 w 1377"/>
                <a:gd name="T21" fmla="*/ 275 h 1151"/>
                <a:gd name="T22" fmla="*/ 25 w 1377"/>
                <a:gd name="T23" fmla="*/ 350 h 1151"/>
                <a:gd name="T24" fmla="*/ 150 w 1377"/>
                <a:gd name="T25" fmla="*/ 450 h 1151"/>
                <a:gd name="T26" fmla="*/ 275 w 1377"/>
                <a:gd name="T27" fmla="*/ 500 h 1151"/>
                <a:gd name="T28" fmla="*/ 350 w 1377"/>
                <a:gd name="T29" fmla="*/ 650 h 1151"/>
                <a:gd name="T30" fmla="*/ 300 w 1377"/>
                <a:gd name="T31" fmla="*/ 950 h 1151"/>
                <a:gd name="T32" fmla="*/ 350 w 1377"/>
                <a:gd name="T33" fmla="*/ 975 h 1151"/>
                <a:gd name="T34" fmla="*/ 525 w 1377"/>
                <a:gd name="T35" fmla="*/ 1000 h 1151"/>
                <a:gd name="T36" fmla="*/ 676 w 1377"/>
                <a:gd name="T37" fmla="*/ 1050 h 1151"/>
                <a:gd name="T38" fmla="*/ 776 w 1377"/>
                <a:gd name="T39" fmla="*/ 1025 h 1151"/>
                <a:gd name="T40" fmla="*/ 1025 w 1377"/>
                <a:gd name="T41" fmla="*/ 975 h 1151"/>
                <a:gd name="T42" fmla="*/ 1176 w 1377"/>
                <a:gd name="T43" fmla="*/ 900 h 1151"/>
                <a:gd name="T44" fmla="*/ 1150 w 1377"/>
                <a:gd name="T45" fmla="*/ 850 h 1151"/>
                <a:gd name="T46" fmla="*/ 1101 w 1377"/>
                <a:gd name="T47" fmla="*/ 750 h 1151"/>
                <a:gd name="T48" fmla="*/ 1125 w 1377"/>
                <a:gd name="T49" fmla="*/ 700 h 1151"/>
                <a:gd name="T50" fmla="*/ 1101 w 1377"/>
                <a:gd name="T51" fmla="*/ 600 h 1151"/>
                <a:gd name="T52" fmla="*/ 1050 w 1377"/>
                <a:gd name="T53" fmla="*/ 550 h 1151"/>
                <a:gd name="T54" fmla="*/ 1176 w 1377"/>
                <a:gd name="T55" fmla="*/ 450 h 1151"/>
                <a:gd name="T56" fmla="*/ 1225 w 1377"/>
                <a:gd name="T57" fmla="*/ 300 h 1151"/>
                <a:gd name="T58" fmla="*/ 1350 w 1377"/>
                <a:gd name="T59" fmla="*/ 975 h 1151"/>
                <a:gd name="T60" fmla="*/ 1301 w 1377"/>
                <a:gd name="T61" fmla="*/ 1025 h 1151"/>
                <a:gd name="T62" fmla="*/ 1350 w 1377"/>
                <a:gd name="T63" fmla="*/ 97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7" h="1151">
                  <a:moveTo>
                    <a:pt x="1201" y="275"/>
                  </a:moveTo>
                  <a:lnTo>
                    <a:pt x="1201" y="275"/>
                  </a:lnTo>
                  <a:cubicBezTo>
                    <a:pt x="1201" y="275"/>
                    <a:pt x="1176" y="250"/>
                    <a:pt x="1150" y="250"/>
                  </a:cubicBezTo>
                  <a:cubicBezTo>
                    <a:pt x="1125" y="250"/>
                    <a:pt x="1101" y="250"/>
                    <a:pt x="1101" y="224"/>
                  </a:cubicBezTo>
                  <a:cubicBezTo>
                    <a:pt x="1076" y="200"/>
                    <a:pt x="1025" y="200"/>
                    <a:pt x="1000" y="200"/>
                  </a:cubicBezTo>
                  <a:cubicBezTo>
                    <a:pt x="976" y="200"/>
                    <a:pt x="976" y="175"/>
                    <a:pt x="950" y="175"/>
                  </a:cubicBezTo>
                  <a:cubicBezTo>
                    <a:pt x="925" y="175"/>
                    <a:pt x="925" y="150"/>
                    <a:pt x="925" y="124"/>
                  </a:cubicBezTo>
                  <a:cubicBezTo>
                    <a:pt x="925" y="124"/>
                    <a:pt x="900" y="150"/>
                    <a:pt x="876" y="150"/>
                  </a:cubicBezTo>
                  <a:cubicBezTo>
                    <a:pt x="850" y="150"/>
                    <a:pt x="850" y="124"/>
                    <a:pt x="850" y="124"/>
                  </a:cubicBezTo>
                  <a:cubicBezTo>
                    <a:pt x="850" y="100"/>
                    <a:pt x="800" y="100"/>
                    <a:pt x="800" y="75"/>
                  </a:cubicBezTo>
                  <a:cubicBezTo>
                    <a:pt x="776" y="75"/>
                    <a:pt x="750" y="50"/>
                    <a:pt x="750" y="50"/>
                  </a:cubicBezTo>
                  <a:cubicBezTo>
                    <a:pt x="725" y="75"/>
                    <a:pt x="725" y="25"/>
                    <a:pt x="700" y="25"/>
                  </a:cubicBezTo>
                  <a:cubicBezTo>
                    <a:pt x="700" y="0"/>
                    <a:pt x="700" y="0"/>
                    <a:pt x="700" y="0"/>
                  </a:cubicBezTo>
                  <a:lnTo>
                    <a:pt x="676" y="0"/>
                  </a:lnTo>
                  <a:cubicBezTo>
                    <a:pt x="650" y="0"/>
                    <a:pt x="625" y="25"/>
                    <a:pt x="625" y="100"/>
                  </a:cubicBezTo>
                  <a:cubicBezTo>
                    <a:pt x="625" y="150"/>
                    <a:pt x="576" y="150"/>
                    <a:pt x="525" y="150"/>
                  </a:cubicBezTo>
                  <a:cubicBezTo>
                    <a:pt x="475" y="150"/>
                    <a:pt x="475" y="200"/>
                    <a:pt x="475" y="224"/>
                  </a:cubicBezTo>
                  <a:cubicBezTo>
                    <a:pt x="450" y="250"/>
                    <a:pt x="350" y="200"/>
                    <a:pt x="350" y="175"/>
                  </a:cubicBezTo>
                  <a:cubicBezTo>
                    <a:pt x="325" y="150"/>
                    <a:pt x="250" y="175"/>
                    <a:pt x="300" y="224"/>
                  </a:cubicBezTo>
                  <a:cubicBezTo>
                    <a:pt x="325" y="250"/>
                    <a:pt x="325" y="300"/>
                    <a:pt x="300" y="325"/>
                  </a:cubicBezTo>
                  <a:cubicBezTo>
                    <a:pt x="275" y="325"/>
                    <a:pt x="250" y="300"/>
                    <a:pt x="225" y="325"/>
                  </a:cubicBezTo>
                  <a:cubicBezTo>
                    <a:pt x="200" y="325"/>
                    <a:pt x="200" y="300"/>
                    <a:pt x="176" y="275"/>
                  </a:cubicBezTo>
                  <a:cubicBezTo>
                    <a:pt x="125" y="275"/>
                    <a:pt x="125" y="300"/>
                    <a:pt x="75" y="300"/>
                  </a:cubicBezTo>
                  <a:cubicBezTo>
                    <a:pt x="25" y="300"/>
                    <a:pt x="0" y="325"/>
                    <a:pt x="25" y="350"/>
                  </a:cubicBezTo>
                  <a:cubicBezTo>
                    <a:pt x="25" y="350"/>
                    <a:pt x="0" y="375"/>
                    <a:pt x="25" y="400"/>
                  </a:cubicBezTo>
                  <a:cubicBezTo>
                    <a:pt x="50" y="425"/>
                    <a:pt x="100" y="425"/>
                    <a:pt x="150" y="450"/>
                  </a:cubicBezTo>
                  <a:cubicBezTo>
                    <a:pt x="200" y="475"/>
                    <a:pt x="200" y="450"/>
                    <a:pt x="225" y="450"/>
                  </a:cubicBezTo>
                  <a:cubicBezTo>
                    <a:pt x="250" y="475"/>
                    <a:pt x="250" y="475"/>
                    <a:pt x="275" y="500"/>
                  </a:cubicBezTo>
                  <a:cubicBezTo>
                    <a:pt x="275" y="525"/>
                    <a:pt x="300" y="575"/>
                    <a:pt x="325" y="575"/>
                  </a:cubicBezTo>
                  <a:cubicBezTo>
                    <a:pt x="376" y="600"/>
                    <a:pt x="350" y="625"/>
                    <a:pt x="350" y="650"/>
                  </a:cubicBezTo>
                  <a:cubicBezTo>
                    <a:pt x="376" y="675"/>
                    <a:pt x="350" y="725"/>
                    <a:pt x="350" y="775"/>
                  </a:cubicBezTo>
                  <a:cubicBezTo>
                    <a:pt x="350" y="800"/>
                    <a:pt x="325" y="925"/>
                    <a:pt x="300" y="950"/>
                  </a:cubicBezTo>
                  <a:lnTo>
                    <a:pt x="300" y="950"/>
                  </a:lnTo>
                  <a:cubicBezTo>
                    <a:pt x="325" y="950"/>
                    <a:pt x="350" y="950"/>
                    <a:pt x="350" y="975"/>
                  </a:cubicBezTo>
                  <a:cubicBezTo>
                    <a:pt x="376" y="975"/>
                    <a:pt x="425" y="1000"/>
                    <a:pt x="450" y="1000"/>
                  </a:cubicBezTo>
                  <a:cubicBezTo>
                    <a:pt x="475" y="1025"/>
                    <a:pt x="525" y="1025"/>
                    <a:pt x="525" y="1000"/>
                  </a:cubicBezTo>
                  <a:cubicBezTo>
                    <a:pt x="525" y="975"/>
                    <a:pt x="550" y="1000"/>
                    <a:pt x="550" y="1025"/>
                  </a:cubicBezTo>
                  <a:cubicBezTo>
                    <a:pt x="576" y="1025"/>
                    <a:pt x="650" y="1025"/>
                    <a:pt x="676" y="1050"/>
                  </a:cubicBezTo>
                  <a:cubicBezTo>
                    <a:pt x="700" y="1050"/>
                    <a:pt x="725" y="1050"/>
                    <a:pt x="776" y="1050"/>
                  </a:cubicBezTo>
                  <a:cubicBezTo>
                    <a:pt x="776" y="1025"/>
                    <a:pt x="776" y="1025"/>
                    <a:pt x="776" y="1025"/>
                  </a:cubicBezTo>
                  <a:cubicBezTo>
                    <a:pt x="750" y="975"/>
                    <a:pt x="800" y="925"/>
                    <a:pt x="850" y="925"/>
                  </a:cubicBezTo>
                  <a:cubicBezTo>
                    <a:pt x="876" y="925"/>
                    <a:pt x="976" y="950"/>
                    <a:pt x="1025" y="975"/>
                  </a:cubicBezTo>
                  <a:cubicBezTo>
                    <a:pt x="1050" y="975"/>
                    <a:pt x="1076" y="975"/>
                    <a:pt x="1125" y="925"/>
                  </a:cubicBezTo>
                  <a:cubicBezTo>
                    <a:pt x="1150" y="900"/>
                    <a:pt x="1176" y="900"/>
                    <a:pt x="1176" y="900"/>
                  </a:cubicBezTo>
                  <a:cubicBezTo>
                    <a:pt x="1176" y="875"/>
                    <a:pt x="1176" y="875"/>
                    <a:pt x="1201" y="850"/>
                  </a:cubicBezTo>
                  <a:cubicBezTo>
                    <a:pt x="1201" y="850"/>
                    <a:pt x="1176" y="850"/>
                    <a:pt x="1150" y="850"/>
                  </a:cubicBezTo>
                  <a:cubicBezTo>
                    <a:pt x="1125" y="850"/>
                    <a:pt x="1101" y="825"/>
                    <a:pt x="1125" y="800"/>
                  </a:cubicBezTo>
                  <a:cubicBezTo>
                    <a:pt x="1150" y="775"/>
                    <a:pt x="1125" y="775"/>
                    <a:pt x="1101" y="750"/>
                  </a:cubicBezTo>
                  <a:cubicBezTo>
                    <a:pt x="1076" y="725"/>
                    <a:pt x="1101" y="725"/>
                    <a:pt x="1125" y="725"/>
                  </a:cubicBezTo>
                  <a:cubicBezTo>
                    <a:pt x="1125" y="725"/>
                    <a:pt x="1150" y="700"/>
                    <a:pt x="1125" y="700"/>
                  </a:cubicBezTo>
                  <a:cubicBezTo>
                    <a:pt x="1125" y="675"/>
                    <a:pt x="1125" y="675"/>
                    <a:pt x="1125" y="650"/>
                  </a:cubicBezTo>
                  <a:cubicBezTo>
                    <a:pt x="1125" y="625"/>
                    <a:pt x="1101" y="625"/>
                    <a:pt x="1101" y="600"/>
                  </a:cubicBezTo>
                  <a:cubicBezTo>
                    <a:pt x="1101" y="575"/>
                    <a:pt x="1076" y="575"/>
                    <a:pt x="1076" y="600"/>
                  </a:cubicBezTo>
                  <a:cubicBezTo>
                    <a:pt x="1050" y="625"/>
                    <a:pt x="1050" y="600"/>
                    <a:pt x="1050" y="550"/>
                  </a:cubicBezTo>
                  <a:cubicBezTo>
                    <a:pt x="1076" y="525"/>
                    <a:pt x="1101" y="500"/>
                    <a:pt x="1125" y="475"/>
                  </a:cubicBezTo>
                  <a:cubicBezTo>
                    <a:pt x="1125" y="475"/>
                    <a:pt x="1150" y="450"/>
                    <a:pt x="1176" y="450"/>
                  </a:cubicBezTo>
                  <a:cubicBezTo>
                    <a:pt x="1176" y="450"/>
                    <a:pt x="1176" y="400"/>
                    <a:pt x="1176" y="375"/>
                  </a:cubicBezTo>
                  <a:cubicBezTo>
                    <a:pt x="1201" y="350"/>
                    <a:pt x="1201" y="325"/>
                    <a:pt x="1225" y="300"/>
                  </a:cubicBezTo>
                  <a:cubicBezTo>
                    <a:pt x="1250" y="275"/>
                    <a:pt x="1225" y="275"/>
                    <a:pt x="1201" y="275"/>
                  </a:cubicBezTo>
                  <a:close/>
                  <a:moveTo>
                    <a:pt x="1350" y="975"/>
                  </a:moveTo>
                  <a:lnTo>
                    <a:pt x="1350" y="975"/>
                  </a:lnTo>
                  <a:cubicBezTo>
                    <a:pt x="1325" y="975"/>
                    <a:pt x="1325" y="1000"/>
                    <a:pt x="1301" y="1025"/>
                  </a:cubicBezTo>
                  <a:cubicBezTo>
                    <a:pt x="1250" y="1050"/>
                    <a:pt x="1301" y="1150"/>
                    <a:pt x="1325" y="1150"/>
                  </a:cubicBezTo>
                  <a:cubicBezTo>
                    <a:pt x="1376" y="1150"/>
                    <a:pt x="1376" y="975"/>
                    <a:pt x="1350" y="97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2" name="Freeform 126">
              <a:extLst>
                <a:ext uri="{FF2B5EF4-FFF2-40B4-BE49-F238E27FC236}">
                  <a16:creationId xmlns:a16="http://schemas.microsoft.com/office/drawing/2014/main" id="{801DB409-9B86-BDE9-3837-12C09F6979DD}"/>
                </a:ext>
              </a:extLst>
            </p:cNvPr>
            <p:cNvSpPr>
              <a:spLocks noChangeArrowheads="1"/>
            </p:cNvSpPr>
            <p:nvPr/>
          </p:nvSpPr>
          <p:spPr bwMode="auto">
            <a:xfrm>
              <a:off x="6561088" y="4276934"/>
              <a:ext cx="164065" cy="88683"/>
            </a:xfrm>
            <a:custGeom>
              <a:avLst/>
              <a:gdLst>
                <a:gd name="T0" fmla="*/ 0 w 326"/>
                <a:gd name="T1" fmla="*/ 150 h 176"/>
                <a:gd name="T2" fmla="*/ 0 w 326"/>
                <a:gd name="T3" fmla="*/ 150 h 176"/>
                <a:gd name="T4" fmla="*/ 49 w 326"/>
                <a:gd name="T5" fmla="*/ 150 h 176"/>
                <a:gd name="T6" fmla="*/ 74 w 326"/>
                <a:gd name="T7" fmla="*/ 175 h 176"/>
                <a:gd name="T8" fmla="*/ 149 w 326"/>
                <a:gd name="T9" fmla="*/ 150 h 176"/>
                <a:gd name="T10" fmla="*/ 200 w 326"/>
                <a:gd name="T11" fmla="*/ 150 h 176"/>
                <a:gd name="T12" fmla="*/ 225 w 326"/>
                <a:gd name="T13" fmla="*/ 125 h 176"/>
                <a:gd name="T14" fmla="*/ 249 w 326"/>
                <a:gd name="T15" fmla="*/ 75 h 176"/>
                <a:gd name="T16" fmla="*/ 325 w 326"/>
                <a:gd name="T17" fmla="*/ 25 h 176"/>
                <a:gd name="T18" fmla="*/ 300 w 326"/>
                <a:gd name="T19" fmla="*/ 0 h 176"/>
                <a:gd name="T20" fmla="*/ 225 w 326"/>
                <a:gd name="T21" fmla="*/ 25 h 176"/>
                <a:gd name="T22" fmla="*/ 149 w 326"/>
                <a:gd name="T23" fmla="*/ 50 h 176"/>
                <a:gd name="T24" fmla="*/ 49 w 326"/>
                <a:gd name="T25" fmla="*/ 25 h 176"/>
                <a:gd name="T26" fmla="*/ 0 w 326"/>
                <a:gd name="T27" fmla="*/ 25 h 176"/>
                <a:gd name="T28" fmla="*/ 0 w 326"/>
                <a:gd name="T29" fmla="*/ 1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6" h="176">
                  <a:moveTo>
                    <a:pt x="0" y="150"/>
                  </a:moveTo>
                  <a:lnTo>
                    <a:pt x="0" y="150"/>
                  </a:lnTo>
                  <a:cubicBezTo>
                    <a:pt x="25" y="150"/>
                    <a:pt x="49" y="125"/>
                    <a:pt x="49" y="150"/>
                  </a:cubicBezTo>
                  <a:cubicBezTo>
                    <a:pt x="74" y="150"/>
                    <a:pt x="74" y="150"/>
                    <a:pt x="74" y="175"/>
                  </a:cubicBezTo>
                  <a:cubicBezTo>
                    <a:pt x="99" y="175"/>
                    <a:pt x="125" y="150"/>
                    <a:pt x="149" y="150"/>
                  </a:cubicBezTo>
                  <a:cubicBezTo>
                    <a:pt x="149" y="150"/>
                    <a:pt x="200" y="175"/>
                    <a:pt x="200" y="150"/>
                  </a:cubicBezTo>
                  <a:lnTo>
                    <a:pt x="225" y="125"/>
                  </a:lnTo>
                  <a:cubicBezTo>
                    <a:pt x="249" y="125"/>
                    <a:pt x="249" y="75"/>
                    <a:pt x="249" y="75"/>
                  </a:cubicBezTo>
                  <a:cubicBezTo>
                    <a:pt x="274" y="75"/>
                    <a:pt x="325" y="25"/>
                    <a:pt x="325" y="25"/>
                  </a:cubicBezTo>
                  <a:lnTo>
                    <a:pt x="300" y="0"/>
                  </a:lnTo>
                  <a:cubicBezTo>
                    <a:pt x="274" y="0"/>
                    <a:pt x="274" y="25"/>
                    <a:pt x="225" y="25"/>
                  </a:cubicBezTo>
                  <a:cubicBezTo>
                    <a:pt x="200" y="25"/>
                    <a:pt x="174" y="50"/>
                    <a:pt x="149" y="50"/>
                  </a:cubicBezTo>
                  <a:cubicBezTo>
                    <a:pt x="125" y="50"/>
                    <a:pt x="74" y="25"/>
                    <a:pt x="49" y="25"/>
                  </a:cubicBezTo>
                  <a:cubicBezTo>
                    <a:pt x="25" y="25"/>
                    <a:pt x="25" y="25"/>
                    <a:pt x="0" y="25"/>
                  </a:cubicBezTo>
                  <a:cubicBezTo>
                    <a:pt x="0" y="50"/>
                    <a:pt x="0" y="100"/>
                    <a:pt x="0"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3" name="Freeform 127">
              <a:extLst>
                <a:ext uri="{FF2B5EF4-FFF2-40B4-BE49-F238E27FC236}">
                  <a16:creationId xmlns:a16="http://schemas.microsoft.com/office/drawing/2014/main" id="{EECB9AB0-46BC-C5D1-E3E6-9C11571691BC}"/>
                </a:ext>
              </a:extLst>
            </p:cNvPr>
            <p:cNvSpPr>
              <a:spLocks noChangeArrowheads="1"/>
            </p:cNvSpPr>
            <p:nvPr/>
          </p:nvSpPr>
          <p:spPr bwMode="auto">
            <a:xfrm>
              <a:off x="6887009" y="4578461"/>
              <a:ext cx="301527" cy="365825"/>
            </a:xfrm>
            <a:custGeom>
              <a:avLst/>
              <a:gdLst>
                <a:gd name="T0" fmla="*/ 575 w 601"/>
                <a:gd name="T1" fmla="*/ 0 h 726"/>
                <a:gd name="T2" fmla="*/ 575 w 601"/>
                <a:gd name="T3" fmla="*/ 0 h 726"/>
                <a:gd name="T4" fmla="*/ 550 w 601"/>
                <a:gd name="T5" fmla="*/ 0 h 726"/>
                <a:gd name="T6" fmla="*/ 500 w 601"/>
                <a:gd name="T7" fmla="*/ 25 h 726"/>
                <a:gd name="T8" fmla="*/ 400 w 601"/>
                <a:gd name="T9" fmla="*/ 25 h 726"/>
                <a:gd name="T10" fmla="*/ 275 w 601"/>
                <a:gd name="T11" fmla="*/ 25 h 726"/>
                <a:gd name="T12" fmla="*/ 275 w 601"/>
                <a:gd name="T13" fmla="*/ 25 h 726"/>
                <a:gd name="T14" fmla="*/ 200 w 601"/>
                <a:gd name="T15" fmla="*/ 50 h 726"/>
                <a:gd name="T16" fmla="*/ 150 w 601"/>
                <a:gd name="T17" fmla="*/ 75 h 726"/>
                <a:gd name="T18" fmla="*/ 75 w 601"/>
                <a:gd name="T19" fmla="*/ 100 h 726"/>
                <a:gd name="T20" fmla="*/ 50 w 601"/>
                <a:gd name="T21" fmla="*/ 150 h 726"/>
                <a:gd name="T22" fmla="*/ 24 w 601"/>
                <a:gd name="T23" fmla="*/ 175 h 726"/>
                <a:gd name="T24" fmla="*/ 0 w 601"/>
                <a:gd name="T25" fmla="*/ 225 h 726"/>
                <a:gd name="T26" fmla="*/ 0 w 601"/>
                <a:gd name="T27" fmla="*/ 225 h 726"/>
                <a:gd name="T28" fmla="*/ 50 w 601"/>
                <a:gd name="T29" fmla="*/ 325 h 726"/>
                <a:gd name="T30" fmla="*/ 124 w 601"/>
                <a:gd name="T31" fmla="*/ 350 h 726"/>
                <a:gd name="T32" fmla="*/ 200 w 601"/>
                <a:gd name="T33" fmla="*/ 375 h 726"/>
                <a:gd name="T34" fmla="*/ 100 w 601"/>
                <a:gd name="T35" fmla="*/ 375 h 726"/>
                <a:gd name="T36" fmla="*/ 124 w 601"/>
                <a:gd name="T37" fmla="*/ 450 h 726"/>
                <a:gd name="T38" fmla="*/ 175 w 601"/>
                <a:gd name="T39" fmla="*/ 525 h 726"/>
                <a:gd name="T40" fmla="*/ 250 w 601"/>
                <a:gd name="T41" fmla="*/ 575 h 726"/>
                <a:gd name="T42" fmla="*/ 250 w 601"/>
                <a:gd name="T43" fmla="*/ 475 h 726"/>
                <a:gd name="T44" fmla="*/ 300 w 601"/>
                <a:gd name="T45" fmla="*/ 475 h 726"/>
                <a:gd name="T46" fmla="*/ 275 w 601"/>
                <a:gd name="T47" fmla="*/ 425 h 726"/>
                <a:gd name="T48" fmla="*/ 300 w 601"/>
                <a:gd name="T49" fmla="*/ 400 h 726"/>
                <a:gd name="T50" fmla="*/ 375 w 601"/>
                <a:gd name="T51" fmla="*/ 400 h 726"/>
                <a:gd name="T52" fmla="*/ 324 w 601"/>
                <a:gd name="T53" fmla="*/ 325 h 726"/>
                <a:gd name="T54" fmla="*/ 250 w 601"/>
                <a:gd name="T55" fmla="*/ 325 h 726"/>
                <a:gd name="T56" fmla="*/ 300 w 601"/>
                <a:gd name="T57" fmla="*/ 275 h 726"/>
                <a:gd name="T58" fmla="*/ 224 w 601"/>
                <a:gd name="T59" fmla="*/ 175 h 726"/>
                <a:gd name="T60" fmla="*/ 250 w 601"/>
                <a:gd name="T61" fmla="*/ 150 h 726"/>
                <a:gd name="T62" fmla="*/ 324 w 601"/>
                <a:gd name="T63" fmla="*/ 150 h 726"/>
                <a:gd name="T64" fmla="*/ 350 w 601"/>
                <a:gd name="T65" fmla="*/ 100 h 726"/>
                <a:gd name="T66" fmla="*/ 400 w 601"/>
                <a:gd name="T67" fmla="*/ 100 h 726"/>
                <a:gd name="T68" fmla="*/ 475 w 601"/>
                <a:gd name="T69" fmla="*/ 75 h 726"/>
                <a:gd name="T70" fmla="*/ 550 w 601"/>
                <a:gd name="T71" fmla="*/ 100 h 726"/>
                <a:gd name="T72" fmla="*/ 575 w 601"/>
                <a:gd name="T73" fmla="*/ 75 h 726"/>
                <a:gd name="T74" fmla="*/ 600 w 601"/>
                <a:gd name="T75" fmla="*/ 25 h 726"/>
                <a:gd name="T76" fmla="*/ 575 w 601"/>
                <a:gd name="T77" fmla="*/ 0 h 726"/>
                <a:gd name="T78" fmla="*/ 500 w 601"/>
                <a:gd name="T79" fmla="*/ 700 h 726"/>
                <a:gd name="T80" fmla="*/ 500 w 601"/>
                <a:gd name="T81" fmla="*/ 700 h 726"/>
                <a:gd name="T82" fmla="*/ 350 w 601"/>
                <a:gd name="T83" fmla="*/ 675 h 726"/>
                <a:gd name="T84" fmla="*/ 300 w 601"/>
                <a:gd name="T85" fmla="*/ 700 h 726"/>
                <a:gd name="T86" fmla="*/ 450 w 601"/>
                <a:gd name="T87" fmla="*/ 725 h 726"/>
                <a:gd name="T88" fmla="*/ 575 w 601"/>
                <a:gd name="T89" fmla="*/ 700 h 726"/>
                <a:gd name="T90" fmla="*/ 500 w 601"/>
                <a:gd name="T91" fmla="*/ 70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726">
                  <a:moveTo>
                    <a:pt x="575" y="0"/>
                  </a:moveTo>
                  <a:lnTo>
                    <a:pt x="575" y="0"/>
                  </a:lnTo>
                  <a:lnTo>
                    <a:pt x="550" y="0"/>
                  </a:lnTo>
                  <a:cubicBezTo>
                    <a:pt x="550" y="25"/>
                    <a:pt x="525" y="25"/>
                    <a:pt x="500" y="25"/>
                  </a:cubicBezTo>
                  <a:cubicBezTo>
                    <a:pt x="500" y="25"/>
                    <a:pt x="424" y="25"/>
                    <a:pt x="400" y="25"/>
                  </a:cubicBezTo>
                  <a:cubicBezTo>
                    <a:pt x="400" y="0"/>
                    <a:pt x="324" y="0"/>
                    <a:pt x="275" y="25"/>
                  </a:cubicBezTo>
                  <a:lnTo>
                    <a:pt x="275" y="25"/>
                  </a:lnTo>
                  <a:cubicBezTo>
                    <a:pt x="275" y="25"/>
                    <a:pt x="200" y="75"/>
                    <a:pt x="200" y="50"/>
                  </a:cubicBezTo>
                  <a:cubicBezTo>
                    <a:pt x="175" y="50"/>
                    <a:pt x="175" y="75"/>
                    <a:pt x="150" y="75"/>
                  </a:cubicBezTo>
                  <a:cubicBezTo>
                    <a:pt x="124" y="100"/>
                    <a:pt x="75" y="75"/>
                    <a:pt x="75" y="100"/>
                  </a:cubicBezTo>
                  <a:cubicBezTo>
                    <a:pt x="75" y="100"/>
                    <a:pt x="75" y="125"/>
                    <a:pt x="50" y="150"/>
                  </a:cubicBezTo>
                  <a:cubicBezTo>
                    <a:pt x="24" y="175"/>
                    <a:pt x="50" y="175"/>
                    <a:pt x="24" y="175"/>
                  </a:cubicBezTo>
                  <a:cubicBezTo>
                    <a:pt x="0" y="175"/>
                    <a:pt x="0" y="200"/>
                    <a:pt x="0" y="225"/>
                  </a:cubicBezTo>
                  <a:lnTo>
                    <a:pt x="0" y="225"/>
                  </a:lnTo>
                  <a:cubicBezTo>
                    <a:pt x="24" y="250"/>
                    <a:pt x="50" y="275"/>
                    <a:pt x="50" y="325"/>
                  </a:cubicBezTo>
                  <a:cubicBezTo>
                    <a:pt x="50" y="350"/>
                    <a:pt x="100" y="375"/>
                    <a:pt x="124" y="350"/>
                  </a:cubicBezTo>
                  <a:cubicBezTo>
                    <a:pt x="150" y="325"/>
                    <a:pt x="200" y="350"/>
                    <a:pt x="200" y="375"/>
                  </a:cubicBezTo>
                  <a:cubicBezTo>
                    <a:pt x="200" y="375"/>
                    <a:pt x="150" y="350"/>
                    <a:pt x="100" y="375"/>
                  </a:cubicBezTo>
                  <a:cubicBezTo>
                    <a:pt x="75" y="400"/>
                    <a:pt x="124" y="425"/>
                    <a:pt x="124" y="450"/>
                  </a:cubicBezTo>
                  <a:cubicBezTo>
                    <a:pt x="124" y="475"/>
                    <a:pt x="150" y="525"/>
                    <a:pt x="175" y="525"/>
                  </a:cubicBezTo>
                  <a:cubicBezTo>
                    <a:pt x="200" y="525"/>
                    <a:pt x="250" y="575"/>
                    <a:pt x="250" y="575"/>
                  </a:cubicBezTo>
                  <a:cubicBezTo>
                    <a:pt x="275" y="550"/>
                    <a:pt x="224" y="475"/>
                    <a:pt x="250" y="475"/>
                  </a:cubicBezTo>
                  <a:cubicBezTo>
                    <a:pt x="250" y="450"/>
                    <a:pt x="300" y="500"/>
                    <a:pt x="300" y="475"/>
                  </a:cubicBezTo>
                  <a:cubicBezTo>
                    <a:pt x="324" y="450"/>
                    <a:pt x="300" y="425"/>
                    <a:pt x="275" y="425"/>
                  </a:cubicBezTo>
                  <a:cubicBezTo>
                    <a:pt x="224" y="425"/>
                    <a:pt x="275" y="400"/>
                    <a:pt x="300" y="400"/>
                  </a:cubicBezTo>
                  <a:cubicBezTo>
                    <a:pt x="324" y="425"/>
                    <a:pt x="350" y="400"/>
                    <a:pt x="375" y="400"/>
                  </a:cubicBezTo>
                  <a:cubicBezTo>
                    <a:pt x="375" y="400"/>
                    <a:pt x="400" y="350"/>
                    <a:pt x="324" y="325"/>
                  </a:cubicBezTo>
                  <a:cubicBezTo>
                    <a:pt x="275" y="325"/>
                    <a:pt x="300" y="375"/>
                    <a:pt x="250" y="325"/>
                  </a:cubicBezTo>
                  <a:cubicBezTo>
                    <a:pt x="224" y="300"/>
                    <a:pt x="300" y="300"/>
                    <a:pt x="300" y="275"/>
                  </a:cubicBezTo>
                  <a:cubicBezTo>
                    <a:pt x="300" y="250"/>
                    <a:pt x="250" y="200"/>
                    <a:pt x="224" y="175"/>
                  </a:cubicBezTo>
                  <a:cubicBezTo>
                    <a:pt x="200" y="150"/>
                    <a:pt x="250" y="125"/>
                    <a:pt x="250" y="150"/>
                  </a:cubicBezTo>
                  <a:cubicBezTo>
                    <a:pt x="275" y="175"/>
                    <a:pt x="324" y="175"/>
                    <a:pt x="324" y="150"/>
                  </a:cubicBezTo>
                  <a:cubicBezTo>
                    <a:pt x="350" y="150"/>
                    <a:pt x="300" y="100"/>
                    <a:pt x="350" y="100"/>
                  </a:cubicBezTo>
                  <a:cubicBezTo>
                    <a:pt x="400" y="75"/>
                    <a:pt x="400" y="100"/>
                    <a:pt x="400" y="100"/>
                  </a:cubicBezTo>
                  <a:cubicBezTo>
                    <a:pt x="424" y="100"/>
                    <a:pt x="450" y="75"/>
                    <a:pt x="475" y="75"/>
                  </a:cubicBezTo>
                  <a:cubicBezTo>
                    <a:pt x="500" y="75"/>
                    <a:pt x="525" y="75"/>
                    <a:pt x="550" y="100"/>
                  </a:cubicBezTo>
                  <a:lnTo>
                    <a:pt x="575" y="75"/>
                  </a:lnTo>
                  <a:cubicBezTo>
                    <a:pt x="575" y="50"/>
                    <a:pt x="600" y="50"/>
                    <a:pt x="600" y="25"/>
                  </a:cubicBezTo>
                  <a:cubicBezTo>
                    <a:pt x="600" y="25"/>
                    <a:pt x="600" y="0"/>
                    <a:pt x="575" y="0"/>
                  </a:cubicBezTo>
                  <a:close/>
                  <a:moveTo>
                    <a:pt x="500" y="700"/>
                  </a:moveTo>
                  <a:lnTo>
                    <a:pt x="500" y="700"/>
                  </a:lnTo>
                  <a:cubicBezTo>
                    <a:pt x="475" y="675"/>
                    <a:pt x="375" y="700"/>
                    <a:pt x="350" y="675"/>
                  </a:cubicBezTo>
                  <a:cubicBezTo>
                    <a:pt x="324" y="650"/>
                    <a:pt x="275" y="700"/>
                    <a:pt x="300" y="700"/>
                  </a:cubicBezTo>
                  <a:cubicBezTo>
                    <a:pt x="324" y="700"/>
                    <a:pt x="375" y="725"/>
                    <a:pt x="450" y="725"/>
                  </a:cubicBezTo>
                  <a:cubicBezTo>
                    <a:pt x="500" y="725"/>
                    <a:pt x="575" y="700"/>
                    <a:pt x="575" y="700"/>
                  </a:cubicBezTo>
                  <a:cubicBezTo>
                    <a:pt x="575" y="675"/>
                    <a:pt x="525" y="700"/>
                    <a:pt x="500" y="700"/>
                  </a:cubicBezTo>
                  <a:close/>
                </a:path>
              </a:pathLst>
            </a:custGeom>
            <a:solidFill>
              <a:srgbClr val="F7F8FA">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4" name="Freeform 128">
              <a:extLst>
                <a:ext uri="{FF2B5EF4-FFF2-40B4-BE49-F238E27FC236}">
                  <a16:creationId xmlns:a16="http://schemas.microsoft.com/office/drawing/2014/main" id="{4C9C5E6C-F323-9343-6BFD-04356AC377D2}"/>
                </a:ext>
              </a:extLst>
            </p:cNvPr>
            <p:cNvSpPr>
              <a:spLocks noChangeArrowheads="1"/>
            </p:cNvSpPr>
            <p:nvPr/>
          </p:nvSpPr>
          <p:spPr bwMode="auto">
            <a:xfrm>
              <a:off x="7441284" y="4893288"/>
              <a:ext cx="126374" cy="75381"/>
            </a:xfrm>
            <a:custGeom>
              <a:avLst/>
              <a:gdLst>
                <a:gd name="T0" fmla="*/ 175 w 251"/>
                <a:gd name="T1" fmla="*/ 100 h 151"/>
                <a:gd name="T2" fmla="*/ 175 w 251"/>
                <a:gd name="T3" fmla="*/ 100 h 151"/>
                <a:gd name="T4" fmla="*/ 225 w 251"/>
                <a:gd name="T5" fmla="*/ 50 h 151"/>
                <a:gd name="T6" fmla="*/ 225 w 251"/>
                <a:gd name="T7" fmla="*/ 25 h 151"/>
                <a:gd name="T8" fmla="*/ 75 w 251"/>
                <a:gd name="T9" fmla="*/ 75 h 151"/>
                <a:gd name="T10" fmla="*/ 50 w 251"/>
                <a:gd name="T11" fmla="*/ 125 h 151"/>
                <a:gd name="T12" fmla="*/ 175 w 251"/>
                <a:gd name="T13" fmla="*/ 100 h 151"/>
              </a:gdLst>
              <a:ahLst/>
              <a:cxnLst>
                <a:cxn ang="0">
                  <a:pos x="T0" y="T1"/>
                </a:cxn>
                <a:cxn ang="0">
                  <a:pos x="T2" y="T3"/>
                </a:cxn>
                <a:cxn ang="0">
                  <a:pos x="T4" y="T5"/>
                </a:cxn>
                <a:cxn ang="0">
                  <a:pos x="T6" y="T7"/>
                </a:cxn>
                <a:cxn ang="0">
                  <a:pos x="T8" y="T9"/>
                </a:cxn>
                <a:cxn ang="0">
                  <a:pos x="T10" y="T11"/>
                </a:cxn>
                <a:cxn ang="0">
                  <a:pos x="T12" y="T13"/>
                </a:cxn>
              </a:cxnLst>
              <a:rect l="0" t="0" r="r" b="b"/>
              <a:pathLst>
                <a:path w="251" h="151">
                  <a:moveTo>
                    <a:pt x="175" y="100"/>
                  </a:moveTo>
                  <a:lnTo>
                    <a:pt x="175" y="100"/>
                  </a:lnTo>
                  <a:cubicBezTo>
                    <a:pt x="175" y="100"/>
                    <a:pt x="200" y="50"/>
                    <a:pt x="225" y="50"/>
                  </a:cubicBezTo>
                  <a:cubicBezTo>
                    <a:pt x="250" y="25"/>
                    <a:pt x="250" y="0"/>
                    <a:pt x="225" y="25"/>
                  </a:cubicBezTo>
                  <a:cubicBezTo>
                    <a:pt x="200" y="50"/>
                    <a:pt x="150" y="75"/>
                    <a:pt x="75" y="75"/>
                  </a:cubicBezTo>
                  <a:cubicBezTo>
                    <a:pt x="25" y="75"/>
                    <a:pt x="0" y="100"/>
                    <a:pt x="50" y="125"/>
                  </a:cubicBezTo>
                  <a:cubicBezTo>
                    <a:pt x="100" y="150"/>
                    <a:pt x="175" y="125"/>
                    <a:pt x="175"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5" name="Freeform 130">
              <a:extLst>
                <a:ext uri="{FF2B5EF4-FFF2-40B4-BE49-F238E27FC236}">
                  <a16:creationId xmlns:a16="http://schemas.microsoft.com/office/drawing/2014/main" id="{D932FD54-8CF9-AAAF-130F-229BE8024BE3}"/>
                </a:ext>
              </a:extLst>
            </p:cNvPr>
            <p:cNvSpPr>
              <a:spLocks noChangeArrowheads="1"/>
            </p:cNvSpPr>
            <p:nvPr/>
          </p:nvSpPr>
          <p:spPr bwMode="auto">
            <a:xfrm>
              <a:off x="5454755" y="3749258"/>
              <a:ext cx="215059" cy="239449"/>
            </a:xfrm>
            <a:custGeom>
              <a:avLst/>
              <a:gdLst>
                <a:gd name="T0" fmla="*/ 375 w 426"/>
                <a:gd name="T1" fmla="*/ 150 h 476"/>
                <a:gd name="T2" fmla="*/ 375 w 426"/>
                <a:gd name="T3" fmla="*/ 150 h 476"/>
                <a:gd name="T4" fmla="*/ 350 w 426"/>
                <a:gd name="T5" fmla="*/ 124 h 476"/>
                <a:gd name="T6" fmla="*/ 300 w 426"/>
                <a:gd name="T7" fmla="*/ 150 h 476"/>
                <a:gd name="T8" fmla="*/ 225 w 426"/>
                <a:gd name="T9" fmla="*/ 124 h 476"/>
                <a:gd name="T10" fmla="*/ 250 w 426"/>
                <a:gd name="T11" fmla="*/ 75 h 476"/>
                <a:gd name="T12" fmla="*/ 275 w 426"/>
                <a:gd name="T13" fmla="*/ 24 h 476"/>
                <a:gd name="T14" fmla="*/ 275 w 426"/>
                <a:gd name="T15" fmla="*/ 24 h 476"/>
                <a:gd name="T16" fmla="*/ 175 w 426"/>
                <a:gd name="T17" fmla="*/ 50 h 476"/>
                <a:gd name="T18" fmla="*/ 225 w 426"/>
                <a:gd name="T19" fmla="*/ 75 h 476"/>
                <a:gd name="T20" fmla="*/ 150 w 426"/>
                <a:gd name="T21" fmla="*/ 124 h 476"/>
                <a:gd name="T22" fmla="*/ 50 w 426"/>
                <a:gd name="T23" fmla="*/ 124 h 476"/>
                <a:gd name="T24" fmla="*/ 50 w 426"/>
                <a:gd name="T25" fmla="*/ 200 h 476"/>
                <a:gd name="T26" fmla="*/ 100 w 426"/>
                <a:gd name="T27" fmla="*/ 250 h 476"/>
                <a:gd name="T28" fmla="*/ 75 w 426"/>
                <a:gd name="T29" fmla="*/ 350 h 476"/>
                <a:gd name="T30" fmla="*/ 0 w 426"/>
                <a:gd name="T31" fmla="*/ 400 h 476"/>
                <a:gd name="T32" fmla="*/ 100 w 426"/>
                <a:gd name="T33" fmla="*/ 475 h 476"/>
                <a:gd name="T34" fmla="*/ 275 w 426"/>
                <a:gd name="T35" fmla="*/ 400 h 476"/>
                <a:gd name="T36" fmla="*/ 375 w 426"/>
                <a:gd name="T37" fmla="*/ 375 h 476"/>
                <a:gd name="T38" fmla="*/ 375 w 426"/>
                <a:gd name="T39" fmla="*/ 175 h 476"/>
                <a:gd name="T40" fmla="*/ 375 w 426"/>
                <a:gd name="T41" fmla="*/ 15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 h="476">
                  <a:moveTo>
                    <a:pt x="375" y="150"/>
                  </a:moveTo>
                  <a:lnTo>
                    <a:pt x="375" y="150"/>
                  </a:lnTo>
                  <a:lnTo>
                    <a:pt x="350" y="124"/>
                  </a:lnTo>
                  <a:cubicBezTo>
                    <a:pt x="300" y="75"/>
                    <a:pt x="300" y="124"/>
                    <a:pt x="300" y="150"/>
                  </a:cubicBezTo>
                  <a:cubicBezTo>
                    <a:pt x="300" y="175"/>
                    <a:pt x="250" y="124"/>
                    <a:pt x="225" y="124"/>
                  </a:cubicBezTo>
                  <a:lnTo>
                    <a:pt x="250" y="75"/>
                  </a:lnTo>
                  <a:cubicBezTo>
                    <a:pt x="275" y="75"/>
                    <a:pt x="275" y="50"/>
                    <a:pt x="275" y="24"/>
                  </a:cubicBezTo>
                  <a:lnTo>
                    <a:pt x="275" y="24"/>
                  </a:lnTo>
                  <a:cubicBezTo>
                    <a:pt x="225" y="0"/>
                    <a:pt x="175" y="0"/>
                    <a:pt x="175" y="50"/>
                  </a:cubicBezTo>
                  <a:cubicBezTo>
                    <a:pt x="175" y="75"/>
                    <a:pt x="225" y="50"/>
                    <a:pt x="225" y="75"/>
                  </a:cubicBezTo>
                  <a:cubicBezTo>
                    <a:pt x="225" y="100"/>
                    <a:pt x="175" y="100"/>
                    <a:pt x="150" y="124"/>
                  </a:cubicBezTo>
                  <a:cubicBezTo>
                    <a:pt x="100" y="150"/>
                    <a:pt x="75" y="100"/>
                    <a:pt x="50" y="124"/>
                  </a:cubicBezTo>
                  <a:cubicBezTo>
                    <a:pt x="0" y="150"/>
                    <a:pt x="75" y="150"/>
                    <a:pt x="50" y="200"/>
                  </a:cubicBezTo>
                  <a:cubicBezTo>
                    <a:pt x="25" y="224"/>
                    <a:pt x="50" y="224"/>
                    <a:pt x="100" y="250"/>
                  </a:cubicBezTo>
                  <a:cubicBezTo>
                    <a:pt x="150" y="300"/>
                    <a:pt x="75" y="300"/>
                    <a:pt x="75" y="350"/>
                  </a:cubicBezTo>
                  <a:cubicBezTo>
                    <a:pt x="75" y="375"/>
                    <a:pt x="25" y="375"/>
                    <a:pt x="0" y="400"/>
                  </a:cubicBezTo>
                  <a:cubicBezTo>
                    <a:pt x="0" y="424"/>
                    <a:pt x="50" y="475"/>
                    <a:pt x="100" y="475"/>
                  </a:cubicBezTo>
                  <a:cubicBezTo>
                    <a:pt x="125" y="475"/>
                    <a:pt x="225" y="450"/>
                    <a:pt x="275" y="400"/>
                  </a:cubicBezTo>
                  <a:cubicBezTo>
                    <a:pt x="300" y="375"/>
                    <a:pt x="325" y="400"/>
                    <a:pt x="375" y="375"/>
                  </a:cubicBezTo>
                  <a:cubicBezTo>
                    <a:pt x="425" y="375"/>
                    <a:pt x="400" y="200"/>
                    <a:pt x="375" y="175"/>
                  </a:cubicBezTo>
                  <a:cubicBezTo>
                    <a:pt x="375" y="150"/>
                    <a:pt x="375" y="150"/>
                    <a:pt x="37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6" name="Freeform 131">
              <a:extLst>
                <a:ext uri="{FF2B5EF4-FFF2-40B4-BE49-F238E27FC236}">
                  <a16:creationId xmlns:a16="http://schemas.microsoft.com/office/drawing/2014/main" id="{B523D1AA-2A6B-00C9-5533-9D86103E0251}"/>
                </a:ext>
              </a:extLst>
            </p:cNvPr>
            <p:cNvSpPr>
              <a:spLocks noChangeArrowheads="1"/>
            </p:cNvSpPr>
            <p:nvPr/>
          </p:nvSpPr>
          <p:spPr bwMode="auto">
            <a:xfrm>
              <a:off x="5567827" y="3359049"/>
              <a:ext cx="465593" cy="729428"/>
            </a:xfrm>
            <a:custGeom>
              <a:avLst/>
              <a:gdLst>
                <a:gd name="T0" fmla="*/ 175 w 926"/>
                <a:gd name="T1" fmla="*/ 776 h 1452"/>
                <a:gd name="T2" fmla="*/ 25 w 926"/>
                <a:gd name="T3" fmla="*/ 851 h 1452"/>
                <a:gd name="T4" fmla="*/ 75 w 926"/>
                <a:gd name="T5" fmla="*/ 926 h 1452"/>
                <a:gd name="T6" fmla="*/ 150 w 926"/>
                <a:gd name="T7" fmla="*/ 926 h 1452"/>
                <a:gd name="T8" fmla="*/ 175 w 926"/>
                <a:gd name="T9" fmla="*/ 776 h 1452"/>
                <a:gd name="T10" fmla="*/ 925 w 926"/>
                <a:gd name="T11" fmla="*/ 1126 h 1452"/>
                <a:gd name="T12" fmla="*/ 800 w 926"/>
                <a:gd name="T13" fmla="*/ 1076 h 1452"/>
                <a:gd name="T14" fmla="*/ 750 w 926"/>
                <a:gd name="T15" fmla="*/ 976 h 1452"/>
                <a:gd name="T16" fmla="*/ 625 w 926"/>
                <a:gd name="T17" fmla="*/ 751 h 1452"/>
                <a:gd name="T18" fmla="*/ 476 w 926"/>
                <a:gd name="T19" fmla="*/ 676 h 1452"/>
                <a:gd name="T20" fmla="*/ 575 w 926"/>
                <a:gd name="T21" fmla="*/ 451 h 1452"/>
                <a:gd name="T22" fmla="*/ 375 w 926"/>
                <a:gd name="T23" fmla="*/ 426 h 1452"/>
                <a:gd name="T24" fmla="*/ 450 w 926"/>
                <a:gd name="T25" fmla="*/ 276 h 1452"/>
                <a:gd name="T26" fmla="*/ 325 w 926"/>
                <a:gd name="T27" fmla="*/ 326 h 1452"/>
                <a:gd name="T28" fmla="*/ 225 w 926"/>
                <a:gd name="T29" fmla="*/ 451 h 1452"/>
                <a:gd name="T30" fmla="*/ 125 w 926"/>
                <a:gd name="T31" fmla="*/ 476 h 1452"/>
                <a:gd name="T32" fmla="*/ 175 w 926"/>
                <a:gd name="T33" fmla="*/ 600 h 1452"/>
                <a:gd name="T34" fmla="*/ 150 w 926"/>
                <a:gd name="T35" fmla="*/ 700 h 1452"/>
                <a:gd name="T36" fmla="*/ 250 w 926"/>
                <a:gd name="T37" fmla="*/ 726 h 1452"/>
                <a:gd name="T38" fmla="*/ 300 w 926"/>
                <a:gd name="T39" fmla="*/ 726 h 1452"/>
                <a:gd name="T40" fmla="*/ 400 w 926"/>
                <a:gd name="T41" fmla="*/ 800 h 1452"/>
                <a:gd name="T42" fmla="*/ 450 w 926"/>
                <a:gd name="T43" fmla="*/ 900 h 1452"/>
                <a:gd name="T44" fmla="*/ 476 w 926"/>
                <a:gd name="T45" fmla="*/ 1026 h 1452"/>
                <a:gd name="T46" fmla="*/ 350 w 926"/>
                <a:gd name="T47" fmla="*/ 1026 h 1452"/>
                <a:gd name="T48" fmla="*/ 375 w 926"/>
                <a:gd name="T49" fmla="*/ 1126 h 1452"/>
                <a:gd name="T50" fmla="*/ 325 w 926"/>
                <a:gd name="T51" fmla="*/ 1226 h 1452"/>
                <a:gd name="T52" fmla="*/ 476 w 926"/>
                <a:gd name="T53" fmla="*/ 1251 h 1452"/>
                <a:gd name="T54" fmla="*/ 375 w 926"/>
                <a:gd name="T55" fmla="*/ 1301 h 1452"/>
                <a:gd name="T56" fmla="*/ 325 w 926"/>
                <a:gd name="T57" fmla="*/ 1401 h 1452"/>
                <a:gd name="T58" fmla="*/ 425 w 926"/>
                <a:gd name="T59" fmla="*/ 1376 h 1452"/>
                <a:gd name="T60" fmla="*/ 575 w 926"/>
                <a:gd name="T61" fmla="*/ 1351 h 1452"/>
                <a:gd name="T62" fmla="*/ 750 w 926"/>
                <a:gd name="T63" fmla="*/ 1351 h 1452"/>
                <a:gd name="T64" fmla="*/ 850 w 926"/>
                <a:gd name="T65" fmla="*/ 1276 h 1452"/>
                <a:gd name="T66" fmla="*/ 925 w 926"/>
                <a:gd name="T67" fmla="*/ 1126 h 1452"/>
                <a:gd name="T68" fmla="*/ 100 w 926"/>
                <a:gd name="T69" fmla="*/ 426 h 1452"/>
                <a:gd name="T70" fmla="*/ 100 w 926"/>
                <a:gd name="T71" fmla="*/ 426 h 1452"/>
                <a:gd name="T72" fmla="*/ 625 w 926"/>
                <a:gd name="T73" fmla="*/ 125 h 1452"/>
                <a:gd name="T74" fmla="*/ 625 w 926"/>
                <a:gd name="T75" fmla="*/ 12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6" h="1452">
                  <a:moveTo>
                    <a:pt x="175" y="776"/>
                  </a:moveTo>
                  <a:lnTo>
                    <a:pt x="175" y="776"/>
                  </a:lnTo>
                  <a:cubicBezTo>
                    <a:pt x="150" y="751"/>
                    <a:pt x="100" y="800"/>
                    <a:pt x="50" y="800"/>
                  </a:cubicBezTo>
                  <a:cubicBezTo>
                    <a:pt x="50" y="826"/>
                    <a:pt x="50" y="851"/>
                    <a:pt x="25" y="851"/>
                  </a:cubicBezTo>
                  <a:lnTo>
                    <a:pt x="0" y="900"/>
                  </a:lnTo>
                  <a:cubicBezTo>
                    <a:pt x="25" y="900"/>
                    <a:pt x="75" y="951"/>
                    <a:pt x="75" y="926"/>
                  </a:cubicBezTo>
                  <a:cubicBezTo>
                    <a:pt x="75" y="900"/>
                    <a:pt x="75" y="851"/>
                    <a:pt x="125" y="900"/>
                  </a:cubicBezTo>
                  <a:lnTo>
                    <a:pt x="150" y="926"/>
                  </a:lnTo>
                  <a:cubicBezTo>
                    <a:pt x="150" y="900"/>
                    <a:pt x="200" y="900"/>
                    <a:pt x="225" y="876"/>
                  </a:cubicBezTo>
                  <a:cubicBezTo>
                    <a:pt x="250" y="851"/>
                    <a:pt x="200" y="826"/>
                    <a:pt x="175" y="776"/>
                  </a:cubicBezTo>
                  <a:close/>
                  <a:moveTo>
                    <a:pt x="925" y="1126"/>
                  </a:moveTo>
                  <a:lnTo>
                    <a:pt x="925" y="1126"/>
                  </a:lnTo>
                  <a:cubicBezTo>
                    <a:pt x="925" y="1076"/>
                    <a:pt x="850" y="1051"/>
                    <a:pt x="825" y="1076"/>
                  </a:cubicBezTo>
                  <a:cubicBezTo>
                    <a:pt x="825" y="1100"/>
                    <a:pt x="800" y="1100"/>
                    <a:pt x="800" y="1076"/>
                  </a:cubicBezTo>
                  <a:cubicBezTo>
                    <a:pt x="775" y="1051"/>
                    <a:pt x="800" y="1026"/>
                    <a:pt x="775" y="1026"/>
                  </a:cubicBezTo>
                  <a:lnTo>
                    <a:pt x="750" y="976"/>
                  </a:lnTo>
                  <a:cubicBezTo>
                    <a:pt x="750" y="951"/>
                    <a:pt x="725" y="876"/>
                    <a:pt x="676" y="851"/>
                  </a:cubicBezTo>
                  <a:cubicBezTo>
                    <a:pt x="650" y="851"/>
                    <a:pt x="625" y="776"/>
                    <a:pt x="625" y="751"/>
                  </a:cubicBezTo>
                  <a:cubicBezTo>
                    <a:pt x="625" y="700"/>
                    <a:pt x="575" y="726"/>
                    <a:pt x="550" y="700"/>
                  </a:cubicBezTo>
                  <a:cubicBezTo>
                    <a:pt x="525" y="651"/>
                    <a:pt x="500" y="676"/>
                    <a:pt x="476" y="676"/>
                  </a:cubicBezTo>
                  <a:cubicBezTo>
                    <a:pt x="450" y="676"/>
                    <a:pt x="476" y="651"/>
                    <a:pt x="500" y="626"/>
                  </a:cubicBezTo>
                  <a:cubicBezTo>
                    <a:pt x="550" y="600"/>
                    <a:pt x="575" y="476"/>
                    <a:pt x="575" y="451"/>
                  </a:cubicBezTo>
                  <a:cubicBezTo>
                    <a:pt x="575" y="426"/>
                    <a:pt x="425" y="426"/>
                    <a:pt x="400" y="451"/>
                  </a:cubicBezTo>
                  <a:cubicBezTo>
                    <a:pt x="375" y="451"/>
                    <a:pt x="350" y="426"/>
                    <a:pt x="375" y="426"/>
                  </a:cubicBezTo>
                  <a:cubicBezTo>
                    <a:pt x="400" y="400"/>
                    <a:pt x="450" y="351"/>
                    <a:pt x="450" y="326"/>
                  </a:cubicBezTo>
                  <a:cubicBezTo>
                    <a:pt x="450" y="326"/>
                    <a:pt x="476" y="300"/>
                    <a:pt x="450" y="276"/>
                  </a:cubicBezTo>
                  <a:cubicBezTo>
                    <a:pt x="450" y="251"/>
                    <a:pt x="425" y="300"/>
                    <a:pt x="425" y="326"/>
                  </a:cubicBezTo>
                  <a:cubicBezTo>
                    <a:pt x="400" y="326"/>
                    <a:pt x="350" y="326"/>
                    <a:pt x="325" y="326"/>
                  </a:cubicBezTo>
                  <a:cubicBezTo>
                    <a:pt x="275" y="300"/>
                    <a:pt x="250" y="376"/>
                    <a:pt x="250" y="400"/>
                  </a:cubicBezTo>
                  <a:cubicBezTo>
                    <a:pt x="250" y="426"/>
                    <a:pt x="200" y="451"/>
                    <a:pt x="225" y="451"/>
                  </a:cubicBezTo>
                  <a:cubicBezTo>
                    <a:pt x="225" y="476"/>
                    <a:pt x="200" y="500"/>
                    <a:pt x="200" y="500"/>
                  </a:cubicBezTo>
                  <a:cubicBezTo>
                    <a:pt x="175" y="476"/>
                    <a:pt x="175" y="451"/>
                    <a:pt x="125" y="476"/>
                  </a:cubicBezTo>
                  <a:cubicBezTo>
                    <a:pt x="100" y="500"/>
                    <a:pt x="175" y="526"/>
                    <a:pt x="200" y="526"/>
                  </a:cubicBezTo>
                  <a:cubicBezTo>
                    <a:pt x="250" y="526"/>
                    <a:pt x="175" y="551"/>
                    <a:pt x="175" y="600"/>
                  </a:cubicBezTo>
                  <a:cubicBezTo>
                    <a:pt x="175" y="626"/>
                    <a:pt x="225" y="626"/>
                    <a:pt x="225" y="651"/>
                  </a:cubicBezTo>
                  <a:cubicBezTo>
                    <a:pt x="225" y="676"/>
                    <a:pt x="150" y="676"/>
                    <a:pt x="150" y="700"/>
                  </a:cubicBezTo>
                  <a:cubicBezTo>
                    <a:pt x="150" y="726"/>
                    <a:pt x="200" y="700"/>
                    <a:pt x="200" y="676"/>
                  </a:cubicBezTo>
                  <a:cubicBezTo>
                    <a:pt x="225" y="676"/>
                    <a:pt x="200" y="751"/>
                    <a:pt x="250" y="726"/>
                  </a:cubicBezTo>
                  <a:cubicBezTo>
                    <a:pt x="300" y="726"/>
                    <a:pt x="275" y="651"/>
                    <a:pt x="300" y="651"/>
                  </a:cubicBezTo>
                  <a:cubicBezTo>
                    <a:pt x="325" y="676"/>
                    <a:pt x="300" y="700"/>
                    <a:pt x="300" y="726"/>
                  </a:cubicBezTo>
                  <a:cubicBezTo>
                    <a:pt x="325" y="751"/>
                    <a:pt x="275" y="800"/>
                    <a:pt x="275" y="826"/>
                  </a:cubicBezTo>
                  <a:cubicBezTo>
                    <a:pt x="275" y="851"/>
                    <a:pt x="375" y="851"/>
                    <a:pt x="400" y="800"/>
                  </a:cubicBezTo>
                  <a:cubicBezTo>
                    <a:pt x="450" y="776"/>
                    <a:pt x="450" y="800"/>
                    <a:pt x="425" y="826"/>
                  </a:cubicBezTo>
                  <a:cubicBezTo>
                    <a:pt x="425" y="851"/>
                    <a:pt x="425" y="876"/>
                    <a:pt x="450" y="900"/>
                  </a:cubicBezTo>
                  <a:cubicBezTo>
                    <a:pt x="476" y="900"/>
                    <a:pt x="500" y="900"/>
                    <a:pt x="476" y="926"/>
                  </a:cubicBezTo>
                  <a:cubicBezTo>
                    <a:pt x="476" y="951"/>
                    <a:pt x="476" y="1000"/>
                    <a:pt x="476" y="1026"/>
                  </a:cubicBezTo>
                  <a:cubicBezTo>
                    <a:pt x="450" y="1026"/>
                    <a:pt x="375" y="1026"/>
                    <a:pt x="375" y="1026"/>
                  </a:cubicBezTo>
                  <a:cubicBezTo>
                    <a:pt x="375" y="1000"/>
                    <a:pt x="325" y="1026"/>
                    <a:pt x="350" y="1026"/>
                  </a:cubicBezTo>
                  <a:cubicBezTo>
                    <a:pt x="350" y="1051"/>
                    <a:pt x="300" y="1076"/>
                    <a:pt x="325" y="1100"/>
                  </a:cubicBezTo>
                  <a:cubicBezTo>
                    <a:pt x="325" y="1100"/>
                    <a:pt x="375" y="1100"/>
                    <a:pt x="375" y="1126"/>
                  </a:cubicBezTo>
                  <a:cubicBezTo>
                    <a:pt x="375" y="1151"/>
                    <a:pt x="325" y="1176"/>
                    <a:pt x="275" y="1200"/>
                  </a:cubicBezTo>
                  <a:cubicBezTo>
                    <a:pt x="225" y="1200"/>
                    <a:pt x="300" y="1251"/>
                    <a:pt x="325" y="1226"/>
                  </a:cubicBezTo>
                  <a:cubicBezTo>
                    <a:pt x="350" y="1200"/>
                    <a:pt x="325" y="1251"/>
                    <a:pt x="375" y="1251"/>
                  </a:cubicBezTo>
                  <a:cubicBezTo>
                    <a:pt x="400" y="1251"/>
                    <a:pt x="425" y="1276"/>
                    <a:pt x="476" y="1251"/>
                  </a:cubicBezTo>
                  <a:cubicBezTo>
                    <a:pt x="500" y="1251"/>
                    <a:pt x="500" y="1251"/>
                    <a:pt x="476" y="1276"/>
                  </a:cubicBezTo>
                  <a:cubicBezTo>
                    <a:pt x="450" y="1301"/>
                    <a:pt x="400" y="1276"/>
                    <a:pt x="375" y="1301"/>
                  </a:cubicBezTo>
                  <a:cubicBezTo>
                    <a:pt x="350" y="1301"/>
                    <a:pt x="225" y="1425"/>
                    <a:pt x="250" y="1451"/>
                  </a:cubicBezTo>
                  <a:cubicBezTo>
                    <a:pt x="275" y="1451"/>
                    <a:pt x="275" y="1425"/>
                    <a:pt x="325" y="1401"/>
                  </a:cubicBezTo>
                  <a:cubicBezTo>
                    <a:pt x="375" y="1376"/>
                    <a:pt x="375" y="1425"/>
                    <a:pt x="400" y="1425"/>
                  </a:cubicBezTo>
                  <a:cubicBezTo>
                    <a:pt x="425" y="1425"/>
                    <a:pt x="425" y="1376"/>
                    <a:pt x="425" y="1376"/>
                  </a:cubicBezTo>
                  <a:cubicBezTo>
                    <a:pt x="450" y="1376"/>
                    <a:pt x="476" y="1351"/>
                    <a:pt x="500" y="1376"/>
                  </a:cubicBezTo>
                  <a:cubicBezTo>
                    <a:pt x="525" y="1376"/>
                    <a:pt x="550" y="1351"/>
                    <a:pt x="575" y="1351"/>
                  </a:cubicBezTo>
                  <a:cubicBezTo>
                    <a:pt x="600" y="1326"/>
                    <a:pt x="650" y="1376"/>
                    <a:pt x="650" y="1351"/>
                  </a:cubicBezTo>
                  <a:cubicBezTo>
                    <a:pt x="676" y="1351"/>
                    <a:pt x="725" y="1351"/>
                    <a:pt x="750" y="1351"/>
                  </a:cubicBezTo>
                  <a:cubicBezTo>
                    <a:pt x="800" y="1351"/>
                    <a:pt x="876" y="1301"/>
                    <a:pt x="900" y="1301"/>
                  </a:cubicBezTo>
                  <a:cubicBezTo>
                    <a:pt x="900" y="1276"/>
                    <a:pt x="876" y="1276"/>
                    <a:pt x="850" y="1276"/>
                  </a:cubicBezTo>
                  <a:cubicBezTo>
                    <a:pt x="825" y="1276"/>
                    <a:pt x="825" y="1251"/>
                    <a:pt x="850" y="1226"/>
                  </a:cubicBezTo>
                  <a:cubicBezTo>
                    <a:pt x="876" y="1176"/>
                    <a:pt x="925" y="1176"/>
                    <a:pt x="925" y="1126"/>
                  </a:cubicBezTo>
                  <a:close/>
                  <a:moveTo>
                    <a:pt x="100" y="426"/>
                  </a:moveTo>
                  <a:lnTo>
                    <a:pt x="100" y="426"/>
                  </a:lnTo>
                  <a:cubicBezTo>
                    <a:pt x="125" y="426"/>
                    <a:pt x="175" y="351"/>
                    <a:pt x="150" y="351"/>
                  </a:cubicBezTo>
                  <a:cubicBezTo>
                    <a:pt x="150" y="326"/>
                    <a:pt x="75" y="426"/>
                    <a:pt x="100" y="426"/>
                  </a:cubicBezTo>
                  <a:close/>
                  <a:moveTo>
                    <a:pt x="625" y="125"/>
                  </a:moveTo>
                  <a:lnTo>
                    <a:pt x="625" y="125"/>
                  </a:lnTo>
                  <a:cubicBezTo>
                    <a:pt x="650" y="100"/>
                    <a:pt x="676" y="0"/>
                    <a:pt x="650" y="26"/>
                  </a:cubicBezTo>
                  <a:cubicBezTo>
                    <a:pt x="625" y="26"/>
                    <a:pt x="625" y="125"/>
                    <a:pt x="625" y="12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7" name="Freeform 133">
              <a:extLst>
                <a:ext uri="{FF2B5EF4-FFF2-40B4-BE49-F238E27FC236}">
                  <a16:creationId xmlns:a16="http://schemas.microsoft.com/office/drawing/2014/main" id="{5B61D6A9-9968-EAEE-3D42-31C11ABDA840}"/>
                </a:ext>
              </a:extLst>
            </p:cNvPr>
            <p:cNvSpPr>
              <a:spLocks noChangeArrowheads="1"/>
            </p:cNvSpPr>
            <p:nvPr/>
          </p:nvSpPr>
          <p:spPr bwMode="auto">
            <a:xfrm>
              <a:off x="6334948" y="3571893"/>
              <a:ext cx="226144" cy="215059"/>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8" name="Freeform 134">
              <a:extLst>
                <a:ext uri="{FF2B5EF4-FFF2-40B4-BE49-F238E27FC236}">
                  <a16:creationId xmlns:a16="http://schemas.microsoft.com/office/drawing/2014/main" id="{EE20094B-274F-50F8-C3A0-175F9CAEE726}"/>
                </a:ext>
              </a:extLst>
            </p:cNvPr>
            <p:cNvSpPr>
              <a:spLocks noChangeArrowheads="1"/>
            </p:cNvSpPr>
            <p:nvPr/>
          </p:nvSpPr>
          <p:spPr bwMode="auto">
            <a:xfrm>
              <a:off x="6485709" y="2705004"/>
              <a:ext cx="591969" cy="1044257"/>
            </a:xfrm>
            <a:custGeom>
              <a:avLst/>
              <a:gdLst>
                <a:gd name="T0" fmla="*/ 1151 w 1177"/>
                <a:gd name="T1" fmla="*/ 500 h 2077"/>
                <a:gd name="T2" fmla="*/ 1151 w 1177"/>
                <a:gd name="T3" fmla="*/ 375 h 2077"/>
                <a:gd name="T4" fmla="*/ 1125 w 1177"/>
                <a:gd name="T5" fmla="*/ 200 h 2077"/>
                <a:gd name="T6" fmla="*/ 876 w 1177"/>
                <a:gd name="T7" fmla="*/ 25 h 2077"/>
                <a:gd name="T8" fmla="*/ 751 w 1177"/>
                <a:gd name="T9" fmla="*/ 125 h 2077"/>
                <a:gd name="T10" fmla="*/ 625 w 1177"/>
                <a:gd name="T11" fmla="*/ 175 h 2077"/>
                <a:gd name="T12" fmla="*/ 501 w 1177"/>
                <a:gd name="T13" fmla="*/ 251 h 2077"/>
                <a:gd name="T14" fmla="*/ 451 w 1177"/>
                <a:gd name="T15" fmla="*/ 375 h 2077"/>
                <a:gd name="T16" fmla="*/ 376 w 1177"/>
                <a:gd name="T17" fmla="*/ 500 h 2077"/>
                <a:gd name="T18" fmla="*/ 300 w 1177"/>
                <a:gd name="T19" fmla="*/ 600 h 2077"/>
                <a:gd name="T20" fmla="*/ 250 w 1177"/>
                <a:gd name="T21" fmla="*/ 775 h 2077"/>
                <a:gd name="T22" fmla="*/ 200 w 1177"/>
                <a:gd name="T23" fmla="*/ 826 h 2077"/>
                <a:gd name="T24" fmla="*/ 100 w 1177"/>
                <a:gd name="T25" fmla="*/ 975 h 2077"/>
                <a:gd name="T26" fmla="*/ 100 w 1177"/>
                <a:gd name="T27" fmla="*/ 1151 h 2077"/>
                <a:gd name="T28" fmla="*/ 125 w 1177"/>
                <a:gd name="T29" fmla="*/ 1275 h 2077"/>
                <a:gd name="T30" fmla="*/ 125 w 1177"/>
                <a:gd name="T31" fmla="*/ 1400 h 2077"/>
                <a:gd name="T32" fmla="*/ 51 w 1177"/>
                <a:gd name="T33" fmla="*/ 1500 h 2077"/>
                <a:gd name="T34" fmla="*/ 0 w 1177"/>
                <a:gd name="T35" fmla="*/ 1576 h 2077"/>
                <a:gd name="T36" fmla="*/ 51 w 1177"/>
                <a:gd name="T37" fmla="*/ 1676 h 2077"/>
                <a:gd name="T38" fmla="*/ 125 w 1177"/>
                <a:gd name="T39" fmla="*/ 1851 h 2077"/>
                <a:gd name="T40" fmla="*/ 176 w 1177"/>
                <a:gd name="T41" fmla="*/ 1976 h 2077"/>
                <a:gd name="T42" fmla="*/ 250 w 1177"/>
                <a:gd name="T43" fmla="*/ 2051 h 2077"/>
                <a:gd name="T44" fmla="*/ 300 w 1177"/>
                <a:gd name="T45" fmla="*/ 1951 h 2077"/>
                <a:gd name="T46" fmla="*/ 451 w 1177"/>
                <a:gd name="T47" fmla="*/ 1900 h 2077"/>
                <a:gd name="T48" fmla="*/ 525 w 1177"/>
                <a:gd name="T49" fmla="*/ 1826 h 2077"/>
                <a:gd name="T50" fmla="*/ 501 w 1177"/>
                <a:gd name="T51" fmla="*/ 1776 h 2077"/>
                <a:gd name="T52" fmla="*/ 551 w 1177"/>
                <a:gd name="T53" fmla="*/ 1576 h 2077"/>
                <a:gd name="T54" fmla="*/ 701 w 1177"/>
                <a:gd name="T55" fmla="*/ 1425 h 2077"/>
                <a:gd name="T56" fmla="*/ 551 w 1177"/>
                <a:gd name="T57" fmla="*/ 1300 h 2077"/>
                <a:gd name="T58" fmla="*/ 576 w 1177"/>
                <a:gd name="T59" fmla="*/ 1126 h 2077"/>
                <a:gd name="T60" fmla="*/ 625 w 1177"/>
                <a:gd name="T61" fmla="*/ 1000 h 2077"/>
                <a:gd name="T62" fmla="*/ 801 w 1177"/>
                <a:gd name="T63" fmla="*/ 875 h 2077"/>
                <a:gd name="T64" fmla="*/ 925 w 1177"/>
                <a:gd name="T65" fmla="*/ 675 h 2077"/>
                <a:gd name="T66" fmla="*/ 1025 w 1177"/>
                <a:gd name="T67" fmla="*/ 551 h 2077"/>
                <a:gd name="T68" fmla="*/ 1176 w 1177"/>
                <a:gd name="T69" fmla="*/ 551 h 2077"/>
                <a:gd name="T70" fmla="*/ 701 w 1177"/>
                <a:gd name="T71" fmla="*/ 1726 h 2077"/>
                <a:gd name="T72" fmla="*/ 625 w 1177"/>
                <a:gd name="T73" fmla="*/ 1851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7" h="2077">
                  <a:moveTo>
                    <a:pt x="1151" y="500"/>
                  </a:moveTo>
                  <a:lnTo>
                    <a:pt x="1151" y="500"/>
                  </a:lnTo>
                  <a:cubicBezTo>
                    <a:pt x="1151" y="475"/>
                    <a:pt x="1125" y="451"/>
                    <a:pt x="1151" y="451"/>
                  </a:cubicBezTo>
                  <a:cubicBezTo>
                    <a:pt x="1151" y="451"/>
                    <a:pt x="1176" y="375"/>
                    <a:pt x="1151" y="375"/>
                  </a:cubicBezTo>
                  <a:cubicBezTo>
                    <a:pt x="1125" y="351"/>
                    <a:pt x="1151" y="300"/>
                    <a:pt x="1125" y="275"/>
                  </a:cubicBezTo>
                  <a:cubicBezTo>
                    <a:pt x="1101" y="275"/>
                    <a:pt x="1125" y="226"/>
                    <a:pt x="1125" y="200"/>
                  </a:cubicBezTo>
                  <a:cubicBezTo>
                    <a:pt x="1125" y="151"/>
                    <a:pt x="1025" y="125"/>
                    <a:pt x="976" y="100"/>
                  </a:cubicBezTo>
                  <a:cubicBezTo>
                    <a:pt x="925" y="100"/>
                    <a:pt x="901" y="50"/>
                    <a:pt x="876" y="25"/>
                  </a:cubicBezTo>
                  <a:cubicBezTo>
                    <a:pt x="825" y="0"/>
                    <a:pt x="825" y="75"/>
                    <a:pt x="825" y="100"/>
                  </a:cubicBezTo>
                  <a:cubicBezTo>
                    <a:pt x="825" y="151"/>
                    <a:pt x="776" y="151"/>
                    <a:pt x="751" y="125"/>
                  </a:cubicBezTo>
                  <a:cubicBezTo>
                    <a:pt x="725" y="100"/>
                    <a:pt x="701" y="125"/>
                    <a:pt x="651" y="100"/>
                  </a:cubicBezTo>
                  <a:cubicBezTo>
                    <a:pt x="625" y="75"/>
                    <a:pt x="625" y="151"/>
                    <a:pt x="625" y="175"/>
                  </a:cubicBezTo>
                  <a:cubicBezTo>
                    <a:pt x="625" y="200"/>
                    <a:pt x="601" y="200"/>
                    <a:pt x="576" y="200"/>
                  </a:cubicBezTo>
                  <a:cubicBezTo>
                    <a:pt x="525" y="200"/>
                    <a:pt x="501" y="226"/>
                    <a:pt x="501" y="251"/>
                  </a:cubicBezTo>
                  <a:cubicBezTo>
                    <a:pt x="501" y="275"/>
                    <a:pt x="451" y="300"/>
                    <a:pt x="476" y="326"/>
                  </a:cubicBezTo>
                  <a:cubicBezTo>
                    <a:pt x="476" y="326"/>
                    <a:pt x="451" y="351"/>
                    <a:pt x="451" y="375"/>
                  </a:cubicBezTo>
                  <a:cubicBezTo>
                    <a:pt x="425" y="375"/>
                    <a:pt x="400" y="426"/>
                    <a:pt x="400" y="426"/>
                  </a:cubicBezTo>
                  <a:cubicBezTo>
                    <a:pt x="376" y="451"/>
                    <a:pt x="400" y="475"/>
                    <a:pt x="376" y="500"/>
                  </a:cubicBezTo>
                  <a:cubicBezTo>
                    <a:pt x="351" y="500"/>
                    <a:pt x="325" y="500"/>
                    <a:pt x="300" y="500"/>
                  </a:cubicBezTo>
                  <a:cubicBezTo>
                    <a:pt x="300" y="526"/>
                    <a:pt x="300" y="551"/>
                    <a:pt x="300" y="600"/>
                  </a:cubicBezTo>
                  <a:cubicBezTo>
                    <a:pt x="300" y="626"/>
                    <a:pt x="276" y="675"/>
                    <a:pt x="250" y="726"/>
                  </a:cubicBezTo>
                  <a:cubicBezTo>
                    <a:pt x="200" y="751"/>
                    <a:pt x="250" y="751"/>
                    <a:pt x="250" y="775"/>
                  </a:cubicBezTo>
                  <a:cubicBezTo>
                    <a:pt x="276" y="775"/>
                    <a:pt x="276" y="800"/>
                    <a:pt x="250" y="826"/>
                  </a:cubicBezTo>
                  <a:cubicBezTo>
                    <a:pt x="250" y="851"/>
                    <a:pt x="225" y="826"/>
                    <a:pt x="200" y="826"/>
                  </a:cubicBezTo>
                  <a:cubicBezTo>
                    <a:pt x="176" y="826"/>
                    <a:pt x="125" y="851"/>
                    <a:pt x="100" y="875"/>
                  </a:cubicBezTo>
                  <a:cubicBezTo>
                    <a:pt x="76" y="926"/>
                    <a:pt x="76" y="951"/>
                    <a:pt x="100" y="975"/>
                  </a:cubicBezTo>
                  <a:cubicBezTo>
                    <a:pt x="100" y="1000"/>
                    <a:pt x="76" y="1026"/>
                    <a:pt x="100" y="1075"/>
                  </a:cubicBezTo>
                  <a:cubicBezTo>
                    <a:pt x="125" y="1126"/>
                    <a:pt x="76" y="1126"/>
                    <a:pt x="100" y="1151"/>
                  </a:cubicBezTo>
                  <a:cubicBezTo>
                    <a:pt x="100" y="1200"/>
                    <a:pt x="151" y="1200"/>
                    <a:pt x="151" y="1226"/>
                  </a:cubicBezTo>
                  <a:cubicBezTo>
                    <a:pt x="151" y="1275"/>
                    <a:pt x="125" y="1275"/>
                    <a:pt x="125" y="1275"/>
                  </a:cubicBezTo>
                  <a:cubicBezTo>
                    <a:pt x="100" y="1275"/>
                    <a:pt x="100" y="1300"/>
                    <a:pt x="125" y="1326"/>
                  </a:cubicBezTo>
                  <a:cubicBezTo>
                    <a:pt x="151" y="1326"/>
                    <a:pt x="125" y="1400"/>
                    <a:pt x="125" y="1400"/>
                  </a:cubicBezTo>
                  <a:cubicBezTo>
                    <a:pt x="125" y="1425"/>
                    <a:pt x="51" y="1400"/>
                    <a:pt x="76" y="1425"/>
                  </a:cubicBezTo>
                  <a:cubicBezTo>
                    <a:pt x="76" y="1451"/>
                    <a:pt x="51" y="1500"/>
                    <a:pt x="51" y="1500"/>
                  </a:cubicBezTo>
                  <a:cubicBezTo>
                    <a:pt x="51" y="1526"/>
                    <a:pt x="51" y="1576"/>
                    <a:pt x="25" y="1576"/>
                  </a:cubicBezTo>
                  <a:lnTo>
                    <a:pt x="0" y="1576"/>
                  </a:lnTo>
                  <a:lnTo>
                    <a:pt x="0" y="1576"/>
                  </a:lnTo>
                  <a:cubicBezTo>
                    <a:pt x="0" y="1600"/>
                    <a:pt x="0" y="1651"/>
                    <a:pt x="51" y="1676"/>
                  </a:cubicBezTo>
                  <a:cubicBezTo>
                    <a:pt x="76" y="1700"/>
                    <a:pt x="51" y="1726"/>
                    <a:pt x="76" y="1776"/>
                  </a:cubicBezTo>
                  <a:cubicBezTo>
                    <a:pt x="100" y="1800"/>
                    <a:pt x="100" y="1826"/>
                    <a:pt x="125" y="1851"/>
                  </a:cubicBezTo>
                  <a:cubicBezTo>
                    <a:pt x="151" y="1876"/>
                    <a:pt x="151" y="1900"/>
                    <a:pt x="151" y="1926"/>
                  </a:cubicBezTo>
                  <a:cubicBezTo>
                    <a:pt x="125" y="1951"/>
                    <a:pt x="176" y="1951"/>
                    <a:pt x="176" y="1976"/>
                  </a:cubicBezTo>
                  <a:cubicBezTo>
                    <a:pt x="176" y="1976"/>
                    <a:pt x="151" y="2026"/>
                    <a:pt x="176" y="2051"/>
                  </a:cubicBezTo>
                  <a:cubicBezTo>
                    <a:pt x="176" y="2076"/>
                    <a:pt x="200" y="2051"/>
                    <a:pt x="250" y="2051"/>
                  </a:cubicBezTo>
                  <a:cubicBezTo>
                    <a:pt x="276" y="2051"/>
                    <a:pt x="276" y="2026"/>
                    <a:pt x="276" y="2000"/>
                  </a:cubicBezTo>
                  <a:cubicBezTo>
                    <a:pt x="276" y="1951"/>
                    <a:pt x="300" y="1976"/>
                    <a:pt x="300" y="1951"/>
                  </a:cubicBezTo>
                  <a:cubicBezTo>
                    <a:pt x="300" y="1951"/>
                    <a:pt x="351" y="1926"/>
                    <a:pt x="376" y="1951"/>
                  </a:cubicBezTo>
                  <a:cubicBezTo>
                    <a:pt x="425" y="1976"/>
                    <a:pt x="425" y="1951"/>
                    <a:pt x="451" y="1900"/>
                  </a:cubicBezTo>
                  <a:cubicBezTo>
                    <a:pt x="451" y="1876"/>
                    <a:pt x="451" y="1926"/>
                    <a:pt x="476" y="1926"/>
                  </a:cubicBezTo>
                  <a:cubicBezTo>
                    <a:pt x="476" y="1926"/>
                    <a:pt x="501" y="1876"/>
                    <a:pt x="525" y="1826"/>
                  </a:cubicBezTo>
                  <a:cubicBezTo>
                    <a:pt x="551" y="1800"/>
                    <a:pt x="525" y="1800"/>
                    <a:pt x="501" y="1851"/>
                  </a:cubicBezTo>
                  <a:cubicBezTo>
                    <a:pt x="451" y="1876"/>
                    <a:pt x="476" y="1800"/>
                    <a:pt x="501" y="1776"/>
                  </a:cubicBezTo>
                  <a:cubicBezTo>
                    <a:pt x="501" y="1751"/>
                    <a:pt x="501" y="1651"/>
                    <a:pt x="501" y="1651"/>
                  </a:cubicBezTo>
                  <a:cubicBezTo>
                    <a:pt x="501" y="1626"/>
                    <a:pt x="525" y="1600"/>
                    <a:pt x="551" y="1576"/>
                  </a:cubicBezTo>
                  <a:cubicBezTo>
                    <a:pt x="601" y="1576"/>
                    <a:pt x="651" y="1526"/>
                    <a:pt x="651" y="1500"/>
                  </a:cubicBezTo>
                  <a:cubicBezTo>
                    <a:pt x="625" y="1476"/>
                    <a:pt x="701" y="1451"/>
                    <a:pt x="701" y="1425"/>
                  </a:cubicBezTo>
                  <a:cubicBezTo>
                    <a:pt x="701" y="1400"/>
                    <a:pt x="625" y="1351"/>
                    <a:pt x="601" y="1326"/>
                  </a:cubicBezTo>
                  <a:cubicBezTo>
                    <a:pt x="576" y="1326"/>
                    <a:pt x="551" y="1326"/>
                    <a:pt x="551" y="1300"/>
                  </a:cubicBezTo>
                  <a:cubicBezTo>
                    <a:pt x="551" y="1300"/>
                    <a:pt x="525" y="1226"/>
                    <a:pt x="525" y="1200"/>
                  </a:cubicBezTo>
                  <a:cubicBezTo>
                    <a:pt x="525" y="1175"/>
                    <a:pt x="576" y="1151"/>
                    <a:pt x="576" y="1126"/>
                  </a:cubicBezTo>
                  <a:cubicBezTo>
                    <a:pt x="576" y="1075"/>
                    <a:pt x="576" y="1051"/>
                    <a:pt x="601" y="1051"/>
                  </a:cubicBezTo>
                  <a:cubicBezTo>
                    <a:pt x="625" y="1026"/>
                    <a:pt x="601" y="1000"/>
                    <a:pt x="625" y="1000"/>
                  </a:cubicBezTo>
                  <a:cubicBezTo>
                    <a:pt x="676" y="1000"/>
                    <a:pt x="676" y="951"/>
                    <a:pt x="701" y="926"/>
                  </a:cubicBezTo>
                  <a:cubicBezTo>
                    <a:pt x="751" y="900"/>
                    <a:pt x="751" y="900"/>
                    <a:pt x="801" y="875"/>
                  </a:cubicBezTo>
                  <a:cubicBezTo>
                    <a:pt x="851" y="851"/>
                    <a:pt x="925" y="800"/>
                    <a:pt x="925" y="775"/>
                  </a:cubicBezTo>
                  <a:cubicBezTo>
                    <a:pt x="951" y="726"/>
                    <a:pt x="876" y="700"/>
                    <a:pt x="925" y="675"/>
                  </a:cubicBezTo>
                  <a:cubicBezTo>
                    <a:pt x="976" y="651"/>
                    <a:pt x="925" y="600"/>
                    <a:pt x="951" y="600"/>
                  </a:cubicBezTo>
                  <a:cubicBezTo>
                    <a:pt x="1001" y="575"/>
                    <a:pt x="1001" y="575"/>
                    <a:pt x="1025" y="551"/>
                  </a:cubicBezTo>
                  <a:cubicBezTo>
                    <a:pt x="1051" y="526"/>
                    <a:pt x="1076" y="551"/>
                    <a:pt x="1125" y="551"/>
                  </a:cubicBezTo>
                  <a:cubicBezTo>
                    <a:pt x="1151" y="526"/>
                    <a:pt x="1151" y="551"/>
                    <a:pt x="1176" y="551"/>
                  </a:cubicBezTo>
                  <a:cubicBezTo>
                    <a:pt x="1176" y="526"/>
                    <a:pt x="1176" y="500"/>
                    <a:pt x="1151" y="500"/>
                  </a:cubicBezTo>
                  <a:close/>
                  <a:moveTo>
                    <a:pt x="701" y="1726"/>
                  </a:moveTo>
                  <a:lnTo>
                    <a:pt x="701" y="1726"/>
                  </a:lnTo>
                  <a:cubicBezTo>
                    <a:pt x="625" y="1726"/>
                    <a:pt x="601" y="1826"/>
                    <a:pt x="625" y="1851"/>
                  </a:cubicBezTo>
                  <a:cubicBezTo>
                    <a:pt x="625" y="1851"/>
                    <a:pt x="751" y="1726"/>
                    <a:pt x="701" y="1726"/>
                  </a:cubicBezTo>
                  <a:close/>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49" name="Freeform 135">
              <a:extLst>
                <a:ext uri="{FF2B5EF4-FFF2-40B4-BE49-F238E27FC236}">
                  <a16:creationId xmlns:a16="http://schemas.microsoft.com/office/drawing/2014/main" id="{45688DF7-DA3A-A90C-B3BF-99A94F986BA4}"/>
                </a:ext>
              </a:extLst>
            </p:cNvPr>
            <p:cNvSpPr>
              <a:spLocks noChangeArrowheads="1"/>
            </p:cNvSpPr>
            <p:nvPr/>
          </p:nvSpPr>
          <p:spPr bwMode="auto">
            <a:xfrm>
              <a:off x="6975691" y="3434429"/>
              <a:ext cx="288224" cy="150763"/>
            </a:xfrm>
            <a:custGeom>
              <a:avLst/>
              <a:gdLst>
                <a:gd name="T0" fmla="*/ 525 w 575"/>
                <a:gd name="T1" fmla="*/ 100 h 301"/>
                <a:gd name="T2" fmla="*/ 525 w 575"/>
                <a:gd name="T3" fmla="*/ 100 h 301"/>
                <a:gd name="T4" fmla="*/ 550 w 575"/>
                <a:gd name="T5" fmla="*/ 25 h 301"/>
                <a:gd name="T6" fmla="*/ 525 w 575"/>
                <a:gd name="T7" fmla="*/ 49 h 301"/>
                <a:gd name="T8" fmla="*/ 350 w 575"/>
                <a:gd name="T9" fmla="*/ 25 h 301"/>
                <a:gd name="T10" fmla="*/ 175 w 575"/>
                <a:gd name="T11" fmla="*/ 49 h 301"/>
                <a:gd name="T12" fmla="*/ 125 w 575"/>
                <a:gd name="T13" fmla="*/ 100 h 301"/>
                <a:gd name="T14" fmla="*/ 149 w 575"/>
                <a:gd name="T15" fmla="*/ 175 h 301"/>
                <a:gd name="T16" fmla="*/ 200 w 575"/>
                <a:gd name="T17" fmla="*/ 200 h 301"/>
                <a:gd name="T18" fmla="*/ 225 w 575"/>
                <a:gd name="T19" fmla="*/ 249 h 301"/>
                <a:gd name="T20" fmla="*/ 225 w 575"/>
                <a:gd name="T21" fmla="*/ 249 h 301"/>
                <a:gd name="T22" fmla="*/ 325 w 575"/>
                <a:gd name="T23" fmla="*/ 249 h 301"/>
                <a:gd name="T24" fmla="*/ 425 w 575"/>
                <a:gd name="T25" fmla="*/ 300 h 301"/>
                <a:gd name="T26" fmla="*/ 500 w 575"/>
                <a:gd name="T27" fmla="*/ 300 h 301"/>
                <a:gd name="T28" fmla="*/ 500 w 575"/>
                <a:gd name="T29" fmla="*/ 275 h 301"/>
                <a:gd name="T30" fmla="*/ 525 w 575"/>
                <a:gd name="T31" fmla="*/ 249 h 301"/>
                <a:gd name="T32" fmla="*/ 500 w 575"/>
                <a:gd name="T33" fmla="*/ 200 h 301"/>
                <a:gd name="T34" fmla="*/ 500 w 575"/>
                <a:gd name="T35" fmla="*/ 149 h 301"/>
                <a:gd name="T36" fmla="*/ 525 w 575"/>
                <a:gd name="T37" fmla="*/ 100 h 301"/>
                <a:gd name="T38" fmla="*/ 49 w 575"/>
                <a:gd name="T39" fmla="*/ 149 h 301"/>
                <a:gd name="T40" fmla="*/ 49 w 575"/>
                <a:gd name="T41" fmla="*/ 149 h 301"/>
                <a:gd name="T42" fmla="*/ 0 w 575"/>
                <a:gd name="T43" fmla="*/ 249 h 301"/>
                <a:gd name="T44" fmla="*/ 100 w 575"/>
                <a:gd name="T45" fmla="*/ 175 h 301"/>
                <a:gd name="T46" fmla="*/ 49 w 575"/>
                <a:gd name="T47" fmla="*/ 149 h 301"/>
                <a:gd name="T48" fmla="*/ 75 w 575"/>
                <a:gd name="T49" fmla="*/ 125 h 301"/>
                <a:gd name="T50" fmla="*/ 75 w 575"/>
                <a:gd name="T51" fmla="*/ 125 h 301"/>
                <a:gd name="T52" fmla="*/ 25 w 575"/>
                <a:gd name="T53" fmla="*/ 125 h 301"/>
                <a:gd name="T54" fmla="*/ 75 w 575"/>
                <a:gd name="T5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5" h="301">
                  <a:moveTo>
                    <a:pt x="525" y="100"/>
                  </a:moveTo>
                  <a:lnTo>
                    <a:pt x="525" y="100"/>
                  </a:lnTo>
                  <a:cubicBezTo>
                    <a:pt x="550" y="75"/>
                    <a:pt x="574" y="49"/>
                    <a:pt x="550" y="25"/>
                  </a:cubicBezTo>
                  <a:cubicBezTo>
                    <a:pt x="550" y="25"/>
                    <a:pt x="550" y="25"/>
                    <a:pt x="525" y="49"/>
                  </a:cubicBezTo>
                  <a:cubicBezTo>
                    <a:pt x="500" y="49"/>
                    <a:pt x="400" y="0"/>
                    <a:pt x="350" y="25"/>
                  </a:cubicBezTo>
                  <a:cubicBezTo>
                    <a:pt x="300" y="25"/>
                    <a:pt x="200" y="25"/>
                    <a:pt x="175" y="49"/>
                  </a:cubicBezTo>
                  <a:cubicBezTo>
                    <a:pt x="149" y="75"/>
                    <a:pt x="100" y="75"/>
                    <a:pt x="125" y="100"/>
                  </a:cubicBezTo>
                  <a:cubicBezTo>
                    <a:pt x="149" y="125"/>
                    <a:pt x="125" y="149"/>
                    <a:pt x="149" y="175"/>
                  </a:cubicBezTo>
                  <a:cubicBezTo>
                    <a:pt x="175" y="200"/>
                    <a:pt x="175" y="200"/>
                    <a:pt x="200" y="200"/>
                  </a:cubicBezTo>
                  <a:cubicBezTo>
                    <a:pt x="225" y="200"/>
                    <a:pt x="249" y="200"/>
                    <a:pt x="225" y="249"/>
                  </a:cubicBezTo>
                  <a:lnTo>
                    <a:pt x="225" y="249"/>
                  </a:lnTo>
                  <a:cubicBezTo>
                    <a:pt x="275" y="225"/>
                    <a:pt x="325" y="225"/>
                    <a:pt x="325" y="249"/>
                  </a:cubicBezTo>
                  <a:cubicBezTo>
                    <a:pt x="325" y="249"/>
                    <a:pt x="400" y="300"/>
                    <a:pt x="425" y="300"/>
                  </a:cubicBezTo>
                  <a:cubicBezTo>
                    <a:pt x="425" y="300"/>
                    <a:pt x="475" y="300"/>
                    <a:pt x="500" y="300"/>
                  </a:cubicBezTo>
                  <a:lnTo>
                    <a:pt x="500" y="275"/>
                  </a:lnTo>
                  <a:cubicBezTo>
                    <a:pt x="525" y="275"/>
                    <a:pt x="550" y="275"/>
                    <a:pt x="525" y="249"/>
                  </a:cubicBezTo>
                  <a:cubicBezTo>
                    <a:pt x="525" y="225"/>
                    <a:pt x="525" y="225"/>
                    <a:pt x="500" y="200"/>
                  </a:cubicBezTo>
                  <a:cubicBezTo>
                    <a:pt x="500" y="175"/>
                    <a:pt x="500" y="149"/>
                    <a:pt x="500" y="149"/>
                  </a:cubicBezTo>
                  <a:cubicBezTo>
                    <a:pt x="500" y="125"/>
                    <a:pt x="525" y="125"/>
                    <a:pt x="525" y="100"/>
                  </a:cubicBezTo>
                  <a:close/>
                  <a:moveTo>
                    <a:pt x="49" y="149"/>
                  </a:moveTo>
                  <a:lnTo>
                    <a:pt x="49" y="149"/>
                  </a:lnTo>
                  <a:cubicBezTo>
                    <a:pt x="0" y="175"/>
                    <a:pt x="0" y="249"/>
                    <a:pt x="0" y="249"/>
                  </a:cubicBezTo>
                  <a:cubicBezTo>
                    <a:pt x="25" y="249"/>
                    <a:pt x="100" y="200"/>
                    <a:pt x="100" y="175"/>
                  </a:cubicBezTo>
                  <a:cubicBezTo>
                    <a:pt x="125" y="149"/>
                    <a:pt x="100" y="149"/>
                    <a:pt x="49" y="149"/>
                  </a:cubicBezTo>
                  <a:close/>
                  <a:moveTo>
                    <a:pt x="75" y="125"/>
                  </a:moveTo>
                  <a:lnTo>
                    <a:pt x="75" y="125"/>
                  </a:lnTo>
                  <a:cubicBezTo>
                    <a:pt x="100" y="100"/>
                    <a:pt x="0" y="100"/>
                    <a:pt x="25" y="125"/>
                  </a:cubicBezTo>
                  <a:cubicBezTo>
                    <a:pt x="49" y="149"/>
                    <a:pt x="75" y="149"/>
                    <a:pt x="75" y="12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3" name="Freeform 175">
              <a:extLst>
                <a:ext uri="{FF2B5EF4-FFF2-40B4-BE49-F238E27FC236}">
                  <a16:creationId xmlns:a16="http://schemas.microsoft.com/office/drawing/2014/main" id="{6FA52954-4119-1FD3-A6D7-71D3EA1416EC}"/>
                </a:ext>
              </a:extLst>
            </p:cNvPr>
            <p:cNvSpPr>
              <a:spLocks noChangeArrowheads="1"/>
            </p:cNvSpPr>
            <p:nvPr/>
          </p:nvSpPr>
          <p:spPr bwMode="auto">
            <a:xfrm>
              <a:off x="6811628" y="4476472"/>
              <a:ext cx="50993" cy="75381"/>
            </a:xfrm>
            <a:custGeom>
              <a:avLst/>
              <a:gdLst>
                <a:gd name="T0" fmla="*/ 25 w 101"/>
                <a:gd name="T1" fmla="*/ 0 h 151"/>
                <a:gd name="T2" fmla="*/ 25 w 101"/>
                <a:gd name="T3" fmla="*/ 0 h 151"/>
                <a:gd name="T4" fmla="*/ 0 w 101"/>
                <a:gd name="T5" fmla="*/ 75 h 151"/>
                <a:gd name="T6" fmla="*/ 0 w 101"/>
                <a:gd name="T7" fmla="*/ 100 h 151"/>
                <a:gd name="T8" fmla="*/ 50 w 101"/>
                <a:gd name="T9" fmla="*/ 150 h 151"/>
                <a:gd name="T10" fmla="*/ 74 w 101"/>
                <a:gd name="T11" fmla="*/ 150 h 151"/>
                <a:gd name="T12" fmla="*/ 100 w 101"/>
                <a:gd name="T13" fmla="*/ 100 h 151"/>
                <a:gd name="T14" fmla="*/ 25 w 101"/>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51">
                  <a:moveTo>
                    <a:pt x="25" y="0"/>
                  </a:moveTo>
                  <a:lnTo>
                    <a:pt x="25" y="0"/>
                  </a:lnTo>
                  <a:cubicBezTo>
                    <a:pt x="25" y="25"/>
                    <a:pt x="0" y="75"/>
                    <a:pt x="0" y="75"/>
                  </a:cubicBezTo>
                  <a:lnTo>
                    <a:pt x="0" y="100"/>
                  </a:lnTo>
                  <a:cubicBezTo>
                    <a:pt x="25" y="125"/>
                    <a:pt x="50" y="150"/>
                    <a:pt x="50" y="150"/>
                  </a:cubicBezTo>
                  <a:cubicBezTo>
                    <a:pt x="50" y="150"/>
                    <a:pt x="50" y="150"/>
                    <a:pt x="74" y="150"/>
                  </a:cubicBezTo>
                  <a:cubicBezTo>
                    <a:pt x="74" y="125"/>
                    <a:pt x="100" y="100"/>
                    <a:pt x="100" y="100"/>
                  </a:cubicBezTo>
                  <a:cubicBezTo>
                    <a:pt x="74" y="75"/>
                    <a:pt x="50" y="25"/>
                    <a:pt x="25"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4" name="Freeform 176">
              <a:extLst>
                <a:ext uri="{FF2B5EF4-FFF2-40B4-BE49-F238E27FC236}">
                  <a16:creationId xmlns:a16="http://schemas.microsoft.com/office/drawing/2014/main" id="{2746777C-442A-D911-F188-19A56C45EDF8}"/>
                </a:ext>
              </a:extLst>
            </p:cNvPr>
            <p:cNvSpPr>
              <a:spLocks noChangeArrowheads="1"/>
            </p:cNvSpPr>
            <p:nvPr/>
          </p:nvSpPr>
          <p:spPr bwMode="auto">
            <a:xfrm>
              <a:off x="6824928" y="4314621"/>
              <a:ext cx="188455" cy="239449"/>
            </a:xfrm>
            <a:custGeom>
              <a:avLst/>
              <a:gdLst>
                <a:gd name="T0" fmla="*/ 325 w 376"/>
                <a:gd name="T1" fmla="*/ 300 h 476"/>
                <a:gd name="T2" fmla="*/ 325 w 376"/>
                <a:gd name="T3" fmla="*/ 300 h 476"/>
                <a:gd name="T4" fmla="*/ 325 w 376"/>
                <a:gd name="T5" fmla="*/ 250 h 476"/>
                <a:gd name="T6" fmla="*/ 349 w 376"/>
                <a:gd name="T7" fmla="*/ 200 h 476"/>
                <a:gd name="T8" fmla="*/ 225 w 376"/>
                <a:gd name="T9" fmla="*/ 175 h 476"/>
                <a:gd name="T10" fmla="*/ 225 w 376"/>
                <a:gd name="T11" fmla="*/ 100 h 476"/>
                <a:gd name="T12" fmla="*/ 200 w 376"/>
                <a:gd name="T13" fmla="*/ 75 h 476"/>
                <a:gd name="T14" fmla="*/ 149 w 376"/>
                <a:gd name="T15" fmla="*/ 25 h 476"/>
                <a:gd name="T16" fmla="*/ 149 w 376"/>
                <a:gd name="T17" fmla="*/ 25 h 476"/>
                <a:gd name="T18" fmla="*/ 125 w 376"/>
                <a:gd name="T19" fmla="*/ 0 h 476"/>
                <a:gd name="T20" fmla="*/ 100 w 376"/>
                <a:gd name="T21" fmla="*/ 0 h 476"/>
                <a:gd name="T22" fmla="*/ 0 w 376"/>
                <a:gd name="T23" fmla="*/ 25 h 476"/>
                <a:gd name="T24" fmla="*/ 25 w 376"/>
                <a:gd name="T25" fmla="*/ 75 h 476"/>
                <a:gd name="T26" fmla="*/ 49 w 376"/>
                <a:gd name="T27" fmla="*/ 150 h 476"/>
                <a:gd name="T28" fmla="*/ 49 w 376"/>
                <a:gd name="T29" fmla="*/ 300 h 476"/>
                <a:gd name="T30" fmla="*/ 0 w 376"/>
                <a:gd name="T31" fmla="*/ 325 h 476"/>
                <a:gd name="T32" fmla="*/ 75 w 376"/>
                <a:gd name="T33" fmla="*/ 425 h 476"/>
                <a:gd name="T34" fmla="*/ 75 w 376"/>
                <a:gd name="T35" fmla="*/ 425 h 476"/>
                <a:gd name="T36" fmla="*/ 175 w 376"/>
                <a:gd name="T37" fmla="*/ 475 h 476"/>
                <a:gd name="T38" fmla="*/ 325 w 376"/>
                <a:gd name="T39" fmla="*/ 425 h 476"/>
                <a:gd name="T40" fmla="*/ 325 w 376"/>
                <a:gd name="T41" fmla="*/ 400 h 476"/>
                <a:gd name="T42" fmla="*/ 375 w 376"/>
                <a:gd name="T43" fmla="*/ 375 h 476"/>
                <a:gd name="T44" fmla="*/ 325 w 376"/>
                <a:gd name="T45" fmla="*/ 30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6" h="476">
                  <a:moveTo>
                    <a:pt x="325" y="300"/>
                  </a:moveTo>
                  <a:lnTo>
                    <a:pt x="325" y="300"/>
                  </a:lnTo>
                  <a:lnTo>
                    <a:pt x="325" y="250"/>
                  </a:lnTo>
                  <a:cubicBezTo>
                    <a:pt x="349" y="225"/>
                    <a:pt x="349" y="225"/>
                    <a:pt x="349" y="200"/>
                  </a:cubicBezTo>
                  <a:cubicBezTo>
                    <a:pt x="349" y="175"/>
                    <a:pt x="249" y="175"/>
                    <a:pt x="225" y="175"/>
                  </a:cubicBezTo>
                  <a:cubicBezTo>
                    <a:pt x="225" y="150"/>
                    <a:pt x="249" y="100"/>
                    <a:pt x="225" y="100"/>
                  </a:cubicBezTo>
                  <a:cubicBezTo>
                    <a:pt x="200" y="100"/>
                    <a:pt x="200" y="100"/>
                    <a:pt x="200" y="75"/>
                  </a:cubicBezTo>
                  <a:cubicBezTo>
                    <a:pt x="200" y="50"/>
                    <a:pt x="149" y="25"/>
                    <a:pt x="149" y="25"/>
                  </a:cubicBezTo>
                  <a:lnTo>
                    <a:pt x="149" y="25"/>
                  </a:lnTo>
                  <a:cubicBezTo>
                    <a:pt x="149" y="0"/>
                    <a:pt x="125" y="0"/>
                    <a:pt x="125" y="0"/>
                  </a:cubicBezTo>
                  <a:lnTo>
                    <a:pt x="100" y="0"/>
                  </a:lnTo>
                  <a:cubicBezTo>
                    <a:pt x="100" y="0"/>
                    <a:pt x="25" y="25"/>
                    <a:pt x="0" y="25"/>
                  </a:cubicBezTo>
                  <a:cubicBezTo>
                    <a:pt x="0" y="50"/>
                    <a:pt x="0" y="75"/>
                    <a:pt x="25" y="75"/>
                  </a:cubicBezTo>
                  <a:cubicBezTo>
                    <a:pt x="49" y="100"/>
                    <a:pt x="49" y="125"/>
                    <a:pt x="49" y="150"/>
                  </a:cubicBezTo>
                  <a:cubicBezTo>
                    <a:pt x="49" y="175"/>
                    <a:pt x="49" y="300"/>
                    <a:pt x="49" y="300"/>
                  </a:cubicBezTo>
                  <a:cubicBezTo>
                    <a:pt x="25" y="300"/>
                    <a:pt x="25" y="300"/>
                    <a:pt x="0" y="325"/>
                  </a:cubicBezTo>
                  <a:cubicBezTo>
                    <a:pt x="25" y="350"/>
                    <a:pt x="49" y="400"/>
                    <a:pt x="75" y="425"/>
                  </a:cubicBezTo>
                  <a:lnTo>
                    <a:pt x="75" y="425"/>
                  </a:lnTo>
                  <a:cubicBezTo>
                    <a:pt x="100" y="425"/>
                    <a:pt x="175" y="475"/>
                    <a:pt x="175" y="475"/>
                  </a:cubicBezTo>
                  <a:cubicBezTo>
                    <a:pt x="175" y="475"/>
                    <a:pt x="275" y="450"/>
                    <a:pt x="325" y="425"/>
                  </a:cubicBezTo>
                  <a:cubicBezTo>
                    <a:pt x="325" y="425"/>
                    <a:pt x="325" y="425"/>
                    <a:pt x="325" y="400"/>
                  </a:cubicBezTo>
                  <a:cubicBezTo>
                    <a:pt x="325" y="400"/>
                    <a:pt x="349" y="375"/>
                    <a:pt x="375" y="375"/>
                  </a:cubicBezTo>
                  <a:cubicBezTo>
                    <a:pt x="375" y="375"/>
                    <a:pt x="349" y="325"/>
                    <a:pt x="325" y="3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5" name="Freeform 181">
              <a:extLst>
                <a:ext uri="{FF2B5EF4-FFF2-40B4-BE49-F238E27FC236}">
                  <a16:creationId xmlns:a16="http://schemas.microsoft.com/office/drawing/2014/main" id="{0A93534B-6C5F-C01F-3169-4B0065383C84}"/>
                </a:ext>
              </a:extLst>
            </p:cNvPr>
            <p:cNvSpPr>
              <a:spLocks noChangeArrowheads="1"/>
            </p:cNvSpPr>
            <p:nvPr/>
          </p:nvSpPr>
          <p:spPr bwMode="auto">
            <a:xfrm>
              <a:off x="6609868" y="3760345"/>
              <a:ext cx="465593" cy="379125"/>
            </a:xfrm>
            <a:custGeom>
              <a:avLst/>
              <a:gdLst>
                <a:gd name="T0" fmla="*/ 26 w 927"/>
                <a:gd name="T1" fmla="*/ 151 h 752"/>
                <a:gd name="T2" fmla="*/ 26 w 927"/>
                <a:gd name="T3" fmla="*/ 151 h 752"/>
                <a:gd name="T4" fmla="*/ 26 w 927"/>
                <a:gd name="T5" fmla="*/ 251 h 752"/>
                <a:gd name="T6" fmla="*/ 26 w 927"/>
                <a:gd name="T7" fmla="*/ 300 h 752"/>
                <a:gd name="T8" fmla="*/ 50 w 927"/>
                <a:gd name="T9" fmla="*/ 351 h 752"/>
                <a:gd name="T10" fmla="*/ 75 w 927"/>
                <a:gd name="T11" fmla="*/ 400 h 752"/>
                <a:gd name="T12" fmla="*/ 101 w 927"/>
                <a:gd name="T13" fmla="*/ 476 h 752"/>
                <a:gd name="T14" fmla="*/ 101 w 927"/>
                <a:gd name="T15" fmla="*/ 501 h 752"/>
                <a:gd name="T16" fmla="*/ 150 w 927"/>
                <a:gd name="T17" fmla="*/ 551 h 752"/>
                <a:gd name="T18" fmla="*/ 201 w 927"/>
                <a:gd name="T19" fmla="*/ 576 h 752"/>
                <a:gd name="T20" fmla="*/ 251 w 927"/>
                <a:gd name="T21" fmla="*/ 601 h 752"/>
                <a:gd name="T22" fmla="*/ 301 w 927"/>
                <a:gd name="T23" fmla="*/ 601 h 752"/>
                <a:gd name="T24" fmla="*/ 326 w 927"/>
                <a:gd name="T25" fmla="*/ 625 h 752"/>
                <a:gd name="T26" fmla="*/ 401 w 927"/>
                <a:gd name="T27" fmla="*/ 651 h 752"/>
                <a:gd name="T28" fmla="*/ 451 w 927"/>
                <a:gd name="T29" fmla="*/ 701 h 752"/>
                <a:gd name="T30" fmla="*/ 501 w 927"/>
                <a:gd name="T31" fmla="*/ 701 h 752"/>
                <a:gd name="T32" fmla="*/ 575 w 927"/>
                <a:gd name="T33" fmla="*/ 701 h 752"/>
                <a:gd name="T34" fmla="*/ 651 w 927"/>
                <a:gd name="T35" fmla="*/ 701 h 752"/>
                <a:gd name="T36" fmla="*/ 726 w 927"/>
                <a:gd name="T37" fmla="*/ 725 h 752"/>
                <a:gd name="T38" fmla="*/ 775 w 927"/>
                <a:gd name="T39" fmla="*/ 751 h 752"/>
                <a:gd name="T40" fmla="*/ 775 w 927"/>
                <a:gd name="T41" fmla="*/ 676 h 752"/>
                <a:gd name="T42" fmla="*/ 875 w 927"/>
                <a:gd name="T43" fmla="*/ 601 h 752"/>
                <a:gd name="T44" fmla="*/ 901 w 927"/>
                <a:gd name="T45" fmla="*/ 551 h 752"/>
                <a:gd name="T46" fmla="*/ 875 w 927"/>
                <a:gd name="T47" fmla="*/ 476 h 752"/>
                <a:gd name="T48" fmla="*/ 875 w 927"/>
                <a:gd name="T49" fmla="*/ 376 h 752"/>
                <a:gd name="T50" fmla="*/ 826 w 927"/>
                <a:gd name="T51" fmla="*/ 326 h 752"/>
                <a:gd name="T52" fmla="*/ 901 w 927"/>
                <a:gd name="T53" fmla="*/ 300 h 752"/>
                <a:gd name="T54" fmla="*/ 875 w 927"/>
                <a:gd name="T55" fmla="*/ 200 h 752"/>
                <a:gd name="T56" fmla="*/ 875 w 927"/>
                <a:gd name="T57" fmla="*/ 126 h 752"/>
                <a:gd name="T58" fmla="*/ 801 w 927"/>
                <a:gd name="T59" fmla="*/ 76 h 752"/>
                <a:gd name="T60" fmla="*/ 801 w 927"/>
                <a:gd name="T61" fmla="*/ 76 h 752"/>
                <a:gd name="T62" fmla="*/ 551 w 927"/>
                <a:gd name="T63" fmla="*/ 76 h 752"/>
                <a:gd name="T64" fmla="*/ 501 w 927"/>
                <a:gd name="T65" fmla="*/ 51 h 752"/>
                <a:gd name="T66" fmla="*/ 451 w 927"/>
                <a:gd name="T67" fmla="*/ 76 h 752"/>
                <a:gd name="T68" fmla="*/ 401 w 927"/>
                <a:gd name="T69" fmla="*/ 26 h 752"/>
                <a:gd name="T70" fmla="*/ 201 w 927"/>
                <a:gd name="T71" fmla="*/ 76 h 752"/>
                <a:gd name="T72" fmla="*/ 50 w 927"/>
                <a:gd name="T73" fmla="*/ 126 h 752"/>
                <a:gd name="T74" fmla="*/ 26 w 927"/>
                <a:gd name="T75" fmla="*/ 15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7" h="752">
                  <a:moveTo>
                    <a:pt x="26" y="151"/>
                  </a:moveTo>
                  <a:lnTo>
                    <a:pt x="26" y="151"/>
                  </a:lnTo>
                  <a:cubicBezTo>
                    <a:pt x="26" y="176"/>
                    <a:pt x="50" y="226"/>
                    <a:pt x="26" y="251"/>
                  </a:cubicBezTo>
                  <a:cubicBezTo>
                    <a:pt x="0" y="276"/>
                    <a:pt x="26" y="300"/>
                    <a:pt x="26" y="300"/>
                  </a:cubicBezTo>
                  <a:cubicBezTo>
                    <a:pt x="50" y="300"/>
                    <a:pt x="50" y="326"/>
                    <a:pt x="50" y="351"/>
                  </a:cubicBezTo>
                  <a:cubicBezTo>
                    <a:pt x="50" y="351"/>
                    <a:pt x="75" y="351"/>
                    <a:pt x="75" y="400"/>
                  </a:cubicBezTo>
                  <a:cubicBezTo>
                    <a:pt x="75" y="426"/>
                    <a:pt x="75" y="451"/>
                    <a:pt x="101" y="476"/>
                  </a:cubicBezTo>
                  <a:lnTo>
                    <a:pt x="101" y="501"/>
                  </a:lnTo>
                  <a:cubicBezTo>
                    <a:pt x="101" y="526"/>
                    <a:pt x="126" y="526"/>
                    <a:pt x="150" y="551"/>
                  </a:cubicBezTo>
                  <a:cubicBezTo>
                    <a:pt x="201" y="551"/>
                    <a:pt x="201" y="576"/>
                    <a:pt x="201" y="576"/>
                  </a:cubicBezTo>
                  <a:cubicBezTo>
                    <a:pt x="201" y="601"/>
                    <a:pt x="251" y="625"/>
                    <a:pt x="251" y="601"/>
                  </a:cubicBezTo>
                  <a:cubicBezTo>
                    <a:pt x="275" y="576"/>
                    <a:pt x="301" y="601"/>
                    <a:pt x="301" y="601"/>
                  </a:cubicBezTo>
                  <a:cubicBezTo>
                    <a:pt x="326" y="601"/>
                    <a:pt x="326" y="625"/>
                    <a:pt x="326" y="625"/>
                  </a:cubicBezTo>
                  <a:cubicBezTo>
                    <a:pt x="351" y="651"/>
                    <a:pt x="375" y="625"/>
                    <a:pt x="401" y="651"/>
                  </a:cubicBezTo>
                  <a:cubicBezTo>
                    <a:pt x="426" y="651"/>
                    <a:pt x="426" y="701"/>
                    <a:pt x="451" y="701"/>
                  </a:cubicBezTo>
                  <a:cubicBezTo>
                    <a:pt x="451" y="725"/>
                    <a:pt x="475" y="676"/>
                    <a:pt x="501" y="701"/>
                  </a:cubicBezTo>
                  <a:cubicBezTo>
                    <a:pt x="501" y="701"/>
                    <a:pt x="551" y="725"/>
                    <a:pt x="575" y="701"/>
                  </a:cubicBezTo>
                  <a:cubicBezTo>
                    <a:pt x="601" y="701"/>
                    <a:pt x="626" y="725"/>
                    <a:pt x="651" y="701"/>
                  </a:cubicBezTo>
                  <a:cubicBezTo>
                    <a:pt x="675" y="701"/>
                    <a:pt x="726" y="725"/>
                    <a:pt x="726" y="725"/>
                  </a:cubicBezTo>
                  <a:cubicBezTo>
                    <a:pt x="726" y="725"/>
                    <a:pt x="751" y="751"/>
                    <a:pt x="775" y="751"/>
                  </a:cubicBezTo>
                  <a:cubicBezTo>
                    <a:pt x="801" y="725"/>
                    <a:pt x="775" y="701"/>
                    <a:pt x="775" y="676"/>
                  </a:cubicBezTo>
                  <a:cubicBezTo>
                    <a:pt x="775" y="676"/>
                    <a:pt x="851" y="601"/>
                    <a:pt x="875" y="601"/>
                  </a:cubicBezTo>
                  <a:cubicBezTo>
                    <a:pt x="875" y="576"/>
                    <a:pt x="901" y="576"/>
                    <a:pt x="901" y="551"/>
                  </a:cubicBezTo>
                  <a:cubicBezTo>
                    <a:pt x="926" y="551"/>
                    <a:pt x="875" y="476"/>
                    <a:pt x="875" y="476"/>
                  </a:cubicBezTo>
                  <a:cubicBezTo>
                    <a:pt x="875" y="451"/>
                    <a:pt x="851" y="400"/>
                    <a:pt x="875" y="376"/>
                  </a:cubicBezTo>
                  <a:cubicBezTo>
                    <a:pt x="875" y="376"/>
                    <a:pt x="826" y="351"/>
                    <a:pt x="826" y="326"/>
                  </a:cubicBezTo>
                  <a:cubicBezTo>
                    <a:pt x="826" y="326"/>
                    <a:pt x="875" y="300"/>
                    <a:pt x="901" y="300"/>
                  </a:cubicBezTo>
                  <a:cubicBezTo>
                    <a:pt x="901" y="276"/>
                    <a:pt x="901" y="226"/>
                    <a:pt x="875" y="200"/>
                  </a:cubicBezTo>
                  <a:cubicBezTo>
                    <a:pt x="875" y="200"/>
                    <a:pt x="851" y="176"/>
                    <a:pt x="875" y="126"/>
                  </a:cubicBezTo>
                  <a:cubicBezTo>
                    <a:pt x="875" y="100"/>
                    <a:pt x="801" y="76"/>
                    <a:pt x="801" y="76"/>
                  </a:cubicBezTo>
                  <a:lnTo>
                    <a:pt x="801" y="76"/>
                  </a:lnTo>
                  <a:cubicBezTo>
                    <a:pt x="726" y="100"/>
                    <a:pt x="551" y="76"/>
                    <a:pt x="551" y="76"/>
                  </a:cubicBezTo>
                  <a:cubicBezTo>
                    <a:pt x="551" y="76"/>
                    <a:pt x="526" y="51"/>
                    <a:pt x="501" y="51"/>
                  </a:cubicBezTo>
                  <a:cubicBezTo>
                    <a:pt x="501" y="76"/>
                    <a:pt x="475" y="76"/>
                    <a:pt x="451" y="76"/>
                  </a:cubicBezTo>
                  <a:cubicBezTo>
                    <a:pt x="401" y="76"/>
                    <a:pt x="401" y="51"/>
                    <a:pt x="401" y="26"/>
                  </a:cubicBezTo>
                  <a:cubicBezTo>
                    <a:pt x="401" y="0"/>
                    <a:pt x="251" y="26"/>
                    <a:pt x="201" y="76"/>
                  </a:cubicBezTo>
                  <a:cubicBezTo>
                    <a:pt x="150" y="126"/>
                    <a:pt x="50" y="100"/>
                    <a:pt x="50" y="126"/>
                  </a:cubicBezTo>
                  <a:cubicBezTo>
                    <a:pt x="50" y="151"/>
                    <a:pt x="50" y="151"/>
                    <a:pt x="26" y="1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6" name="Freeform 182">
              <a:extLst>
                <a:ext uri="{FF2B5EF4-FFF2-40B4-BE49-F238E27FC236}">
                  <a16:creationId xmlns:a16="http://schemas.microsoft.com/office/drawing/2014/main" id="{203CB00E-F4A2-B5C4-4B58-DAE7C5D0D037}"/>
                </a:ext>
              </a:extLst>
            </p:cNvPr>
            <p:cNvSpPr>
              <a:spLocks noChangeArrowheads="1"/>
            </p:cNvSpPr>
            <p:nvPr/>
          </p:nvSpPr>
          <p:spPr bwMode="auto">
            <a:xfrm>
              <a:off x="6685251" y="4363400"/>
              <a:ext cx="164065" cy="164065"/>
            </a:xfrm>
            <a:custGeom>
              <a:avLst/>
              <a:gdLst>
                <a:gd name="T0" fmla="*/ 251 w 326"/>
                <a:gd name="T1" fmla="*/ 300 h 326"/>
                <a:gd name="T2" fmla="*/ 251 w 326"/>
                <a:gd name="T3" fmla="*/ 300 h 326"/>
                <a:gd name="T4" fmla="*/ 325 w 326"/>
                <a:gd name="T5" fmla="*/ 200 h 326"/>
                <a:gd name="T6" fmla="*/ 325 w 326"/>
                <a:gd name="T7" fmla="*/ 75 h 326"/>
                <a:gd name="T8" fmla="*/ 251 w 326"/>
                <a:gd name="T9" fmla="*/ 25 h 326"/>
                <a:gd name="T10" fmla="*/ 101 w 326"/>
                <a:gd name="T11" fmla="*/ 25 h 326"/>
                <a:gd name="T12" fmla="*/ 51 w 326"/>
                <a:gd name="T13" fmla="*/ 25 h 326"/>
                <a:gd name="T14" fmla="*/ 0 w 326"/>
                <a:gd name="T15" fmla="*/ 50 h 326"/>
                <a:gd name="T16" fmla="*/ 51 w 326"/>
                <a:gd name="T17" fmla="*/ 125 h 326"/>
                <a:gd name="T18" fmla="*/ 125 w 326"/>
                <a:gd name="T19" fmla="*/ 200 h 326"/>
                <a:gd name="T20" fmla="*/ 201 w 326"/>
                <a:gd name="T21" fmla="*/ 300 h 326"/>
                <a:gd name="T22" fmla="*/ 251 w 326"/>
                <a:gd name="T23" fmla="*/ 325 h 326"/>
                <a:gd name="T24" fmla="*/ 251 w 326"/>
                <a:gd name="T25" fmla="*/ 30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26">
                  <a:moveTo>
                    <a:pt x="251" y="300"/>
                  </a:moveTo>
                  <a:lnTo>
                    <a:pt x="251" y="300"/>
                  </a:lnTo>
                  <a:cubicBezTo>
                    <a:pt x="251" y="275"/>
                    <a:pt x="301" y="200"/>
                    <a:pt x="325" y="200"/>
                  </a:cubicBezTo>
                  <a:cubicBezTo>
                    <a:pt x="325" y="200"/>
                    <a:pt x="325" y="125"/>
                    <a:pt x="325" y="75"/>
                  </a:cubicBezTo>
                  <a:cubicBezTo>
                    <a:pt x="276" y="50"/>
                    <a:pt x="251" y="25"/>
                    <a:pt x="251" y="25"/>
                  </a:cubicBezTo>
                  <a:cubicBezTo>
                    <a:pt x="251" y="25"/>
                    <a:pt x="125" y="25"/>
                    <a:pt x="101" y="25"/>
                  </a:cubicBezTo>
                  <a:cubicBezTo>
                    <a:pt x="76" y="0"/>
                    <a:pt x="51" y="50"/>
                    <a:pt x="51" y="25"/>
                  </a:cubicBezTo>
                  <a:cubicBezTo>
                    <a:pt x="25" y="0"/>
                    <a:pt x="0" y="25"/>
                    <a:pt x="0" y="50"/>
                  </a:cubicBezTo>
                  <a:cubicBezTo>
                    <a:pt x="0" y="75"/>
                    <a:pt x="51" y="75"/>
                    <a:pt x="51" y="125"/>
                  </a:cubicBezTo>
                  <a:cubicBezTo>
                    <a:pt x="51" y="150"/>
                    <a:pt x="125" y="200"/>
                    <a:pt x="125" y="200"/>
                  </a:cubicBezTo>
                  <a:cubicBezTo>
                    <a:pt x="125" y="225"/>
                    <a:pt x="176" y="250"/>
                    <a:pt x="201" y="300"/>
                  </a:cubicBezTo>
                  <a:cubicBezTo>
                    <a:pt x="201" y="300"/>
                    <a:pt x="225" y="325"/>
                    <a:pt x="251" y="325"/>
                  </a:cubicBezTo>
                  <a:lnTo>
                    <a:pt x="251" y="300"/>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7" name="Freeform 183">
              <a:extLst>
                <a:ext uri="{FF2B5EF4-FFF2-40B4-BE49-F238E27FC236}">
                  <a16:creationId xmlns:a16="http://schemas.microsoft.com/office/drawing/2014/main" id="{5091914B-2E01-E9BE-9075-26216C556D51}"/>
                </a:ext>
              </a:extLst>
            </p:cNvPr>
            <p:cNvSpPr>
              <a:spLocks noChangeArrowheads="1"/>
            </p:cNvSpPr>
            <p:nvPr/>
          </p:nvSpPr>
          <p:spPr bwMode="auto">
            <a:xfrm>
              <a:off x="6598781" y="4288017"/>
              <a:ext cx="252751" cy="226144"/>
            </a:xfrm>
            <a:custGeom>
              <a:avLst/>
              <a:gdLst>
                <a:gd name="T0" fmla="*/ 300 w 501"/>
                <a:gd name="T1" fmla="*/ 350 h 451"/>
                <a:gd name="T2" fmla="*/ 300 w 501"/>
                <a:gd name="T3" fmla="*/ 350 h 451"/>
                <a:gd name="T4" fmla="*/ 226 w 501"/>
                <a:gd name="T5" fmla="*/ 275 h 451"/>
                <a:gd name="T6" fmla="*/ 175 w 501"/>
                <a:gd name="T7" fmla="*/ 200 h 451"/>
                <a:gd name="T8" fmla="*/ 226 w 501"/>
                <a:gd name="T9" fmla="*/ 175 h 451"/>
                <a:gd name="T10" fmla="*/ 276 w 501"/>
                <a:gd name="T11" fmla="*/ 175 h 451"/>
                <a:gd name="T12" fmla="*/ 426 w 501"/>
                <a:gd name="T13" fmla="*/ 175 h 451"/>
                <a:gd name="T14" fmla="*/ 500 w 501"/>
                <a:gd name="T15" fmla="*/ 225 h 451"/>
                <a:gd name="T16" fmla="*/ 500 w 501"/>
                <a:gd name="T17" fmla="*/ 200 h 451"/>
                <a:gd name="T18" fmla="*/ 476 w 501"/>
                <a:gd name="T19" fmla="*/ 125 h 451"/>
                <a:gd name="T20" fmla="*/ 451 w 501"/>
                <a:gd name="T21" fmla="*/ 75 h 451"/>
                <a:gd name="T22" fmla="*/ 426 w 501"/>
                <a:gd name="T23" fmla="*/ 75 h 451"/>
                <a:gd name="T24" fmla="*/ 326 w 501"/>
                <a:gd name="T25" fmla="*/ 75 h 451"/>
                <a:gd name="T26" fmla="*/ 251 w 501"/>
                <a:gd name="T27" fmla="*/ 0 h 451"/>
                <a:gd name="T28" fmla="*/ 175 w 501"/>
                <a:gd name="T29" fmla="*/ 50 h 451"/>
                <a:gd name="T30" fmla="*/ 151 w 501"/>
                <a:gd name="T31" fmla="*/ 100 h 451"/>
                <a:gd name="T32" fmla="*/ 126 w 501"/>
                <a:gd name="T33" fmla="*/ 125 h 451"/>
                <a:gd name="T34" fmla="*/ 75 w 501"/>
                <a:gd name="T35" fmla="*/ 125 h 451"/>
                <a:gd name="T36" fmla="*/ 0 w 501"/>
                <a:gd name="T37" fmla="*/ 150 h 451"/>
                <a:gd name="T38" fmla="*/ 25 w 501"/>
                <a:gd name="T39" fmla="*/ 175 h 451"/>
                <a:gd name="T40" fmla="*/ 100 w 501"/>
                <a:gd name="T41" fmla="*/ 225 h 451"/>
                <a:gd name="T42" fmla="*/ 175 w 501"/>
                <a:gd name="T43" fmla="*/ 350 h 451"/>
                <a:gd name="T44" fmla="*/ 251 w 501"/>
                <a:gd name="T45" fmla="*/ 375 h 451"/>
                <a:gd name="T46" fmla="*/ 326 w 501"/>
                <a:gd name="T47" fmla="*/ 425 h 451"/>
                <a:gd name="T48" fmla="*/ 376 w 501"/>
                <a:gd name="T49" fmla="*/ 450 h 451"/>
                <a:gd name="T50" fmla="*/ 300 w 501"/>
                <a:gd name="T51" fmla="*/ 3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1" h="451">
                  <a:moveTo>
                    <a:pt x="300" y="350"/>
                  </a:moveTo>
                  <a:lnTo>
                    <a:pt x="300" y="350"/>
                  </a:lnTo>
                  <a:cubicBezTo>
                    <a:pt x="300" y="350"/>
                    <a:pt x="226" y="300"/>
                    <a:pt x="226" y="275"/>
                  </a:cubicBezTo>
                  <a:cubicBezTo>
                    <a:pt x="226" y="225"/>
                    <a:pt x="175" y="225"/>
                    <a:pt x="175" y="200"/>
                  </a:cubicBezTo>
                  <a:cubicBezTo>
                    <a:pt x="175" y="175"/>
                    <a:pt x="200" y="150"/>
                    <a:pt x="226" y="175"/>
                  </a:cubicBezTo>
                  <a:cubicBezTo>
                    <a:pt x="226" y="200"/>
                    <a:pt x="251" y="150"/>
                    <a:pt x="276" y="175"/>
                  </a:cubicBezTo>
                  <a:cubicBezTo>
                    <a:pt x="300" y="175"/>
                    <a:pt x="426" y="175"/>
                    <a:pt x="426" y="175"/>
                  </a:cubicBezTo>
                  <a:cubicBezTo>
                    <a:pt x="426" y="175"/>
                    <a:pt x="451" y="200"/>
                    <a:pt x="500" y="225"/>
                  </a:cubicBezTo>
                  <a:cubicBezTo>
                    <a:pt x="500" y="200"/>
                    <a:pt x="500" y="200"/>
                    <a:pt x="500" y="200"/>
                  </a:cubicBezTo>
                  <a:cubicBezTo>
                    <a:pt x="500" y="175"/>
                    <a:pt x="500" y="150"/>
                    <a:pt x="476" y="125"/>
                  </a:cubicBezTo>
                  <a:cubicBezTo>
                    <a:pt x="451" y="125"/>
                    <a:pt x="451" y="100"/>
                    <a:pt x="451" y="75"/>
                  </a:cubicBezTo>
                  <a:cubicBezTo>
                    <a:pt x="426" y="75"/>
                    <a:pt x="426" y="75"/>
                    <a:pt x="426" y="75"/>
                  </a:cubicBezTo>
                  <a:cubicBezTo>
                    <a:pt x="400" y="100"/>
                    <a:pt x="326" y="100"/>
                    <a:pt x="326" y="75"/>
                  </a:cubicBezTo>
                  <a:cubicBezTo>
                    <a:pt x="300" y="50"/>
                    <a:pt x="251" y="25"/>
                    <a:pt x="251" y="0"/>
                  </a:cubicBezTo>
                  <a:cubicBezTo>
                    <a:pt x="226" y="25"/>
                    <a:pt x="200" y="50"/>
                    <a:pt x="175" y="50"/>
                  </a:cubicBezTo>
                  <a:cubicBezTo>
                    <a:pt x="175" y="50"/>
                    <a:pt x="175" y="100"/>
                    <a:pt x="151" y="100"/>
                  </a:cubicBezTo>
                  <a:lnTo>
                    <a:pt x="126" y="125"/>
                  </a:lnTo>
                  <a:cubicBezTo>
                    <a:pt x="126" y="150"/>
                    <a:pt x="75" y="125"/>
                    <a:pt x="75" y="125"/>
                  </a:cubicBezTo>
                  <a:cubicBezTo>
                    <a:pt x="51" y="125"/>
                    <a:pt x="25" y="150"/>
                    <a:pt x="0" y="150"/>
                  </a:cubicBezTo>
                  <a:cubicBezTo>
                    <a:pt x="0" y="150"/>
                    <a:pt x="0" y="175"/>
                    <a:pt x="25" y="175"/>
                  </a:cubicBezTo>
                  <a:cubicBezTo>
                    <a:pt x="51" y="175"/>
                    <a:pt x="100" y="175"/>
                    <a:pt x="100" y="225"/>
                  </a:cubicBezTo>
                  <a:cubicBezTo>
                    <a:pt x="100" y="250"/>
                    <a:pt x="151" y="325"/>
                    <a:pt x="175" y="350"/>
                  </a:cubicBezTo>
                  <a:cubicBezTo>
                    <a:pt x="200" y="375"/>
                    <a:pt x="251" y="375"/>
                    <a:pt x="251" y="375"/>
                  </a:cubicBezTo>
                  <a:cubicBezTo>
                    <a:pt x="251" y="400"/>
                    <a:pt x="300" y="425"/>
                    <a:pt x="326" y="425"/>
                  </a:cubicBezTo>
                  <a:cubicBezTo>
                    <a:pt x="351" y="425"/>
                    <a:pt x="351" y="425"/>
                    <a:pt x="376" y="450"/>
                  </a:cubicBezTo>
                  <a:cubicBezTo>
                    <a:pt x="351" y="400"/>
                    <a:pt x="300" y="375"/>
                    <a:pt x="300" y="350"/>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8" name="Freeform 184">
              <a:extLst>
                <a:ext uri="{FF2B5EF4-FFF2-40B4-BE49-F238E27FC236}">
                  <a16:creationId xmlns:a16="http://schemas.microsoft.com/office/drawing/2014/main" id="{57D2050C-8F8A-C405-BB8F-19B688F2E3AE}"/>
                </a:ext>
              </a:extLst>
            </p:cNvPr>
            <p:cNvSpPr>
              <a:spLocks noChangeArrowheads="1"/>
            </p:cNvSpPr>
            <p:nvPr/>
          </p:nvSpPr>
          <p:spPr bwMode="auto">
            <a:xfrm>
              <a:off x="6838233" y="4527463"/>
              <a:ext cx="88683" cy="164065"/>
            </a:xfrm>
            <a:custGeom>
              <a:avLst/>
              <a:gdLst>
                <a:gd name="T0" fmla="*/ 124 w 176"/>
                <a:gd name="T1" fmla="*/ 275 h 326"/>
                <a:gd name="T2" fmla="*/ 124 w 176"/>
                <a:gd name="T3" fmla="*/ 275 h 326"/>
                <a:gd name="T4" fmla="*/ 150 w 176"/>
                <a:gd name="T5" fmla="*/ 250 h 326"/>
                <a:gd name="T6" fmla="*/ 175 w 176"/>
                <a:gd name="T7" fmla="*/ 200 h 326"/>
                <a:gd name="T8" fmla="*/ 175 w 176"/>
                <a:gd name="T9" fmla="*/ 200 h 326"/>
                <a:gd name="T10" fmla="*/ 124 w 176"/>
                <a:gd name="T11" fmla="*/ 125 h 326"/>
                <a:gd name="T12" fmla="*/ 150 w 176"/>
                <a:gd name="T13" fmla="*/ 25 h 326"/>
                <a:gd name="T14" fmla="*/ 50 w 176"/>
                <a:gd name="T15" fmla="*/ 0 h 326"/>
                <a:gd name="T16" fmla="*/ 24 w 176"/>
                <a:gd name="T17" fmla="*/ 50 h 326"/>
                <a:gd name="T18" fmla="*/ 50 w 176"/>
                <a:gd name="T19" fmla="*/ 125 h 326"/>
                <a:gd name="T20" fmla="*/ 24 w 176"/>
                <a:gd name="T21" fmla="*/ 250 h 326"/>
                <a:gd name="T22" fmla="*/ 100 w 176"/>
                <a:gd name="T23" fmla="*/ 325 h 326"/>
                <a:gd name="T24" fmla="*/ 124 w 176"/>
                <a:gd name="T25" fmla="*/ 2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326">
                  <a:moveTo>
                    <a:pt x="124" y="275"/>
                  </a:moveTo>
                  <a:lnTo>
                    <a:pt x="124" y="275"/>
                  </a:lnTo>
                  <a:cubicBezTo>
                    <a:pt x="150" y="275"/>
                    <a:pt x="124" y="275"/>
                    <a:pt x="150" y="250"/>
                  </a:cubicBezTo>
                  <a:cubicBezTo>
                    <a:pt x="175" y="225"/>
                    <a:pt x="175" y="200"/>
                    <a:pt x="175" y="200"/>
                  </a:cubicBezTo>
                  <a:lnTo>
                    <a:pt x="175" y="200"/>
                  </a:lnTo>
                  <a:cubicBezTo>
                    <a:pt x="150" y="175"/>
                    <a:pt x="124" y="150"/>
                    <a:pt x="124" y="125"/>
                  </a:cubicBezTo>
                  <a:cubicBezTo>
                    <a:pt x="124" y="100"/>
                    <a:pt x="124" y="75"/>
                    <a:pt x="150" y="25"/>
                  </a:cubicBezTo>
                  <a:cubicBezTo>
                    <a:pt x="124" y="25"/>
                    <a:pt x="75" y="0"/>
                    <a:pt x="50" y="0"/>
                  </a:cubicBezTo>
                  <a:cubicBezTo>
                    <a:pt x="50" y="0"/>
                    <a:pt x="24" y="25"/>
                    <a:pt x="24" y="50"/>
                  </a:cubicBezTo>
                  <a:cubicBezTo>
                    <a:pt x="50" y="75"/>
                    <a:pt x="75" y="100"/>
                    <a:pt x="50" y="125"/>
                  </a:cubicBezTo>
                  <a:cubicBezTo>
                    <a:pt x="24" y="150"/>
                    <a:pt x="0" y="225"/>
                    <a:pt x="24" y="250"/>
                  </a:cubicBezTo>
                  <a:cubicBezTo>
                    <a:pt x="75" y="275"/>
                    <a:pt x="75" y="325"/>
                    <a:pt x="100" y="325"/>
                  </a:cubicBezTo>
                  <a:cubicBezTo>
                    <a:pt x="100" y="300"/>
                    <a:pt x="100" y="275"/>
                    <a:pt x="124" y="275"/>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59" name="Freeform 185">
              <a:extLst>
                <a:ext uri="{FF2B5EF4-FFF2-40B4-BE49-F238E27FC236}">
                  <a16:creationId xmlns:a16="http://schemas.microsoft.com/office/drawing/2014/main" id="{7EAF1B36-3EC1-66AA-E757-2E1DAEF2A304}"/>
                </a:ext>
              </a:extLst>
            </p:cNvPr>
            <p:cNvSpPr>
              <a:spLocks noChangeArrowheads="1"/>
            </p:cNvSpPr>
            <p:nvPr/>
          </p:nvSpPr>
          <p:spPr bwMode="auto">
            <a:xfrm>
              <a:off x="6711858" y="4163859"/>
              <a:ext cx="301527" cy="177368"/>
            </a:xfrm>
            <a:custGeom>
              <a:avLst/>
              <a:gdLst>
                <a:gd name="T0" fmla="*/ 574 w 601"/>
                <a:gd name="T1" fmla="*/ 50 h 351"/>
                <a:gd name="T2" fmla="*/ 574 w 601"/>
                <a:gd name="T3" fmla="*/ 50 h 351"/>
                <a:gd name="T4" fmla="*/ 550 w 601"/>
                <a:gd name="T5" fmla="*/ 50 h 351"/>
                <a:gd name="T6" fmla="*/ 500 w 601"/>
                <a:gd name="T7" fmla="*/ 25 h 351"/>
                <a:gd name="T8" fmla="*/ 425 w 601"/>
                <a:gd name="T9" fmla="*/ 0 h 351"/>
                <a:gd name="T10" fmla="*/ 325 w 601"/>
                <a:gd name="T11" fmla="*/ 50 h 351"/>
                <a:gd name="T12" fmla="*/ 225 w 601"/>
                <a:gd name="T13" fmla="*/ 75 h 351"/>
                <a:gd name="T14" fmla="*/ 100 w 601"/>
                <a:gd name="T15" fmla="*/ 75 h 351"/>
                <a:gd name="T16" fmla="*/ 100 w 601"/>
                <a:gd name="T17" fmla="*/ 75 h 351"/>
                <a:gd name="T18" fmla="*/ 74 w 601"/>
                <a:gd name="T19" fmla="*/ 100 h 351"/>
                <a:gd name="T20" fmla="*/ 25 w 601"/>
                <a:gd name="T21" fmla="*/ 125 h 351"/>
                <a:gd name="T22" fmla="*/ 25 w 601"/>
                <a:gd name="T23" fmla="*/ 150 h 351"/>
                <a:gd name="T24" fmla="*/ 0 w 601"/>
                <a:gd name="T25" fmla="*/ 200 h 351"/>
                <a:gd name="T26" fmla="*/ 0 w 601"/>
                <a:gd name="T27" fmla="*/ 225 h 351"/>
                <a:gd name="T28" fmla="*/ 25 w 601"/>
                <a:gd name="T29" fmla="*/ 250 h 351"/>
                <a:gd name="T30" fmla="*/ 25 w 601"/>
                <a:gd name="T31" fmla="*/ 250 h 351"/>
                <a:gd name="T32" fmla="*/ 100 w 601"/>
                <a:gd name="T33" fmla="*/ 325 h 351"/>
                <a:gd name="T34" fmla="*/ 200 w 601"/>
                <a:gd name="T35" fmla="*/ 325 h 351"/>
                <a:gd name="T36" fmla="*/ 325 w 601"/>
                <a:gd name="T37" fmla="*/ 300 h 351"/>
                <a:gd name="T38" fmla="*/ 350 w 601"/>
                <a:gd name="T39" fmla="*/ 300 h 351"/>
                <a:gd name="T40" fmla="*/ 374 w 601"/>
                <a:gd name="T41" fmla="*/ 325 h 351"/>
                <a:gd name="T42" fmla="*/ 450 w 601"/>
                <a:gd name="T43" fmla="*/ 275 h 351"/>
                <a:gd name="T44" fmla="*/ 525 w 601"/>
                <a:gd name="T45" fmla="*/ 125 h 351"/>
                <a:gd name="T46" fmla="*/ 600 w 601"/>
                <a:gd name="T47" fmla="*/ 100 h 351"/>
                <a:gd name="T48" fmla="*/ 574 w 601"/>
                <a:gd name="T49" fmla="*/ 5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51">
                  <a:moveTo>
                    <a:pt x="574" y="50"/>
                  </a:moveTo>
                  <a:lnTo>
                    <a:pt x="574" y="50"/>
                  </a:lnTo>
                  <a:cubicBezTo>
                    <a:pt x="574" y="50"/>
                    <a:pt x="574" y="50"/>
                    <a:pt x="550" y="50"/>
                  </a:cubicBezTo>
                  <a:cubicBezTo>
                    <a:pt x="525" y="50"/>
                    <a:pt x="500" y="25"/>
                    <a:pt x="500" y="25"/>
                  </a:cubicBezTo>
                  <a:cubicBezTo>
                    <a:pt x="474" y="0"/>
                    <a:pt x="425" y="0"/>
                    <a:pt x="425" y="0"/>
                  </a:cubicBezTo>
                  <a:cubicBezTo>
                    <a:pt x="400" y="0"/>
                    <a:pt x="350" y="50"/>
                    <a:pt x="325" y="50"/>
                  </a:cubicBezTo>
                  <a:cubicBezTo>
                    <a:pt x="300" y="50"/>
                    <a:pt x="225" y="75"/>
                    <a:pt x="225" y="75"/>
                  </a:cubicBezTo>
                  <a:cubicBezTo>
                    <a:pt x="225" y="100"/>
                    <a:pt x="125" y="100"/>
                    <a:pt x="100" y="75"/>
                  </a:cubicBezTo>
                  <a:lnTo>
                    <a:pt x="100" y="75"/>
                  </a:lnTo>
                  <a:cubicBezTo>
                    <a:pt x="74" y="75"/>
                    <a:pt x="74" y="75"/>
                    <a:pt x="74" y="100"/>
                  </a:cubicBezTo>
                  <a:cubicBezTo>
                    <a:pt x="74" y="125"/>
                    <a:pt x="50" y="125"/>
                    <a:pt x="25" y="125"/>
                  </a:cubicBezTo>
                  <a:lnTo>
                    <a:pt x="25" y="150"/>
                  </a:lnTo>
                  <a:cubicBezTo>
                    <a:pt x="25" y="175"/>
                    <a:pt x="25" y="200"/>
                    <a:pt x="0" y="200"/>
                  </a:cubicBezTo>
                  <a:cubicBezTo>
                    <a:pt x="0" y="200"/>
                    <a:pt x="0" y="200"/>
                    <a:pt x="0" y="225"/>
                  </a:cubicBezTo>
                  <a:lnTo>
                    <a:pt x="25" y="250"/>
                  </a:lnTo>
                  <a:lnTo>
                    <a:pt x="25" y="250"/>
                  </a:lnTo>
                  <a:cubicBezTo>
                    <a:pt x="25" y="275"/>
                    <a:pt x="74" y="300"/>
                    <a:pt x="100" y="325"/>
                  </a:cubicBezTo>
                  <a:cubicBezTo>
                    <a:pt x="100" y="350"/>
                    <a:pt x="174" y="350"/>
                    <a:pt x="200" y="325"/>
                  </a:cubicBezTo>
                  <a:cubicBezTo>
                    <a:pt x="225" y="325"/>
                    <a:pt x="325" y="300"/>
                    <a:pt x="325" y="300"/>
                  </a:cubicBezTo>
                  <a:lnTo>
                    <a:pt x="350" y="300"/>
                  </a:lnTo>
                  <a:cubicBezTo>
                    <a:pt x="350" y="300"/>
                    <a:pt x="374" y="300"/>
                    <a:pt x="374" y="325"/>
                  </a:cubicBezTo>
                  <a:cubicBezTo>
                    <a:pt x="400" y="300"/>
                    <a:pt x="425" y="300"/>
                    <a:pt x="450" y="275"/>
                  </a:cubicBezTo>
                  <a:cubicBezTo>
                    <a:pt x="474" y="250"/>
                    <a:pt x="525" y="150"/>
                    <a:pt x="525" y="125"/>
                  </a:cubicBezTo>
                  <a:cubicBezTo>
                    <a:pt x="550" y="125"/>
                    <a:pt x="574" y="100"/>
                    <a:pt x="600" y="100"/>
                  </a:cubicBezTo>
                  <a:cubicBezTo>
                    <a:pt x="600" y="75"/>
                    <a:pt x="600" y="75"/>
                    <a:pt x="574" y="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0" name="Freeform 186">
              <a:extLst>
                <a:ext uri="{FF2B5EF4-FFF2-40B4-BE49-F238E27FC236}">
                  <a16:creationId xmlns:a16="http://schemas.microsoft.com/office/drawing/2014/main" id="{9152933D-4D3A-C088-B6E7-2BEC6B545C48}"/>
                </a:ext>
              </a:extLst>
            </p:cNvPr>
            <p:cNvSpPr>
              <a:spLocks noChangeArrowheads="1"/>
            </p:cNvSpPr>
            <p:nvPr/>
          </p:nvSpPr>
          <p:spPr bwMode="auto">
            <a:xfrm>
              <a:off x="6523403" y="4013096"/>
              <a:ext cx="301527" cy="150763"/>
            </a:xfrm>
            <a:custGeom>
              <a:avLst/>
              <a:gdLst>
                <a:gd name="T0" fmla="*/ 575 w 601"/>
                <a:gd name="T1" fmla="*/ 150 h 301"/>
                <a:gd name="T2" fmla="*/ 575 w 601"/>
                <a:gd name="T3" fmla="*/ 150 h 301"/>
                <a:gd name="T4" fmla="*/ 500 w 601"/>
                <a:gd name="T5" fmla="*/ 124 h 301"/>
                <a:gd name="T6" fmla="*/ 475 w 601"/>
                <a:gd name="T7" fmla="*/ 100 h 301"/>
                <a:gd name="T8" fmla="*/ 425 w 601"/>
                <a:gd name="T9" fmla="*/ 100 h 301"/>
                <a:gd name="T10" fmla="*/ 375 w 601"/>
                <a:gd name="T11" fmla="*/ 75 h 301"/>
                <a:gd name="T12" fmla="*/ 324 w 601"/>
                <a:gd name="T13" fmla="*/ 50 h 301"/>
                <a:gd name="T14" fmla="*/ 275 w 601"/>
                <a:gd name="T15" fmla="*/ 0 h 301"/>
                <a:gd name="T16" fmla="*/ 249 w 601"/>
                <a:gd name="T17" fmla="*/ 25 h 301"/>
                <a:gd name="T18" fmla="*/ 200 w 601"/>
                <a:gd name="T19" fmla="*/ 25 h 301"/>
                <a:gd name="T20" fmla="*/ 124 w 601"/>
                <a:gd name="T21" fmla="*/ 50 h 301"/>
                <a:gd name="T22" fmla="*/ 24 w 601"/>
                <a:gd name="T23" fmla="*/ 100 h 301"/>
                <a:gd name="T24" fmla="*/ 49 w 601"/>
                <a:gd name="T25" fmla="*/ 150 h 301"/>
                <a:gd name="T26" fmla="*/ 75 w 601"/>
                <a:gd name="T27" fmla="*/ 224 h 301"/>
                <a:gd name="T28" fmla="*/ 174 w 601"/>
                <a:gd name="T29" fmla="*/ 300 h 301"/>
                <a:gd name="T30" fmla="*/ 174 w 601"/>
                <a:gd name="T31" fmla="*/ 300 h 301"/>
                <a:gd name="T32" fmla="*/ 249 w 601"/>
                <a:gd name="T33" fmla="*/ 300 h 301"/>
                <a:gd name="T34" fmla="*/ 275 w 601"/>
                <a:gd name="T35" fmla="*/ 250 h 301"/>
                <a:gd name="T36" fmla="*/ 349 w 601"/>
                <a:gd name="T37" fmla="*/ 275 h 301"/>
                <a:gd name="T38" fmla="*/ 425 w 601"/>
                <a:gd name="T39" fmla="*/ 300 h 301"/>
                <a:gd name="T40" fmla="*/ 425 w 601"/>
                <a:gd name="T41" fmla="*/ 300 h 301"/>
                <a:gd name="T42" fmla="*/ 449 w 601"/>
                <a:gd name="T43" fmla="*/ 275 h 301"/>
                <a:gd name="T44" fmla="*/ 549 w 601"/>
                <a:gd name="T45" fmla="*/ 224 h 301"/>
                <a:gd name="T46" fmla="*/ 600 w 601"/>
                <a:gd name="T47" fmla="*/ 200 h 301"/>
                <a:gd name="T48" fmla="*/ 575 w 601"/>
                <a:gd name="T49" fmla="*/ 15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01">
                  <a:moveTo>
                    <a:pt x="575" y="150"/>
                  </a:moveTo>
                  <a:lnTo>
                    <a:pt x="575" y="150"/>
                  </a:lnTo>
                  <a:cubicBezTo>
                    <a:pt x="549" y="124"/>
                    <a:pt x="525" y="150"/>
                    <a:pt x="500" y="124"/>
                  </a:cubicBezTo>
                  <a:cubicBezTo>
                    <a:pt x="500" y="124"/>
                    <a:pt x="500" y="100"/>
                    <a:pt x="475" y="100"/>
                  </a:cubicBezTo>
                  <a:cubicBezTo>
                    <a:pt x="475" y="100"/>
                    <a:pt x="449" y="75"/>
                    <a:pt x="425" y="100"/>
                  </a:cubicBezTo>
                  <a:cubicBezTo>
                    <a:pt x="425" y="124"/>
                    <a:pt x="375" y="100"/>
                    <a:pt x="375" y="75"/>
                  </a:cubicBezTo>
                  <a:cubicBezTo>
                    <a:pt x="375" y="75"/>
                    <a:pt x="375" y="50"/>
                    <a:pt x="324" y="50"/>
                  </a:cubicBezTo>
                  <a:cubicBezTo>
                    <a:pt x="300" y="25"/>
                    <a:pt x="275" y="25"/>
                    <a:pt x="275" y="0"/>
                  </a:cubicBezTo>
                  <a:cubicBezTo>
                    <a:pt x="275" y="25"/>
                    <a:pt x="275" y="25"/>
                    <a:pt x="249" y="25"/>
                  </a:cubicBezTo>
                  <a:cubicBezTo>
                    <a:pt x="249" y="25"/>
                    <a:pt x="224" y="0"/>
                    <a:pt x="200" y="25"/>
                  </a:cubicBezTo>
                  <a:cubicBezTo>
                    <a:pt x="200" y="25"/>
                    <a:pt x="149" y="25"/>
                    <a:pt x="124" y="50"/>
                  </a:cubicBezTo>
                  <a:cubicBezTo>
                    <a:pt x="100" y="75"/>
                    <a:pt x="75" y="100"/>
                    <a:pt x="24" y="100"/>
                  </a:cubicBezTo>
                  <a:cubicBezTo>
                    <a:pt x="0" y="100"/>
                    <a:pt x="24" y="124"/>
                    <a:pt x="49" y="150"/>
                  </a:cubicBezTo>
                  <a:cubicBezTo>
                    <a:pt x="49" y="175"/>
                    <a:pt x="49" y="200"/>
                    <a:pt x="75" y="224"/>
                  </a:cubicBezTo>
                  <a:cubicBezTo>
                    <a:pt x="100" y="250"/>
                    <a:pt x="174" y="275"/>
                    <a:pt x="174" y="300"/>
                  </a:cubicBezTo>
                  <a:lnTo>
                    <a:pt x="174" y="300"/>
                  </a:lnTo>
                  <a:cubicBezTo>
                    <a:pt x="200" y="300"/>
                    <a:pt x="249" y="300"/>
                    <a:pt x="249" y="300"/>
                  </a:cubicBezTo>
                  <a:cubicBezTo>
                    <a:pt x="249" y="275"/>
                    <a:pt x="275" y="250"/>
                    <a:pt x="275" y="250"/>
                  </a:cubicBezTo>
                  <a:cubicBezTo>
                    <a:pt x="275" y="250"/>
                    <a:pt x="324" y="250"/>
                    <a:pt x="349" y="275"/>
                  </a:cubicBezTo>
                  <a:cubicBezTo>
                    <a:pt x="375" y="300"/>
                    <a:pt x="425" y="300"/>
                    <a:pt x="425" y="300"/>
                  </a:cubicBezTo>
                  <a:lnTo>
                    <a:pt x="425" y="300"/>
                  </a:lnTo>
                  <a:cubicBezTo>
                    <a:pt x="449" y="300"/>
                    <a:pt x="449" y="275"/>
                    <a:pt x="449" y="275"/>
                  </a:cubicBezTo>
                  <a:cubicBezTo>
                    <a:pt x="475" y="275"/>
                    <a:pt x="525" y="275"/>
                    <a:pt x="549" y="224"/>
                  </a:cubicBezTo>
                  <a:cubicBezTo>
                    <a:pt x="549" y="224"/>
                    <a:pt x="575" y="200"/>
                    <a:pt x="600" y="200"/>
                  </a:cubicBezTo>
                  <a:cubicBezTo>
                    <a:pt x="600" y="175"/>
                    <a:pt x="575" y="150"/>
                    <a:pt x="575" y="150"/>
                  </a:cubicBezTo>
                </a:path>
              </a:pathLst>
            </a:custGeom>
            <a:solidFill>
              <a:srgbClr val="000C47"/>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1" name="Freeform 187">
              <a:extLst>
                <a:ext uri="{FF2B5EF4-FFF2-40B4-BE49-F238E27FC236}">
                  <a16:creationId xmlns:a16="http://schemas.microsoft.com/office/drawing/2014/main" id="{F67A5725-282A-8791-119E-792F42667192}"/>
                </a:ext>
              </a:extLst>
            </p:cNvPr>
            <p:cNvSpPr>
              <a:spLocks noChangeArrowheads="1"/>
            </p:cNvSpPr>
            <p:nvPr/>
          </p:nvSpPr>
          <p:spPr bwMode="auto">
            <a:xfrm>
              <a:off x="6736246" y="4099566"/>
              <a:ext cx="263836" cy="113074"/>
            </a:xfrm>
            <a:custGeom>
              <a:avLst/>
              <a:gdLst>
                <a:gd name="T0" fmla="*/ 400 w 525"/>
                <a:gd name="T1" fmla="*/ 25 h 226"/>
                <a:gd name="T2" fmla="*/ 400 w 525"/>
                <a:gd name="T3" fmla="*/ 25 h 226"/>
                <a:gd name="T4" fmla="*/ 324 w 525"/>
                <a:gd name="T5" fmla="*/ 25 h 226"/>
                <a:gd name="T6" fmla="*/ 250 w 525"/>
                <a:gd name="T7" fmla="*/ 25 h 226"/>
                <a:gd name="T8" fmla="*/ 200 w 525"/>
                <a:gd name="T9" fmla="*/ 25 h 226"/>
                <a:gd name="T10" fmla="*/ 175 w 525"/>
                <a:gd name="T11" fmla="*/ 25 h 226"/>
                <a:gd name="T12" fmla="*/ 124 w 525"/>
                <a:gd name="T13" fmla="*/ 49 h 226"/>
                <a:gd name="T14" fmla="*/ 24 w 525"/>
                <a:gd name="T15" fmla="*/ 100 h 226"/>
                <a:gd name="T16" fmla="*/ 0 w 525"/>
                <a:gd name="T17" fmla="*/ 125 h 226"/>
                <a:gd name="T18" fmla="*/ 50 w 525"/>
                <a:gd name="T19" fmla="*/ 200 h 226"/>
                <a:gd name="T20" fmla="*/ 175 w 525"/>
                <a:gd name="T21" fmla="*/ 200 h 226"/>
                <a:gd name="T22" fmla="*/ 275 w 525"/>
                <a:gd name="T23" fmla="*/ 175 h 226"/>
                <a:gd name="T24" fmla="*/ 375 w 525"/>
                <a:gd name="T25" fmla="*/ 125 h 226"/>
                <a:gd name="T26" fmla="*/ 450 w 525"/>
                <a:gd name="T27" fmla="*/ 150 h 226"/>
                <a:gd name="T28" fmla="*/ 500 w 525"/>
                <a:gd name="T29" fmla="*/ 175 h 226"/>
                <a:gd name="T30" fmla="*/ 500 w 525"/>
                <a:gd name="T31" fmla="*/ 150 h 226"/>
                <a:gd name="T32" fmla="*/ 524 w 525"/>
                <a:gd name="T33" fmla="*/ 75 h 226"/>
                <a:gd name="T34" fmla="*/ 524 w 525"/>
                <a:gd name="T35" fmla="*/ 75 h 226"/>
                <a:gd name="T36" fmla="*/ 475 w 525"/>
                <a:gd name="T37" fmla="*/ 49 h 226"/>
                <a:gd name="T38" fmla="*/ 400 w 525"/>
                <a:gd name="T39" fmla="*/ 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5" h="226">
                  <a:moveTo>
                    <a:pt x="400" y="25"/>
                  </a:moveTo>
                  <a:lnTo>
                    <a:pt x="400" y="25"/>
                  </a:lnTo>
                  <a:cubicBezTo>
                    <a:pt x="375" y="49"/>
                    <a:pt x="350" y="25"/>
                    <a:pt x="324" y="25"/>
                  </a:cubicBezTo>
                  <a:cubicBezTo>
                    <a:pt x="300" y="49"/>
                    <a:pt x="250" y="25"/>
                    <a:pt x="250" y="25"/>
                  </a:cubicBezTo>
                  <a:cubicBezTo>
                    <a:pt x="224" y="0"/>
                    <a:pt x="200" y="49"/>
                    <a:pt x="200" y="25"/>
                  </a:cubicBezTo>
                  <a:cubicBezTo>
                    <a:pt x="175" y="25"/>
                    <a:pt x="175" y="25"/>
                    <a:pt x="175" y="25"/>
                  </a:cubicBezTo>
                  <a:cubicBezTo>
                    <a:pt x="150" y="25"/>
                    <a:pt x="124" y="49"/>
                    <a:pt x="124" y="49"/>
                  </a:cubicBezTo>
                  <a:cubicBezTo>
                    <a:pt x="100" y="100"/>
                    <a:pt x="50" y="100"/>
                    <a:pt x="24" y="100"/>
                  </a:cubicBezTo>
                  <a:cubicBezTo>
                    <a:pt x="24" y="100"/>
                    <a:pt x="24" y="125"/>
                    <a:pt x="0" y="125"/>
                  </a:cubicBezTo>
                  <a:cubicBezTo>
                    <a:pt x="24" y="150"/>
                    <a:pt x="24" y="200"/>
                    <a:pt x="50" y="200"/>
                  </a:cubicBezTo>
                  <a:cubicBezTo>
                    <a:pt x="75" y="225"/>
                    <a:pt x="175" y="225"/>
                    <a:pt x="175" y="200"/>
                  </a:cubicBezTo>
                  <a:cubicBezTo>
                    <a:pt x="175" y="200"/>
                    <a:pt x="250" y="175"/>
                    <a:pt x="275" y="175"/>
                  </a:cubicBezTo>
                  <a:cubicBezTo>
                    <a:pt x="300" y="175"/>
                    <a:pt x="350" y="125"/>
                    <a:pt x="375" y="125"/>
                  </a:cubicBezTo>
                  <a:cubicBezTo>
                    <a:pt x="375" y="125"/>
                    <a:pt x="424" y="125"/>
                    <a:pt x="450" y="150"/>
                  </a:cubicBezTo>
                  <a:cubicBezTo>
                    <a:pt x="450" y="150"/>
                    <a:pt x="475" y="175"/>
                    <a:pt x="500" y="175"/>
                  </a:cubicBezTo>
                  <a:cubicBezTo>
                    <a:pt x="500" y="150"/>
                    <a:pt x="500" y="150"/>
                    <a:pt x="500" y="150"/>
                  </a:cubicBezTo>
                  <a:cubicBezTo>
                    <a:pt x="500" y="125"/>
                    <a:pt x="524" y="75"/>
                    <a:pt x="524" y="75"/>
                  </a:cubicBezTo>
                  <a:lnTo>
                    <a:pt x="524" y="75"/>
                  </a:lnTo>
                  <a:cubicBezTo>
                    <a:pt x="500" y="75"/>
                    <a:pt x="475" y="49"/>
                    <a:pt x="475" y="49"/>
                  </a:cubicBezTo>
                  <a:cubicBezTo>
                    <a:pt x="475" y="49"/>
                    <a:pt x="424" y="25"/>
                    <a:pt x="40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2" name="Freeform 188">
              <a:extLst>
                <a:ext uri="{FF2B5EF4-FFF2-40B4-BE49-F238E27FC236}">
                  <a16:creationId xmlns:a16="http://schemas.microsoft.com/office/drawing/2014/main" id="{E3543749-739B-3F10-390C-B5D378962FD7}"/>
                </a:ext>
              </a:extLst>
            </p:cNvPr>
            <p:cNvSpPr>
              <a:spLocks noChangeArrowheads="1"/>
            </p:cNvSpPr>
            <p:nvPr/>
          </p:nvSpPr>
          <p:spPr bwMode="auto">
            <a:xfrm>
              <a:off x="5492444" y="4551852"/>
              <a:ext cx="177368" cy="290443"/>
            </a:xfrm>
            <a:custGeom>
              <a:avLst/>
              <a:gdLst>
                <a:gd name="T0" fmla="*/ 250 w 351"/>
                <a:gd name="T1" fmla="*/ 475 h 576"/>
                <a:gd name="T2" fmla="*/ 250 w 351"/>
                <a:gd name="T3" fmla="*/ 475 h 576"/>
                <a:gd name="T4" fmla="*/ 225 w 351"/>
                <a:gd name="T5" fmla="*/ 425 h 576"/>
                <a:gd name="T6" fmla="*/ 250 w 351"/>
                <a:gd name="T7" fmla="*/ 375 h 576"/>
                <a:gd name="T8" fmla="*/ 225 w 351"/>
                <a:gd name="T9" fmla="*/ 325 h 576"/>
                <a:gd name="T10" fmla="*/ 250 w 351"/>
                <a:gd name="T11" fmla="*/ 275 h 576"/>
                <a:gd name="T12" fmla="*/ 250 w 351"/>
                <a:gd name="T13" fmla="*/ 225 h 576"/>
                <a:gd name="T14" fmla="*/ 250 w 351"/>
                <a:gd name="T15" fmla="*/ 125 h 576"/>
                <a:gd name="T16" fmla="*/ 325 w 351"/>
                <a:gd name="T17" fmla="*/ 75 h 576"/>
                <a:gd name="T18" fmla="*/ 300 w 351"/>
                <a:gd name="T19" fmla="*/ 50 h 576"/>
                <a:gd name="T20" fmla="*/ 225 w 351"/>
                <a:gd name="T21" fmla="*/ 25 h 576"/>
                <a:gd name="T22" fmla="*/ 200 w 351"/>
                <a:gd name="T23" fmla="*/ 25 h 576"/>
                <a:gd name="T24" fmla="*/ 150 w 351"/>
                <a:gd name="T25" fmla="*/ 25 h 576"/>
                <a:gd name="T26" fmla="*/ 100 w 351"/>
                <a:gd name="T27" fmla="*/ 0 h 576"/>
                <a:gd name="T28" fmla="*/ 75 w 351"/>
                <a:gd name="T29" fmla="*/ 25 h 576"/>
                <a:gd name="T30" fmla="*/ 75 w 351"/>
                <a:gd name="T31" fmla="*/ 75 h 576"/>
                <a:gd name="T32" fmla="*/ 25 w 351"/>
                <a:gd name="T33" fmla="*/ 300 h 576"/>
                <a:gd name="T34" fmla="*/ 50 w 351"/>
                <a:gd name="T35" fmla="*/ 400 h 576"/>
                <a:gd name="T36" fmla="*/ 75 w 351"/>
                <a:gd name="T37" fmla="*/ 550 h 576"/>
                <a:gd name="T38" fmla="*/ 150 w 351"/>
                <a:gd name="T39" fmla="*/ 575 h 576"/>
                <a:gd name="T40" fmla="*/ 225 w 351"/>
                <a:gd name="T41" fmla="*/ 550 h 576"/>
                <a:gd name="T42" fmla="*/ 200 w 351"/>
                <a:gd name="T43" fmla="*/ 525 h 576"/>
                <a:gd name="T44" fmla="*/ 250 w 351"/>
                <a:gd name="T45"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576">
                  <a:moveTo>
                    <a:pt x="250" y="475"/>
                  </a:moveTo>
                  <a:lnTo>
                    <a:pt x="250" y="475"/>
                  </a:lnTo>
                  <a:cubicBezTo>
                    <a:pt x="275" y="450"/>
                    <a:pt x="225" y="425"/>
                    <a:pt x="225" y="425"/>
                  </a:cubicBezTo>
                  <a:cubicBezTo>
                    <a:pt x="225" y="400"/>
                    <a:pt x="225" y="375"/>
                    <a:pt x="250" y="375"/>
                  </a:cubicBezTo>
                  <a:cubicBezTo>
                    <a:pt x="275" y="375"/>
                    <a:pt x="250" y="350"/>
                    <a:pt x="225" y="325"/>
                  </a:cubicBezTo>
                  <a:cubicBezTo>
                    <a:pt x="200" y="300"/>
                    <a:pt x="225" y="275"/>
                    <a:pt x="250" y="275"/>
                  </a:cubicBezTo>
                  <a:cubicBezTo>
                    <a:pt x="275" y="275"/>
                    <a:pt x="225" y="250"/>
                    <a:pt x="250" y="225"/>
                  </a:cubicBezTo>
                  <a:cubicBezTo>
                    <a:pt x="275" y="200"/>
                    <a:pt x="250" y="150"/>
                    <a:pt x="250" y="125"/>
                  </a:cubicBezTo>
                  <a:cubicBezTo>
                    <a:pt x="250" y="100"/>
                    <a:pt x="275" y="100"/>
                    <a:pt x="325" y="75"/>
                  </a:cubicBezTo>
                  <a:cubicBezTo>
                    <a:pt x="350" y="50"/>
                    <a:pt x="300" y="50"/>
                    <a:pt x="300" y="50"/>
                  </a:cubicBezTo>
                  <a:cubicBezTo>
                    <a:pt x="300" y="25"/>
                    <a:pt x="250" y="0"/>
                    <a:pt x="225" y="25"/>
                  </a:cubicBezTo>
                  <a:cubicBezTo>
                    <a:pt x="200" y="50"/>
                    <a:pt x="225" y="25"/>
                    <a:pt x="200" y="25"/>
                  </a:cubicBezTo>
                  <a:cubicBezTo>
                    <a:pt x="175" y="25"/>
                    <a:pt x="150" y="25"/>
                    <a:pt x="150" y="25"/>
                  </a:cubicBezTo>
                  <a:cubicBezTo>
                    <a:pt x="150" y="0"/>
                    <a:pt x="125" y="0"/>
                    <a:pt x="100" y="0"/>
                  </a:cubicBezTo>
                  <a:cubicBezTo>
                    <a:pt x="100" y="25"/>
                    <a:pt x="100" y="25"/>
                    <a:pt x="75" y="25"/>
                  </a:cubicBezTo>
                  <a:cubicBezTo>
                    <a:pt x="75" y="50"/>
                    <a:pt x="75" y="75"/>
                    <a:pt x="75" y="75"/>
                  </a:cubicBezTo>
                  <a:cubicBezTo>
                    <a:pt x="100" y="125"/>
                    <a:pt x="50" y="275"/>
                    <a:pt x="25" y="300"/>
                  </a:cubicBezTo>
                  <a:cubicBezTo>
                    <a:pt x="0" y="350"/>
                    <a:pt x="25" y="375"/>
                    <a:pt x="50" y="400"/>
                  </a:cubicBezTo>
                  <a:cubicBezTo>
                    <a:pt x="100" y="425"/>
                    <a:pt x="75" y="525"/>
                    <a:pt x="75" y="550"/>
                  </a:cubicBezTo>
                  <a:cubicBezTo>
                    <a:pt x="75" y="575"/>
                    <a:pt x="100" y="575"/>
                    <a:pt x="150" y="575"/>
                  </a:cubicBezTo>
                  <a:cubicBezTo>
                    <a:pt x="175" y="575"/>
                    <a:pt x="200" y="550"/>
                    <a:pt x="225" y="550"/>
                  </a:cubicBezTo>
                  <a:cubicBezTo>
                    <a:pt x="200" y="550"/>
                    <a:pt x="200" y="525"/>
                    <a:pt x="200" y="525"/>
                  </a:cubicBezTo>
                  <a:cubicBezTo>
                    <a:pt x="200" y="500"/>
                    <a:pt x="200" y="475"/>
                    <a:pt x="250" y="4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3" name="Freeform 189">
              <a:extLst>
                <a:ext uri="{FF2B5EF4-FFF2-40B4-BE49-F238E27FC236}">
                  <a16:creationId xmlns:a16="http://schemas.microsoft.com/office/drawing/2014/main" id="{DC314B14-9110-7A29-D56D-181E92A7A977}"/>
                </a:ext>
              </a:extLst>
            </p:cNvPr>
            <p:cNvSpPr>
              <a:spLocks noChangeArrowheads="1"/>
            </p:cNvSpPr>
            <p:nvPr/>
          </p:nvSpPr>
          <p:spPr bwMode="auto">
            <a:xfrm>
              <a:off x="6095495" y="3860116"/>
              <a:ext cx="201757" cy="164065"/>
            </a:xfrm>
            <a:custGeom>
              <a:avLst/>
              <a:gdLst>
                <a:gd name="T0" fmla="*/ 126 w 401"/>
                <a:gd name="T1" fmla="*/ 251 h 327"/>
                <a:gd name="T2" fmla="*/ 126 w 401"/>
                <a:gd name="T3" fmla="*/ 251 h 327"/>
                <a:gd name="T4" fmla="*/ 200 w 401"/>
                <a:gd name="T5" fmla="*/ 276 h 327"/>
                <a:gd name="T6" fmla="*/ 275 w 401"/>
                <a:gd name="T7" fmla="*/ 326 h 327"/>
                <a:gd name="T8" fmla="*/ 275 w 401"/>
                <a:gd name="T9" fmla="*/ 326 h 327"/>
                <a:gd name="T10" fmla="*/ 300 w 401"/>
                <a:gd name="T11" fmla="*/ 276 h 327"/>
                <a:gd name="T12" fmla="*/ 300 w 401"/>
                <a:gd name="T13" fmla="*/ 226 h 327"/>
                <a:gd name="T14" fmla="*/ 351 w 401"/>
                <a:gd name="T15" fmla="*/ 200 h 327"/>
                <a:gd name="T16" fmla="*/ 375 w 401"/>
                <a:gd name="T17" fmla="*/ 176 h 327"/>
                <a:gd name="T18" fmla="*/ 351 w 401"/>
                <a:gd name="T19" fmla="*/ 126 h 327"/>
                <a:gd name="T20" fmla="*/ 400 w 401"/>
                <a:gd name="T21" fmla="*/ 76 h 327"/>
                <a:gd name="T22" fmla="*/ 400 w 401"/>
                <a:gd name="T23" fmla="*/ 0 h 327"/>
                <a:gd name="T24" fmla="*/ 375 w 401"/>
                <a:gd name="T25" fmla="*/ 26 h 327"/>
                <a:gd name="T26" fmla="*/ 275 w 401"/>
                <a:gd name="T27" fmla="*/ 26 h 327"/>
                <a:gd name="T28" fmla="*/ 226 w 401"/>
                <a:gd name="T29" fmla="*/ 76 h 327"/>
                <a:gd name="T30" fmla="*/ 200 w 401"/>
                <a:gd name="T31" fmla="*/ 76 h 327"/>
                <a:gd name="T32" fmla="*/ 150 w 401"/>
                <a:gd name="T33" fmla="*/ 100 h 327"/>
                <a:gd name="T34" fmla="*/ 100 w 401"/>
                <a:gd name="T35" fmla="*/ 176 h 327"/>
                <a:gd name="T36" fmla="*/ 26 w 401"/>
                <a:gd name="T37" fmla="*/ 276 h 327"/>
                <a:gd name="T38" fmla="*/ 0 w 401"/>
                <a:gd name="T39" fmla="*/ 276 h 327"/>
                <a:gd name="T40" fmla="*/ 50 w 401"/>
                <a:gd name="T41" fmla="*/ 301 h 327"/>
                <a:gd name="T42" fmla="*/ 126 w 401"/>
                <a:gd name="T43" fmla="*/ 25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1" h="327">
                  <a:moveTo>
                    <a:pt x="126" y="251"/>
                  </a:moveTo>
                  <a:lnTo>
                    <a:pt x="126" y="251"/>
                  </a:lnTo>
                  <a:cubicBezTo>
                    <a:pt x="150" y="251"/>
                    <a:pt x="175" y="251"/>
                    <a:pt x="200" y="276"/>
                  </a:cubicBezTo>
                  <a:cubicBezTo>
                    <a:pt x="226" y="276"/>
                    <a:pt x="250" y="301"/>
                    <a:pt x="275" y="326"/>
                  </a:cubicBezTo>
                  <a:lnTo>
                    <a:pt x="275" y="326"/>
                  </a:lnTo>
                  <a:cubicBezTo>
                    <a:pt x="300" y="326"/>
                    <a:pt x="300" y="276"/>
                    <a:pt x="300" y="276"/>
                  </a:cubicBezTo>
                  <a:cubicBezTo>
                    <a:pt x="300" y="251"/>
                    <a:pt x="300" y="226"/>
                    <a:pt x="300" y="226"/>
                  </a:cubicBezTo>
                  <a:cubicBezTo>
                    <a:pt x="326" y="226"/>
                    <a:pt x="351" y="226"/>
                    <a:pt x="351" y="200"/>
                  </a:cubicBezTo>
                  <a:cubicBezTo>
                    <a:pt x="351" y="176"/>
                    <a:pt x="375" y="176"/>
                    <a:pt x="375" y="176"/>
                  </a:cubicBezTo>
                  <a:cubicBezTo>
                    <a:pt x="375" y="151"/>
                    <a:pt x="351" y="126"/>
                    <a:pt x="351" y="126"/>
                  </a:cubicBezTo>
                  <a:cubicBezTo>
                    <a:pt x="351" y="100"/>
                    <a:pt x="375" y="100"/>
                    <a:pt x="400" y="76"/>
                  </a:cubicBezTo>
                  <a:cubicBezTo>
                    <a:pt x="400" y="51"/>
                    <a:pt x="400" y="26"/>
                    <a:pt x="400" y="0"/>
                  </a:cubicBezTo>
                  <a:cubicBezTo>
                    <a:pt x="375" y="26"/>
                    <a:pt x="375" y="26"/>
                    <a:pt x="375" y="26"/>
                  </a:cubicBezTo>
                  <a:cubicBezTo>
                    <a:pt x="351" y="0"/>
                    <a:pt x="326" y="0"/>
                    <a:pt x="275" y="26"/>
                  </a:cubicBezTo>
                  <a:cubicBezTo>
                    <a:pt x="226" y="26"/>
                    <a:pt x="226" y="76"/>
                    <a:pt x="226" y="76"/>
                  </a:cubicBezTo>
                  <a:cubicBezTo>
                    <a:pt x="250" y="100"/>
                    <a:pt x="200" y="100"/>
                    <a:pt x="200" y="76"/>
                  </a:cubicBezTo>
                  <a:cubicBezTo>
                    <a:pt x="175" y="76"/>
                    <a:pt x="150" y="76"/>
                    <a:pt x="150" y="100"/>
                  </a:cubicBezTo>
                  <a:cubicBezTo>
                    <a:pt x="150" y="126"/>
                    <a:pt x="100" y="151"/>
                    <a:pt x="100" y="176"/>
                  </a:cubicBezTo>
                  <a:cubicBezTo>
                    <a:pt x="100" y="226"/>
                    <a:pt x="50" y="251"/>
                    <a:pt x="26" y="276"/>
                  </a:cubicBezTo>
                  <a:cubicBezTo>
                    <a:pt x="26" y="276"/>
                    <a:pt x="26" y="276"/>
                    <a:pt x="0" y="276"/>
                  </a:cubicBezTo>
                  <a:cubicBezTo>
                    <a:pt x="26" y="276"/>
                    <a:pt x="50" y="301"/>
                    <a:pt x="50" y="301"/>
                  </a:cubicBezTo>
                  <a:cubicBezTo>
                    <a:pt x="75" y="301"/>
                    <a:pt x="126" y="276"/>
                    <a:pt x="126" y="2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4" name="Freeform 190">
              <a:extLst>
                <a:ext uri="{FF2B5EF4-FFF2-40B4-BE49-F238E27FC236}">
                  <a16:creationId xmlns:a16="http://schemas.microsoft.com/office/drawing/2014/main" id="{66650A0D-F260-D8C9-2F4A-EFA1925C3B80}"/>
                </a:ext>
              </a:extLst>
            </p:cNvPr>
            <p:cNvSpPr>
              <a:spLocks noChangeArrowheads="1"/>
            </p:cNvSpPr>
            <p:nvPr/>
          </p:nvSpPr>
          <p:spPr bwMode="auto">
            <a:xfrm>
              <a:off x="6221877" y="4075178"/>
              <a:ext cx="37689" cy="37689"/>
            </a:xfrm>
            <a:custGeom>
              <a:avLst/>
              <a:gdLst>
                <a:gd name="T0" fmla="*/ 50 w 77"/>
                <a:gd name="T1" fmla="*/ 0 h 77"/>
                <a:gd name="T2" fmla="*/ 50 w 77"/>
                <a:gd name="T3" fmla="*/ 0 h 77"/>
                <a:gd name="T4" fmla="*/ 0 w 77"/>
                <a:gd name="T5" fmla="*/ 76 h 77"/>
                <a:gd name="T6" fmla="*/ 76 w 77"/>
                <a:gd name="T7" fmla="*/ 76 h 77"/>
                <a:gd name="T8" fmla="*/ 50 w 77"/>
                <a:gd name="T9" fmla="*/ 0 h 77"/>
              </a:gdLst>
              <a:ahLst/>
              <a:cxnLst>
                <a:cxn ang="0">
                  <a:pos x="T0" y="T1"/>
                </a:cxn>
                <a:cxn ang="0">
                  <a:pos x="T2" y="T3"/>
                </a:cxn>
                <a:cxn ang="0">
                  <a:pos x="T4" y="T5"/>
                </a:cxn>
                <a:cxn ang="0">
                  <a:pos x="T6" y="T7"/>
                </a:cxn>
                <a:cxn ang="0">
                  <a:pos x="T8" y="T9"/>
                </a:cxn>
              </a:cxnLst>
              <a:rect l="0" t="0" r="r" b="b"/>
              <a:pathLst>
                <a:path w="77" h="77">
                  <a:moveTo>
                    <a:pt x="50" y="0"/>
                  </a:moveTo>
                  <a:lnTo>
                    <a:pt x="50" y="0"/>
                  </a:lnTo>
                  <a:cubicBezTo>
                    <a:pt x="25" y="0"/>
                    <a:pt x="0" y="26"/>
                    <a:pt x="0" y="76"/>
                  </a:cubicBezTo>
                  <a:cubicBezTo>
                    <a:pt x="25" y="76"/>
                    <a:pt x="50" y="76"/>
                    <a:pt x="76" y="76"/>
                  </a:cubicBezTo>
                  <a:cubicBezTo>
                    <a:pt x="76" y="26"/>
                    <a:pt x="50" y="26"/>
                    <a:pt x="50"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5" name="Freeform 191">
              <a:extLst>
                <a:ext uri="{FF2B5EF4-FFF2-40B4-BE49-F238E27FC236}">
                  <a16:creationId xmlns:a16="http://schemas.microsoft.com/office/drawing/2014/main" id="{22B6EEF7-5AE9-797A-93C3-768446F8A4AE}"/>
                </a:ext>
              </a:extLst>
            </p:cNvPr>
            <p:cNvSpPr>
              <a:spLocks noChangeArrowheads="1"/>
            </p:cNvSpPr>
            <p:nvPr/>
          </p:nvSpPr>
          <p:spPr bwMode="auto">
            <a:xfrm>
              <a:off x="6071108" y="3986489"/>
              <a:ext cx="188455" cy="126374"/>
            </a:xfrm>
            <a:custGeom>
              <a:avLst/>
              <a:gdLst>
                <a:gd name="T0" fmla="*/ 0 w 377"/>
                <a:gd name="T1" fmla="*/ 75 h 251"/>
                <a:gd name="T2" fmla="*/ 0 w 377"/>
                <a:gd name="T3" fmla="*/ 75 h 251"/>
                <a:gd name="T4" fmla="*/ 50 w 377"/>
                <a:gd name="T5" fmla="*/ 100 h 251"/>
                <a:gd name="T6" fmla="*/ 100 w 377"/>
                <a:gd name="T7" fmla="*/ 125 h 251"/>
                <a:gd name="T8" fmla="*/ 150 w 377"/>
                <a:gd name="T9" fmla="*/ 174 h 251"/>
                <a:gd name="T10" fmla="*/ 176 w 377"/>
                <a:gd name="T11" fmla="*/ 200 h 251"/>
                <a:gd name="T12" fmla="*/ 225 w 377"/>
                <a:gd name="T13" fmla="*/ 174 h 251"/>
                <a:gd name="T14" fmla="*/ 250 w 377"/>
                <a:gd name="T15" fmla="*/ 225 h 251"/>
                <a:gd name="T16" fmla="*/ 300 w 377"/>
                <a:gd name="T17" fmla="*/ 250 h 251"/>
                <a:gd name="T18" fmla="*/ 300 w 377"/>
                <a:gd name="T19" fmla="*/ 250 h 251"/>
                <a:gd name="T20" fmla="*/ 350 w 377"/>
                <a:gd name="T21" fmla="*/ 174 h 251"/>
                <a:gd name="T22" fmla="*/ 350 w 377"/>
                <a:gd name="T23" fmla="*/ 150 h 251"/>
                <a:gd name="T24" fmla="*/ 325 w 377"/>
                <a:gd name="T25" fmla="*/ 100 h 251"/>
                <a:gd name="T26" fmla="*/ 325 w 377"/>
                <a:gd name="T27" fmla="*/ 75 h 251"/>
                <a:gd name="T28" fmla="*/ 325 w 377"/>
                <a:gd name="T29" fmla="*/ 75 h 251"/>
                <a:gd name="T30" fmla="*/ 250 w 377"/>
                <a:gd name="T31" fmla="*/ 25 h 251"/>
                <a:gd name="T32" fmla="*/ 176 w 377"/>
                <a:gd name="T33" fmla="*/ 0 h 251"/>
                <a:gd name="T34" fmla="*/ 100 w 377"/>
                <a:gd name="T35" fmla="*/ 50 h 251"/>
                <a:gd name="T36" fmla="*/ 50 w 377"/>
                <a:gd name="T37" fmla="*/ 25 h 251"/>
                <a:gd name="T38" fmla="*/ 0 w 377"/>
                <a:gd name="T39" fmla="*/ 50 h 251"/>
                <a:gd name="T40" fmla="*/ 0 w 377"/>
                <a:gd name="T41" fmla="*/ 7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251">
                  <a:moveTo>
                    <a:pt x="0" y="75"/>
                  </a:moveTo>
                  <a:lnTo>
                    <a:pt x="0" y="75"/>
                  </a:lnTo>
                  <a:cubicBezTo>
                    <a:pt x="25" y="75"/>
                    <a:pt x="25" y="125"/>
                    <a:pt x="50" y="100"/>
                  </a:cubicBezTo>
                  <a:cubicBezTo>
                    <a:pt x="50" y="100"/>
                    <a:pt x="76" y="125"/>
                    <a:pt x="100" y="125"/>
                  </a:cubicBezTo>
                  <a:cubicBezTo>
                    <a:pt x="100" y="150"/>
                    <a:pt x="150" y="150"/>
                    <a:pt x="150" y="174"/>
                  </a:cubicBezTo>
                  <a:cubicBezTo>
                    <a:pt x="150" y="174"/>
                    <a:pt x="150" y="200"/>
                    <a:pt x="176" y="200"/>
                  </a:cubicBezTo>
                  <a:cubicBezTo>
                    <a:pt x="200" y="200"/>
                    <a:pt x="225" y="174"/>
                    <a:pt x="225" y="174"/>
                  </a:cubicBezTo>
                  <a:cubicBezTo>
                    <a:pt x="225" y="200"/>
                    <a:pt x="225" y="225"/>
                    <a:pt x="250" y="225"/>
                  </a:cubicBezTo>
                  <a:cubicBezTo>
                    <a:pt x="276" y="225"/>
                    <a:pt x="276" y="250"/>
                    <a:pt x="300" y="250"/>
                  </a:cubicBezTo>
                  <a:lnTo>
                    <a:pt x="300" y="250"/>
                  </a:lnTo>
                  <a:cubicBezTo>
                    <a:pt x="300" y="200"/>
                    <a:pt x="325" y="174"/>
                    <a:pt x="350" y="174"/>
                  </a:cubicBezTo>
                  <a:lnTo>
                    <a:pt x="350" y="150"/>
                  </a:lnTo>
                  <a:cubicBezTo>
                    <a:pt x="376" y="125"/>
                    <a:pt x="325" y="100"/>
                    <a:pt x="325" y="100"/>
                  </a:cubicBezTo>
                  <a:cubicBezTo>
                    <a:pt x="325" y="75"/>
                    <a:pt x="325" y="75"/>
                    <a:pt x="325" y="75"/>
                  </a:cubicBezTo>
                  <a:lnTo>
                    <a:pt x="325" y="75"/>
                  </a:lnTo>
                  <a:cubicBezTo>
                    <a:pt x="300" y="50"/>
                    <a:pt x="276" y="25"/>
                    <a:pt x="250" y="25"/>
                  </a:cubicBezTo>
                  <a:cubicBezTo>
                    <a:pt x="225" y="0"/>
                    <a:pt x="200" y="0"/>
                    <a:pt x="176" y="0"/>
                  </a:cubicBezTo>
                  <a:cubicBezTo>
                    <a:pt x="176" y="25"/>
                    <a:pt x="125" y="50"/>
                    <a:pt x="100" y="50"/>
                  </a:cubicBezTo>
                  <a:cubicBezTo>
                    <a:pt x="100" y="50"/>
                    <a:pt x="76" y="25"/>
                    <a:pt x="50" y="25"/>
                  </a:cubicBezTo>
                  <a:cubicBezTo>
                    <a:pt x="50" y="50"/>
                    <a:pt x="25" y="50"/>
                    <a:pt x="0" y="50"/>
                  </a:cubicBezTo>
                  <a:cubicBezTo>
                    <a:pt x="0" y="50"/>
                    <a:pt x="0" y="50"/>
                    <a:pt x="0" y="75"/>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6" name="Freeform 192">
              <a:extLst>
                <a:ext uri="{FF2B5EF4-FFF2-40B4-BE49-F238E27FC236}">
                  <a16:creationId xmlns:a16="http://schemas.microsoft.com/office/drawing/2014/main" id="{FDB7C938-69E7-E184-8814-0F57472AAEC3}"/>
                </a:ext>
              </a:extLst>
            </p:cNvPr>
            <p:cNvSpPr>
              <a:spLocks noChangeArrowheads="1"/>
            </p:cNvSpPr>
            <p:nvPr/>
          </p:nvSpPr>
          <p:spPr bwMode="auto">
            <a:xfrm>
              <a:off x="6900311" y="4174945"/>
              <a:ext cx="427901" cy="290443"/>
            </a:xfrm>
            <a:custGeom>
              <a:avLst/>
              <a:gdLst>
                <a:gd name="T0" fmla="*/ 776 w 852"/>
                <a:gd name="T1" fmla="*/ 375 h 576"/>
                <a:gd name="T2" fmla="*/ 776 w 852"/>
                <a:gd name="T3" fmla="*/ 375 h 576"/>
                <a:gd name="T4" fmla="*/ 725 w 852"/>
                <a:gd name="T5" fmla="*/ 350 h 576"/>
                <a:gd name="T6" fmla="*/ 725 w 852"/>
                <a:gd name="T7" fmla="*/ 350 h 576"/>
                <a:gd name="T8" fmla="*/ 725 w 852"/>
                <a:gd name="T9" fmla="*/ 250 h 576"/>
                <a:gd name="T10" fmla="*/ 651 w 852"/>
                <a:gd name="T11" fmla="*/ 125 h 576"/>
                <a:gd name="T12" fmla="*/ 601 w 852"/>
                <a:gd name="T13" fmla="*/ 0 h 576"/>
                <a:gd name="T14" fmla="*/ 551 w 852"/>
                <a:gd name="T15" fmla="*/ 25 h 576"/>
                <a:gd name="T16" fmla="*/ 501 w 852"/>
                <a:gd name="T17" fmla="*/ 50 h 576"/>
                <a:gd name="T18" fmla="*/ 451 w 852"/>
                <a:gd name="T19" fmla="*/ 75 h 576"/>
                <a:gd name="T20" fmla="*/ 400 w 852"/>
                <a:gd name="T21" fmla="*/ 75 h 576"/>
                <a:gd name="T22" fmla="*/ 351 w 852"/>
                <a:gd name="T23" fmla="*/ 50 h 576"/>
                <a:gd name="T24" fmla="*/ 251 w 852"/>
                <a:gd name="T25" fmla="*/ 50 h 576"/>
                <a:gd name="T26" fmla="*/ 226 w 852"/>
                <a:gd name="T27" fmla="*/ 50 h 576"/>
                <a:gd name="T28" fmla="*/ 226 w 852"/>
                <a:gd name="T29" fmla="*/ 75 h 576"/>
                <a:gd name="T30" fmla="*/ 151 w 852"/>
                <a:gd name="T31" fmla="*/ 100 h 576"/>
                <a:gd name="T32" fmla="*/ 76 w 852"/>
                <a:gd name="T33" fmla="*/ 250 h 576"/>
                <a:gd name="T34" fmla="*/ 0 w 852"/>
                <a:gd name="T35" fmla="*/ 300 h 576"/>
                <a:gd name="T36" fmla="*/ 51 w 852"/>
                <a:gd name="T37" fmla="*/ 350 h 576"/>
                <a:gd name="T38" fmla="*/ 76 w 852"/>
                <a:gd name="T39" fmla="*/ 375 h 576"/>
                <a:gd name="T40" fmla="*/ 76 w 852"/>
                <a:gd name="T41" fmla="*/ 450 h 576"/>
                <a:gd name="T42" fmla="*/ 200 w 852"/>
                <a:gd name="T43" fmla="*/ 475 h 576"/>
                <a:gd name="T44" fmla="*/ 200 w 852"/>
                <a:gd name="T45" fmla="*/ 500 h 576"/>
                <a:gd name="T46" fmla="*/ 251 w 852"/>
                <a:gd name="T47" fmla="*/ 550 h 576"/>
                <a:gd name="T48" fmla="*/ 351 w 852"/>
                <a:gd name="T49" fmla="*/ 550 h 576"/>
                <a:gd name="T50" fmla="*/ 451 w 852"/>
                <a:gd name="T51" fmla="*/ 550 h 576"/>
                <a:gd name="T52" fmla="*/ 526 w 852"/>
                <a:gd name="T53" fmla="*/ 525 h 576"/>
                <a:gd name="T54" fmla="*/ 626 w 852"/>
                <a:gd name="T55" fmla="*/ 525 h 576"/>
                <a:gd name="T56" fmla="*/ 701 w 852"/>
                <a:gd name="T57" fmla="*/ 525 h 576"/>
                <a:gd name="T58" fmla="*/ 751 w 852"/>
                <a:gd name="T59" fmla="*/ 550 h 576"/>
                <a:gd name="T60" fmla="*/ 751 w 852"/>
                <a:gd name="T61" fmla="*/ 525 h 576"/>
                <a:gd name="T62" fmla="*/ 801 w 852"/>
                <a:gd name="T63" fmla="*/ 425 h 576"/>
                <a:gd name="T64" fmla="*/ 851 w 852"/>
                <a:gd name="T65" fmla="*/ 375 h 576"/>
                <a:gd name="T66" fmla="*/ 851 w 852"/>
                <a:gd name="T67" fmla="*/ 375 h 576"/>
                <a:gd name="T68" fmla="*/ 826 w 852"/>
                <a:gd name="T69" fmla="*/ 350 h 576"/>
                <a:gd name="T70" fmla="*/ 776 w 852"/>
                <a:gd name="T71" fmla="*/ 3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2" h="576">
                  <a:moveTo>
                    <a:pt x="776" y="375"/>
                  </a:moveTo>
                  <a:lnTo>
                    <a:pt x="776" y="375"/>
                  </a:lnTo>
                  <a:cubicBezTo>
                    <a:pt x="751" y="375"/>
                    <a:pt x="725" y="375"/>
                    <a:pt x="725" y="350"/>
                  </a:cubicBezTo>
                  <a:lnTo>
                    <a:pt x="725" y="350"/>
                  </a:lnTo>
                  <a:cubicBezTo>
                    <a:pt x="701" y="325"/>
                    <a:pt x="701" y="275"/>
                    <a:pt x="725" y="250"/>
                  </a:cubicBezTo>
                  <a:cubicBezTo>
                    <a:pt x="751" y="225"/>
                    <a:pt x="676" y="150"/>
                    <a:pt x="651" y="125"/>
                  </a:cubicBezTo>
                  <a:cubicBezTo>
                    <a:pt x="651" y="100"/>
                    <a:pt x="626" y="50"/>
                    <a:pt x="601" y="0"/>
                  </a:cubicBezTo>
                  <a:cubicBezTo>
                    <a:pt x="576" y="25"/>
                    <a:pt x="551" y="25"/>
                    <a:pt x="551" y="25"/>
                  </a:cubicBezTo>
                  <a:cubicBezTo>
                    <a:pt x="551" y="50"/>
                    <a:pt x="526" y="50"/>
                    <a:pt x="501" y="50"/>
                  </a:cubicBezTo>
                  <a:cubicBezTo>
                    <a:pt x="476" y="50"/>
                    <a:pt x="476" y="50"/>
                    <a:pt x="451" y="75"/>
                  </a:cubicBezTo>
                  <a:cubicBezTo>
                    <a:pt x="426" y="75"/>
                    <a:pt x="426" y="75"/>
                    <a:pt x="400" y="75"/>
                  </a:cubicBezTo>
                  <a:cubicBezTo>
                    <a:pt x="400" y="75"/>
                    <a:pt x="376" y="50"/>
                    <a:pt x="351" y="50"/>
                  </a:cubicBezTo>
                  <a:cubicBezTo>
                    <a:pt x="326" y="50"/>
                    <a:pt x="276" y="50"/>
                    <a:pt x="251" y="50"/>
                  </a:cubicBezTo>
                  <a:lnTo>
                    <a:pt x="226" y="50"/>
                  </a:lnTo>
                  <a:cubicBezTo>
                    <a:pt x="226" y="50"/>
                    <a:pt x="226" y="50"/>
                    <a:pt x="226" y="75"/>
                  </a:cubicBezTo>
                  <a:cubicBezTo>
                    <a:pt x="200" y="75"/>
                    <a:pt x="176" y="100"/>
                    <a:pt x="151" y="100"/>
                  </a:cubicBezTo>
                  <a:cubicBezTo>
                    <a:pt x="151" y="125"/>
                    <a:pt x="100" y="225"/>
                    <a:pt x="76" y="250"/>
                  </a:cubicBezTo>
                  <a:cubicBezTo>
                    <a:pt x="26" y="275"/>
                    <a:pt x="0" y="275"/>
                    <a:pt x="0" y="300"/>
                  </a:cubicBezTo>
                  <a:cubicBezTo>
                    <a:pt x="0" y="300"/>
                    <a:pt x="51" y="325"/>
                    <a:pt x="51" y="350"/>
                  </a:cubicBezTo>
                  <a:cubicBezTo>
                    <a:pt x="51" y="375"/>
                    <a:pt x="51" y="375"/>
                    <a:pt x="76" y="375"/>
                  </a:cubicBezTo>
                  <a:cubicBezTo>
                    <a:pt x="100" y="375"/>
                    <a:pt x="76" y="425"/>
                    <a:pt x="76" y="450"/>
                  </a:cubicBezTo>
                  <a:cubicBezTo>
                    <a:pt x="100" y="450"/>
                    <a:pt x="200" y="450"/>
                    <a:pt x="200" y="475"/>
                  </a:cubicBezTo>
                  <a:lnTo>
                    <a:pt x="200" y="500"/>
                  </a:lnTo>
                  <a:cubicBezTo>
                    <a:pt x="226" y="525"/>
                    <a:pt x="251" y="550"/>
                    <a:pt x="251" y="550"/>
                  </a:cubicBezTo>
                  <a:cubicBezTo>
                    <a:pt x="251" y="550"/>
                    <a:pt x="326" y="550"/>
                    <a:pt x="351" y="550"/>
                  </a:cubicBezTo>
                  <a:cubicBezTo>
                    <a:pt x="351" y="550"/>
                    <a:pt x="426" y="550"/>
                    <a:pt x="451" y="550"/>
                  </a:cubicBezTo>
                  <a:cubicBezTo>
                    <a:pt x="476" y="575"/>
                    <a:pt x="501" y="550"/>
                    <a:pt x="526" y="525"/>
                  </a:cubicBezTo>
                  <a:cubicBezTo>
                    <a:pt x="526" y="525"/>
                    <a:pt x="601" y="500"/>
                    <a:pt x="626" y="525"/>
                  </a:cubicBezTo>
                  <a:cubicBezTo>
                    <a:pt x="651" y="525"/>
                    <a:pt x="701" y="525"/>
                    <a:pt x="701" y="525"/>
                  </a:cubicBezTo>
                  <a:cubicBezTo>
                    <a:pt x="701" y="550"/>
                    <a:pt x="725" y="550"/>
                    <a:pt x="751" y="550"/>
                  </a:cubicBezTo>
                  <a:lnTo>
                    <a:pt x="751" y="525"/>
                  </a:lnTo>
                  <a:cubicBezTo>
                    <a:pt x="751" y="475"/>
                    <a:pt x="776" y="450"/>
                    <a:pt x="801" y="425"/>
                  </a:cubicBezTo>
                  <a:cubicBezTo>
                    <a:pt x="826" y="425"/>
                    <a:pt x="851" y="425"/>
                    <a:pt x="851" y="375"/>
                  </a:cubicBezTo>
                  <a:lnTo>
                    <a:pt x="851" y="375"/>
                  </a:lnTo>
                  <a:lnTo>
                    <a:pt x="826" y="350"/>
                  </a:lnTo>
                  <a:cubicBezTo>
                    <a:pt x="801" y="350"/>
                    <a:pt x="776" y="375"/>
                    <a:pt x="776" y="3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7" name="Freeform 193">
              <a:extLst>
                <a:ext uri="{FF2B5EF4-FFF2-40B4-BE49-F238E27FC236}">
                  <a16:creationId xmlns:a16="http://schemas.microsoft.com/office/drawing/2014/main" id="{1E7D9D7B-AA0F-6AB3-1F76-F91DFB133B22}"/>
                </a:ext>
              </a:extLst>
            </p:cNvPr>
            <p:cNvSpPr>
              <a:spLocks noChangeArrowheads="1"/>
            </p:cNvSpPr>
            <p:nvPr/>
          </p:nvSpPr>
          <p:spPr bwMode="auto">
            <a:xfrm>
              <a:off x="6988996" y="4427695"/>
              <a:ext cx="290440" cy="164065"/>
            </a:xfrm>
            <a:custGeom>
              <a:avLst/>
              <a:gdLst>
                <a:gd name="T0" fmla="*/ 450 w 576"/>
                <a:gd name="T1" fmla="*/ 25 h 326"/>
                <a:gd name="T2" fmla="*/ 450 w 576"/>
                <a:gd name="T3" fmla="*/ 25 h 326"/>
                <a:gd name="T4" fmla="*/ 350 w 576"/>
                <a:gd name="T5" fmla="*/ 25 h 326"/>
                <a:gd name="T6" fmla="*/ 275 w 576"/>
                <a:gd name="T7" fmla="*/ 50 h 326"/>
                <a:gd name="T8" fmla="*/ 175 w 576"/>
                <a:gd name="T9" fmla="*/ 50 h 326"/>
                <a:gd name="T10" fmla="*/ 75 w 576"/>
                <a:gd name="T11" fmla="*/ 50 h 326"/>
                <a:gd name="T12" fmla="*/ 24 w 576"/>
                <a:gd name="T13" fmla="*/ 0 h 326"/>
                <a:gd name="T14" fmla="*/ 0 w 576"/>
                <a:gd name="T15" fmla="*/ 25 h 326"/>
                <a:gd name="T16" fmla="*/ 0 w 576"/>
                <a:gd name="T17" fmla="*/ 75 h 326"/>
                <a:gd name="T18" fmla="*/ 50 w 576"/>
                <a:gd name="T19" fmla="*/ 150 h 326"/>
                <a:gd name="T20" fmla="*/ 0 w 576"/>
                <a:gd name="T21" fmla="*/ 175 h 326"/>
                <a:gd name="T22" fmla="*/ 0 w 576"/>
                <a:gd name="T23" fmla="*/ 225 h 326"/>
                <a:gd name="T24" fmla="*/ 50 w 576"/>
                <a:gd name="T25" fmla="*/ 300 h 326"/>
                <a:gd name="T26" fmla="*/ 75 w 576"/>
                <a:gd name="T27" fmla="*/ 325 h 326"/>
                <a:gd name="T28" fmla="*/ 200 w 576"/>
                <a:gd name="T29" fmla="*/ 325 h 326"/>
                <a:gd name="T30" fmla="*/ 300 w 576"/>
                <a:gd name="T31" fmla="*/ 325 h 326"/>
                <a:gd name="T32" fmla="*/ 350 w 576"/>
                <a:gd name="T33" fmla="*/ 300 h 326"/>
                <a:gd name="T34" fmla="*/ 375 w 576"/>
                <a:gd name="T35" fmla="*/ 300 h 326"/>
                <a:gd name="T36" fmla="*/ 375 w 576"/>
                <a:gd name="T37" fmla="*/ 275 h 326"/>
                <a:gd name="T38" fmla="*/ 475 w 576"/>
                <a:gd name="T39" fmla="*/ 275 h 326"/>
                <a:gd name="T40" fmla="*/ 525 w 576"/>
                <a:gd name="T41" fmla="*/ 250 h 326"/>
                <a:gd name="T42" fmla="*/ 500 w 576"/>
                <a:gd name="T43" fmla="*/ 225 h 326"/>
                <a:gd name="T44" fmla="*/ 500 w 576"/>
                <a:gd name="T45" fmla="*/ 175 h 326"/>
                <a:gd name="T46" fmla="*/ 575 w 576"/>
                <a:gd name="T47" fmla="*/ 75 h 326"/>
                <a:gd name="T48" fmla="*/ 575 w 576"/>
                <a:gd name="T49" fmla="*/ 50 h 326"/>
                <a:gd name="T50" fmla="*/ 525 w 576"/>
                <a:gd name="T51" fmla="*/ 25 h 326"/>
                <a:gd name="T52" fmla="*/ 450 w 576"/>
                <a:gd name="T53"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326">
                  <a:moveTo>
                    <a:pt x="450" y="25"/>
                  </a:moveTo>
                  <a:lnTo>
                    <a:pt x="450" y="25"/>
                  </a:lnTo>
                  <a:cubicBezTo>
                    <a:pt x="425" y="0"/>
                    <a:pt x="350" y="25"/>
                    <a:pt x="350" y="25"/>
                  </a:cubicBezTo>
                  <a:cubicBezTo>
                    <a:pt x="325" y="50"/>
                    <a:pt x="300" y="75"/>
                    <a:pt x="275" y="50"/>
                  </a:cubicBezTo>
                  <a:cubicBezTo>
                    <a:pt x="250" y="50"/>
                    <a:pt x="175" y="50"/>
                    <a:pt x="175" y="50"/>
                  </a:cubicBezTo>
                  <a:cubicBezTo>
                    <a:pt x="150" y="50"/>
                    <a:pt x="75" y="50"/>
                    <a:pt x="75" y="50"/>
                  </a:cubicBezTo>
                  <a:cubicBezTo>
                    <a:pt x="75" y="50"/>
                    <a:pt x="50" y="25"/>
                    <a:pt x="24" y="0"/>
                  </a:cubicBezTo>
                  <a:cubicBezTo>
                    <a:pt x="24" y="25"/>
                    <a:pt x="24" y="25"/>
                    <a:pt x="0" y="25"/>
                  </a:cubicBezTo>
                  <a:lnTo>
                    <a:pt x="0" y="75"/>
                  </a:lnTo>
                  <a:cubicBezTo>
                    <a:pt x="24" y="100"/>
                    <a:pt x="50" y="150"/>
                    <a:pt x="50" y="150"/>
                  </a:cubicBezTo>
                  <a:cubicBezTo>
                    <a:pt x="24" y="150"/>
                    <a:pt x="0" y="175"/>
                    <a:pt x="0" y="175"/>
                  </a:cubicBezTo>
                  <a:cubicBezTo>
                    <a:pt x="0" y="200"/>
                    <a:pt x="0" y="225"/>
                    <a:pt x="0" y="225"/>
                  </a:cubicBezTo>
                  <a:cubicBezTo>
                    <a:pt x="24" y="225"/>
                    <a:pt x="50" y="275"/>
                    <a:pt x="50" y="300"/>
                  </a:cubicBezTo>
                  <a:cubicBezTo>
                    <a:pt x="75" y="300"/>
                    <a:pt x="75" y="300"/>
                    <a:pt x="75" y="325"/>
                  </a:cubicBezTo>
                  <a:cubicBezTo>
                    <a:pt x="124" y="300"/>
                    <a:pt x="200" y="300"/>
                    <a:pt x="200" y="325"/>
                  </a:cubicBezTo>
                  <a:cubicBezTo>
                    <a:pt x="224" y="325"/>
                    <a:pt x="300" y="325"/>
                    <a:pt x="300" y="325"/>
                  </a:cubicBezTo>
                  <a:cubicBezTo>
                    <a:pt x="325" y="325"/>
                    <a:pt x="350" y="325"/>
                    <a:pt x="350" y="300"/>
                  </a:cubicBezTo>
                  <a:lnTo>
                    <a:pt x="375" y="300"/>
                  </a:lnTo>
                  <a:cubicBezTo>
                    <a:pt x="375" y="275"/>
                    <a:pt x="375" y="275"/>
                    <a:pt x="375" y="275"/>
                  </a:cubicBezTo>
                  <a:cubicBezTo>
                    <a:pt x="400" y="250"/>
                    <a:pt x="450" y="250"/>
                    <a:pt x="475" y="275"/>
                  </a:cubicBezTo>
                  <a:cubicBezTo>
                    <a:pt x="500" y="275"/>
                    <a:pt x="500" y="275"/>
                    <a:pt x="525" y="250"/>
                  </a:cubicBezTo>
                  <a:cubicBezTo>
                    <a:pt x="525" y="250"/>
                    <a:pt x="525" y="225"/>
                    <a:pt x="500" y="225"/>
                  </a:cubicBezTo>
                  <a:cubicBezTo>
                    <a:pt x="500" y="225"/>
                    <a:pt x="475" y="175"/>
                    <a:pt x="500" y="175"/>
                  </a:cubicBezTo>
                  <a:cubicBezTo>
                    <a:pt x="500" y="150"/>
                    <a:pt x="525" y="100"/>
                    <a:pt x="575" y="75"/>
                  </a:cubicBezTo>
                  <a:cubicBezTo>
                    <a:pt x="575" y="75"/>
                    <a:pt x="575" y="75"/>
                    <a:pt x="575" y="50"/>
                  </a:cubicBezTo>
                  <a:cubicBezTo>
                    <a:pt x="549" y="50"/>
                    <a:pt x="525" y="50"/>
                    <a:pt x="525" y="25"/>
                  </a:cubicBezTo>
                  <a:cubicBezTo>
                    <a:pt x="525" y="25"/>
                    <a:pt x="475" y="25"/>
                    <a:pt x="4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8" name="Freeform 194">
              <a:extLst>
                <a:ext uri="{FF2B5EF4-FFF2-40B4-BE49-F238E27FC236}">
                  <a16:creationId xmlns:a16="http://schemas.microsoft.com/office/drawing/2014/main" id="{857AA4BF-EC6C-3900-4F37-FBA25A457B68}"/>
                </a:ext>
              </a:extLst>
            </p:cNvPr>
            <p:cNvSpPr>
              <a:spLocks noChangeArrowheads="1"/>
            </p:cNvSpPr>
            <p:nvPr/>
          </p:nvSpPr>
          <p:spPr bwMode="auto">
            <a:xfrm>
              <a:off x="6900309" y="4527467"/>
              <a:ext cx="126374" cy="101987"/>
            </a:xfrm>
            <a:custGeom>
              <a:avLst/>
              <a:gdLst>
                <a:gd name="T0" fmla="*/ 51 w 252"/>
                <a:gd name="T1" fmla="*/ 200 h 201"/>
                <a:gd name="T2" fmla="*/ 51 w 252"/>
                <a:gd name="T3" fmla="*/ 200 h 201"/>
                <a:gd name="T4" fmla="*/ 51 w 252"/>
                <a:gd name="T5" fmla="*/ 200 h 201"/>
                <a:gd name="T6" fmla="*/ 76 w 252"/>
                <a:gd name="T7" fmla="*/ 200 h 201"/>
                <a:gd name="T8" fmla="*/ 76 w 252"/>
                <a:gd name="T9" fmla="*/ 200 h 201"/>
                <a:gd name="T10" fmla="*/ 76 w 252"/>
                <a:gd name="T11" fmla="*/ 200 h 201"/>
                <a:gd name="T12" fmla="*/ 76 w 252"/>
                <a:gd name="T13" fmla="*/ 200 h 201"/>
                <a:gd name="T14" fmla="*/ 100 w 252"/>
                <a:gd name="T15" fmla="*/ 200 h 201"/>
                <a:gd name="T16" fmla="*/ 100 w 252"/>
                <a:gd name="T17" fmla="*/ 200 h 201"/>
                <a:gd name="T18" fmla="*/ 100 w 252"/>
                <a:gd name="T19" fmla="*/ 175 h 201"/>
                <a:gd name="T20" fmla="*/ 126 w 252"/>
                <a:gd name="T21" fmla="*/ 175 h 201"/>
                <a:gd name="T22" fmla="*/ 126 w 252"/>
                <a:gd name="T23" fmla="*/ 175 h 201"/>
                <a:gd name="T24" fmla="*/ 176 w 252"/>
                <a:gd name="T25" fmla="*/ 150 h 201"/>
                <a:gd name="T26" fmla="*/ 251 w 252"/>
                <a:gd name="T27" fmla="*/ 125 h 201"/>
                <a:gd name="T28" fmla="*/ 251 w 252"/>
                <a:gd name="T29" fmla="*/ 125 h 201"/>
                <a:gd name="T30" fmla="*/ 226 w 252"/>
                <a:gd name="T31" fmla="*/ 100 h 201"/>
                <a:gd name="T32" fmla="*/ 176 w 252"/>
                <a:gd name="T33" fmla="*/ 25 h 201"/>
                <a:gd name="T34" fmla="*/ 176 w 252"/>
                <a:gd name="T35" fmla="*/ 25 h 201"/>
                <a:gd name="T36" fmla="*/ 176 w 252"/>
                <a:gd name="T37" fmla="*/ 25 h 201"/>
                <a:gd name="T38" fmla="*/ 176 w 252"/>
                <a:gd name="T39" fmla="*/ 0 h 201"/>
                <a:gd name="T40" fmla="*/ 26 w 252"/>
                <a:gd name="T41" fmla="*/ 50 h 201"/>
                <a:gd name="T42" fmla="*/ 26 w 252"/>
                <a:gd name="T43" fmla="*/ 25 h 201"/>
                <a:gd name="T44" fmla="*/ 0 w 252"/>
                <a:gd name="T45" fmla="*/ 125 h 201"/>
                <a:gd name="T46" fmla="*/ 51 w 252"/>
                <a:gd name="T47" fmla="*/ 2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2" h="201">
                  <a:moveTo>
                    <a:pt x="51" y="200"/>
                  </a:moveTo>
                  <a:lnTo>
                    <a:pt x="51" y="200"/>
                  </a:lnTo>
                  <a:lnTo>
                    <a:pt x="51" y="200"/>
                  </a:lnTo>
                  <a:cubicBezTo>
                    <a:pt x="51" y="200"/>
                    <a:pt x="51" y="200"/>
                    <a:pt x="76" y="200"/>
                  </a:cubicBezTo>
                  <a:lnTo>
                    <a:pt x="76" y="200"/>
                  </a:lnTo>
                  <a:lnTo>
                    <a:pt x="76" y="200"/>
                  </a:lnTo>
                  <a:lnTo>
                    <a:pt x="76" y="200"/>
                  </a:lnTo>
                  <a:lnTo>
                    <a:pt x="100" y="200"/>
                  </a:lnTo>
                  <a:lnTo>
                    <a:pt x="100" y="200"/>
                  </a:lnTo>
                  <a:cubicBezTo>
                    <a:pt x="100" y="200"/>
                    <a:pt x="100" y="200"/>
                    <a:pt x="100" y="175"/>
                  </a:cubicBezTo>
                  <a:cubicBezTo>
                    <a:pt x="100" y="175"/>
                    <a:pt x="100" y="175"/>
                    <a:pt x="126" y="175"/>
                  </a:cubicBezTo>
                  <a:lnTo>
                    <a:pt x="126" y="175"/>
                  </a:lnTo>
                  <a:cubicBezTo>
                    <a:pt x="151" y="175"/>
                    <a:pt x="151" y="150"/>
                    <a:pt x="176" y="150"/>
                  </a:cubicBezTo>
                  <a:cubicBezTo>
                    <a:pt x="176" y="175"/>
                    <a:pt x="251" y="125"/>
                    <a:pt x="251" y="125"/>
                  </a:cubicBezTo>
                  <a:lnTo>
                    <a:pt x="251" y="125"/>
                  </a:lnTo>
                  <a:cubicBezTo>
                    <a:pt x="251" y="100"/>
                    <a:pt x="251" y="100"/>
                    <a:pt x="226" y="100"/>
                  </a:cubicBezTo>
                  <a:cubicBezTo>
                    <a:pt x="226" y="75"/>
                    <a:pt x="200" y="25"/>
                    <a:pt x="176" y="25"/>
                  </a:cubicBezTo>
                  <a:lnTo>
                    <a:pt x="176" y="25"/>
                  </a:lnTo>
                  <a:lnTo>
                    <a:pt x="176" y="25"/>
                  </a:lnTo>
                  <a:cubicBezTo>
                    <a:pt x="176" y="25"/>
                    <a:pt x="176" y="25"/>
                    <a:pt x="176" y="0"/>
                  </a:cubicBezTo>
                  <a:cubicBezTo>
                    <a:pt x="126" y="25"/>
                    <a:pt x="26" y="50"/>
                    <a:pt x="26" y="50"/>
                  </a:cubicBezTo>
                  <a:cubicBezTo>
                    <a:pt x="26" y="50"/>
                    <a:pt x="26" y="50"/>
                    <a:pt x="26" y="25"/>
                  </a:cubicBezTo>
                  <a:cubicBezTo>
                    <a:pt x="0" y="75"/>
                    <a:pt x="0" y="100"/>
                    <a:pt x="0" y="125"/>
                  </a:cubicBezTo>
                  <a:cubicBezTo>
                    <a:pt x="0" y="150"/>
                    <a:pt x="26" y="175"/>
                    <a:pt x="51" y="200"/>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69" name="Freeform 195">
              <a:extLst>
                <a:ext uri="{FF2B5EF4-FFF2-40B4-BE49-F238E27FC236}">
                  <a16:creationId xmlns:a16="http://schemas.microsoft.com/office/drawing/2014/main" id="{9269E948-10E0-ADF5-F165-42BAB31A35BA}"/>
                </a:ext>
              </a:extLst>
            </p:cNvPr>
            <p:cNvSpPr>
              <a:spLocks noChangeArrowheads="1"/>
            </p:cNvSpPr>
            <p:nvPr/>
          </p:nvSpPr>
          <p:spPr bwMode="auto">
            <a:xfrm>
              <a:off x="6988994" y="3924413"/>
              <a:ext cx="842502" cy="489980"/>
            </a:xfrm>
            <a:custGeom>
              <a:avLst/>
              <a:gdLst>
                <a:gd name="T0" fmla="*/ 1475 w 1676"/>
                <a:gd name="T1" fmla="*/ 625 h 976"/>
                <a:gd name="T2" fmla="*/ 1625 w 1676"/>
                <a:gd name="T3" fmla="*/ 575 h 976"/>
                <a:gd name="T4" fmla="*/ 1625 w 1676"/>
                <a:gd name="T5" fmla="*/ 475 h 976"/>
                <a:gd name="T6" fmla="*/ 1625 w 1676"/>
                <a:gd name="T7" fmla="*/ 425 h 976"/>
                <a:gd name="T8" fmla="*/ 1600 w 1676"/>
                <a:gd name="T9" fmla="*/ 350 h 976"/>
                <a:gd name="T10" fmla="*/ 1450 w 1676"/>
                <a:gd name="T11" fmla="*/ 325 h 976"/>
                <a:gd name="T12" fmla="*/ 1350 w 1676"/>
                <a:gd name="T13" fmla="*/ 275 h 976"/>
                <a:gd name="T14" fmla="*/ 1275 w 1676"/>
                <a:gd name="T15" fmla="*/ 250 h 976"/>
                <a:gd name="T16" fmla="*/ 1200 w 1676"/>
                <a:gd name="T17" fmla="*/ 175 h 976"/>
                <a:gd name="T18" fmla="*/ 1100 w 1676"/>
                <a:gd name="T19" fmla="*/ 100 h 976"/>
                <a:gd name="T20" fmla="*/ 1000 w 1676"/>
                <a:gd name="T21" fmla="*/ 25 h 976"/>
                <a:gd name="T22" fmla="*/ 900 w 1676"/>
                <a:gd name="T23" fmla="*/ 50 h 976"/>
                <a:gd name="T24" fmla="*/ 825 w 1676"/>
                <a:gd name="T25" fmla="*/ 50 h 976"/>
                <a:gd name="T26" fmla="*/ 749 w 1676"/>
                <a:gd name="T27" fmla="*/ 125 h 976"/>
                <a:gd name="T28" fmla="*/ 600 w 1676"/>
                <a:gd name="T29" fmla="*/ 100 h 976"/>
                <a:gd name="T30" fmla="*/ 475 w 1676"/>
                <a:gd name="T31" fmla="*/ 100 h 976"/>
                <a:gd name="T32" fmla="*/ 224 w 1676"/>
                <a:gd name="T33" fmla="*/ 74 h 976"/>
                <a:gd name="T34" fmla="*/ 124 w 1676"/>
                <a:gd name="T35" fmla="*/ 100 h 976"/>
                <a:gd name="T36" fmla="*/ 150 w 1676"/>
                <a:gd name="T37" fmla="*/ 225 h 976"/>
                <a:gd name="T38" fmla="*/ 24 w 1676"/>
                <a:gd name="T39" fmla="*/ 350 h 976"/>
                <a:gd name="T40" fmla="*/ 0 w 1676"/>
                <a:gd name="T41" fmla="*/ 500 h 976"/>
                <a:gd name="T42" fmla="*/ 50 w 1676"/>
                <a:gd name="T43" fmla="*/ 550 h 976"/>
                <a:gd name="T44" fmla="*/ 175 w 1676"/>
                <a:gd name="T45" fmla="*/ 550 h 976"/>
                <a:gd name="T46" fmla="*/ 275 w 1676"/>
                <a:gd name="T47" fmla="*/ 575 h 976"/>
                <a:gd name="T48" fmla="*/ 375 w 1676"/>
                <a:gd name="T49" fmla="*/ 525 h 976"/>
                <a:gd name="T50" fmla="*/ 575 w 1676"/>
                <a:gd name="T51" fmla="*/ 525 h 976"/>
                <a:gd name="T52" fmla="*/ 700 w 1676"/>
                <a:gd name="T53" fmla="*/ 675 h 976"/>
                <a:gd name="T54" fmla="*/ 650 w 1676"/>
                <a:gd name="T55" fmla="*/ 725 h 976"/>
                <a:gd name="T56" fmla="*/ 549 w 1676"/>
                <a:gd name="T57" fmla="*/ 850 h 976"/>
                <a:gd name="T58" fmla="*/ 650 w 1676"/>
                <a:gd name="T59" fmla="*/ 850 h 976"/>
                <a:gd name="T60" fmla="*/ 725 w 1676"/>
                <a:gd name="T61" fmla="*/ 800 h 976"/>
                <a:gd name="T62" fmla="*/ 900 w 1676"/>
                <a:gd name="T63" fmla="*/ 700 h 976"/>
                <a:gd name="T64" fmla="*/ 1075 w 1676"/>
                <a:gd name="T65" fmla="*/ 775 h 976"/>
                <a:gd name="T66" fmla="*/ 1050 w 1676"/>
                <a:gd name="T67" fmla="*/ 900 h 976"/>
                <a:gd name="T68" fmla="*/ 1125 w 1676"/>
                <a:gd name="T69" fmla="*/ 950 h 976"/>
                <a:gd name="T70" fmla="*/ 1325 w 1676"/>
                <a:gd name="T71" fmla="*/ 900 h 976"/>
                <a:gd name="T72" fmla="*/ 1175 w 1676"/>
                <a:gd name="T73" fmla="*/ 800 h 976"/>
                <a:gd name="T74" fmla="*/ 1400 w 1676"/>
                <a:gd name="T75" fmla="*/ 675 h 976"/>
                <a:gd name="T76" fmla="*/ 1475 w 1676"/>
                <a:gd name="T77" fmla="*/ 625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76" h="976">
                  <a:moveTo>
                    <a:pt x="1475" y="625"/>
                  </a:moveTo>
                  <a:lnTo>
                    <a:pt x="1475" y="625"/>
                  </a:lnTo>
                  <a:cubicBezTo>
                    <a:pt x="1500" y="625"/>
                    <a:pt x="1550" y="575"/>
                    <a:pt x="1550" y="575"/>
                  </a:cubicBezTo>
                  <a:cubicBezTo>
                    <a:pt x="1575" y="575"/>
                    <a:pt x="1625" y="575"/>
                    <a:pt x="1625" y="575"/>
                  </a:cubicBezTo>
                  <a:cubicBezTo>
                    <a:pt x="1625" y="550"/>
                    <a:pt x="1650" y="525"/>
                    <a:pt x="1650" y="500"/>
                  </a:cubicBezTo>
                  <a:lnTo>
                    <a:pt x="1625" y="475"/>
                  </a:lnTo>
                  <a:cubicBezTo>
                    <a:pt x="1625" y="475"/>
                    <a:pt x="1650" y="475"/>
                    <a:pt x="1650" y="450"/>
                  </a:cubicBezTo>
                  <a:lnTo>
                    <a:pt x="1625" y="425"/>
                  </a:lnTo>
                  <a:cubicBezTo>
                    <a:pt x="1625" y="425"/>
                    <a:pt x="1675" y="399"/>
                    <a:pt x="1675" y="375"/>
                  </a:cubicBezTo>
                  <a:cubicBezTo>
                    <a:pt x="1650" y="375"/>
                    <a:pt x="1625" y="375"/>
                    <a:pt x="1600" y="350"/>
                  </a:cubicBezTo>
                  <a:cubicBezTo>
                    <a:pt x="1575" y="350"/>
                    <a:pt x="1550" y="350"/>
                    <a:pt x="1525" y="325"/>
                  </a:cubicBezTo>
                  <a:cubicBezTo>
                    <a:pt x="1500" y="325"/>
                    <a:pt x="1450" y="325"/>
                    <a:pt x="1450" y="325"/>
                  </a:cubicBezTo>
                  <a:cubicBezTo>
                    <a:pt x="1450" y="299"/>
                    <a:pt x="1425" y="275"/>
                    <a:pt x="1400" y="275"/>
                  </a:cubicBezTo>
                  <a:cubicBezTo>
                    <a:pt x="1400" y="250"/>
                    <a:pt x="1375" y="275"/>
                    <a:pt x="1350" y="275"/>
                  </a:cubicBezTo>
                  <a:cubicBezTo>
                    <a:pt x="1350" y="275"/>
                    <a:pt x="1325" y="299"/>
                    <a:pt x="1300" y="275"/>
                  </a:cubicBezTo>
                  <a:lnTo>
                    <a:pt x="1275" y="250"/>
                  </a:lnTo>
                  <a:cubicBezTo>
                    <a:pt x="1250" y="275"/>
                    <a:pt x="1225" y="250"/>
                    <a:pt x="1225" y="250"/>
                  </a:cubicBezTo>
                  <a:cubicBezTo>
                    <a:pt x="1225" y="225"/>
                    <a:pt x="1200" y="175"/>
                    <a:pt x="1200" y="175"/>
                  </a:cubicBezTo>
                  <a:cubicBezTo>
                    <a:pt x="1175" y="150"/>
                    <a:pt x="1125" y="175"/>
                    <a:pt x="1125" y="150"/>
                  </a:cubicBezTo>
                  <a:cubicBezTo>
                    <a:pt x="1100" y="125"/>
                    <a:pt x="1100" y="100"/>
                    <a:pt x="1100" y="100"/>
                  </a:cubicBezTo>
                  <a:cubicBezTo>
                    <a:pt x="1100" y="74"/>
                    <a:pt x="1100" y="50"/>
                    <a:pt x="1075" y="25"/>
                  </a:cubicBezTo>
                  <a:cubicBezTo>
                    <a:pt x="1075" y="0"/>
                    <a:pt x="1025" y="0"/>
                    <a:pt x="1000" y="25"/>
                  </a:cubicBezTo>
                  <a:cubicBezTo>
                    <a:pt x="1000" y="25"/>
                    <a:pt x="950" y="0"/>
                    <a:pt x="950" y="25"/>
                  </a:cubicBezTo>
                  <a:cubicBezTo>
                    <a:pt x="925" y="25"/>
                    <a:pt x="925" y="50"/>
                    <a:pt x="900" y="50"/>
                  </a:cubicBezTo>
                  <a:cubicBezTo>
                    <a:pt x="900" y="50"/>
                    <a:pt x="875" y="50"/>
                    <a:pt x="875" y="25"/>
                  </a:cubicBezTo>
                  <a:cubicBezTo>
                    <a:pt x="850" y="50"/>
                    <a:pt x="825" y="50"/>
                    <a:pt x="825" y="50"/>
                  </a:cubicBezTo>
                  <a:lnTo>
                    <a:pt x="749" y="100"/>
                  </a:lnTo>
                  <a:cubicBezTo>
                    <a:pt x="749" y="125"/>
                    <a:pt x="749" y="150"/>
                    <a:pt x="749" y="125"/>
                  </a:cubicBezTo>
                  <a:cubicBezTo>
                    <a:pt x="725" y="125"/>
                    <a:pt x="675" y="125"/>
                    <a:pt x="650" y="125"/>
                  </a:cubicBezTo>
                  <a:cubicBezTo>
                    <a:pt x="650" y="150"/>
                    <a:pt x="625" y="100"/>
                    <a:pt x="600" y="100"/>
                  </a:cubicBezTo>
                  <a:cubicBezTo>
                    <a:pt x="575" y="125"/>
                    <a:pt x="549" y="100"/>
                    <a:pt x="525" y="100"/>
                  </a:cubicBezTo>
                  <a:cubicBezTo>
                    <a:pt x="525" y="125"/>
                    <a:pt x="500" y="100"/>
                    <a:pt x="475" y="100"/>
                  </a:cubicBezTo>
                  <a:cubicBezTo>
                    <a:pt x="450" y="74"/>
                    <a:pt x="400" y="100"/>
                    <a:pt x="375" y="74"/>
                  </a:cubicBezTo>
                  <a:cubicBezTo>
                    <a:pt x="375" y="74"/>
                    <a:pt x="250" y="74"/>
                    <a:pt x="224" y="74"/>
                  </a:cubicBezTo>
                  <a:cubicBezTo>
                    <a:pt x="200" y="74"/>
                    <a:pt x="175" y="74"/>
                    <a:pt x="175" y="100"/>
                  </a:cubicBezTo>
                  <a:cubicBezTo>
                    <a:pt x="150" y="125"/>
                    <a:pt x="124" y="100"/>
                    <a:pt x="124" y="100"/>
                  </a:cubicBezTo>
                  <a:cubicBezTo>
                    <a:pt x="124" y="125"/>
                    <a:pt x="124" y="125"/>
                    <a:pt x="124" y="150"/>
                  </a:cubicBezTo>
                  <a:cubicBezTo>
                    <a:pt x="124" y="150"/>
                    <a:pt x="175" y="225"/>
                    <a:pt x="150" y="225"/>
                  </a:cubicBezTo>
                  <a:cubicBezTo>
                    <a:pt x="150" y="250"/>
                    <a:pt x="124" y="250"/>
                    <a:pt x="124" y="275"/>
                  </a:cubicBezTo>
                  <a:cubicBezTo>
                    <a:pt x="100" y="275"/>
                    <a:pt x="24" y="350"/>
                    <a:pt x="24" y="350"/>
                  </a:cubicBezTo>
                  <a:cubicBezTo>
                    <a:pt x="24" y="375"/>
                    <a:pt x="50" y="425"/>
                    <a:pt x="24" y="425"/>
                  </a:cubicBezTo>
                  <a:cubicBezTo>
                    <a:pt x="24" y="425"/>
                    <a:pt x="0" y="475"/>
                    <a:pt x="0" y="500"/>
                  </a:cubicBezTo>
                  <a:lnTo>
                    <a:pt x="24" y="525"/>
                  </a:lnTo>
                  <a:cubicBezTo>
                    <a:pt x="50" y="550"/>
                    <a:pt x="50" y="550"/>
                    <a:pt x="50" y="550"/>
                  </a:cubicBezTo>
                  <a:lnTo>
                    <a:pt x="75" y="550"/>
                  </a:lnTo>
                  <a:cubicBezTo>
                    <a:pt x="100" y="550"/>
                    <a:pt x="150" y="550"/>
                    <a:pt x="175" y="550"/>
                  </a:cubicBezTo>
                  <a:cubicBezTo>
                    <a:pt x="200" y="550"/>
                    <a:pt x="224" y="575"/>
                    <a:pt x="224" y="575"/>
                  </a:cubicBezTo>
                  <a:cubicBezTo>
                    <a:pt x="250" y="575"/>
                    <a:pt x="250" y="575"/>
                    <a:pt x="275" y="575"/>
                  </a:cubicBezTo>
                  <a:cubicBezTo>
                    <a:pt x="300" y="550"/>
                    <a:pt x="300" y="550"/>
                    <a:pt x="325" y="550"/>
                  </a:cubicBezTo>
                  <a:cubicBezTo>
                    <a:pt x="350" y="550"/>
                    <a:pt x="375" y="550"/>
                    <a:pt x="375" y="525"/>
                  </a:cubicBezTo>
                  <a:cubicBezTo>
                    <a:pt x="375" y="525"/>
                    <a:pt x="475" y="500"/>
                    <a:pt x="500" y="500"/>
                  </a:cubicBezTo>
                  <a:cubicBezTo>
                    <a:pt x="500" y="500"/>
                    <a:pt x="549" y="525"/>
                    <a:pt x="575" y="525"/>
                  </a:cubicBezTo>
                  <a:cubicBezTo>
                    <a:pt x="575" y="525"/>
                    <a:pt x="625" y="550"/>
                    <a:pt x="625" y="575"/>
                  </a:cubicBezTo>
                  <a:cubicBezTo>
                    <a:pt x="650" y="625"/>
                    <a:pt x="675" y="675"/>
                    <a:pt x="700" y="675"/>
                  </a:cubicBezTo>
                  <a:cubicBezTo>
                    <a:pt x="700" y="700"/>
                    <a:pt x="700" y="725"/>
                    <a:pt x="700" y="750"/>
                  </a:cubicBezTo>
                  <a:cubicBezTo>
                    <a:pt x="700" y="750"/>
                    <a:pt x="675" y="750"/>
                    <a:pt x="650" y="725"/>
                  </a:cubicBezTo>
                  <a:cubicBezTo>
                    <a:pt x="625" y="725"/>
                    <a:pt x="600" y="750"/>
                    <a:pt x="600" y="775"/>
                  </a:cubicBezTo>
                  <a:cubicBezTo>
                    <a:pt x="600" y="800"/>
                    <a:pt x="575" y="850"/>
                    <a:pt x="549" y="850"/>
                  </a:cubicBezTo>
                  <a:cubicBezTo>
                    <a:pt x="549" y="875"/>
                    <a:pt x="575" y="875"/>
                    <a:pt x="600" y="875"/>
                  </a:cubicBezTo>
                  <a:cubicBezTo>
                    <a:pt x="600" y="875"/>
                    <a:pt x="625" y="850"/>
                    <a:pt x="650" y="850"/>
                  </a:cubicBezTo>
                  <a:lnTo>
                    <a:pt x="675" y="875"/>
                  </a:lnTo>
                  <a:cubicBezTo>
                    <a:pt x="675" y="825"/>
                    <a:pt x="675" y="850"/>
                    <a:pt x="725" y="800"/>
                  </a:cubicBezTo>
                  <a:cubicBezTo>
                    <a:pt x="775" y="775"/>
                    <a:pt x="775" y="725"/>
                    <a:pt x="800" y="725"/>
                  </a:cubicBezTo>
                  <a:cubicBezTo>
                    <a:pt x="850" y="700"/>
                    <a:pt x="850" y="700"/>
                    <a:pt x="900" y="700"/>
                  </a:cubicBezTo>
                  <a:cubicBezTo>
                    <a:pt x="950" y="700"/>
                    <a:pt x="875" y="750"/>
                    <a:pt x="925" y="750"/>
                  </a:cubicBezTo>
                  <a:cubicBezTo>
                    <a:pt x="950" y="775"/>
                    <a:pt x="1075" y="750"/>
                    <a:pt x="1075" y="775"/>
                  </a:cubicBezTo>
                  <a:cubicBezTo>
                    <a:pt x="1075" y="800"/>
                    <a:pt x="950" y="850"/>
                    <a:pt x="950" y="850"/>
                  </a:cubicBezTo>
                  <a:cubicBezTo>
                    <a:pt x="950" y="875"/>
                    <a:pt x="1025" y="875"/>
                    <a:pt x="1050" y="900"/>
                  </a:cubicBezTo>
                  <a:cubicBezTo>
                    <a:pt x="1075" y="900"/>
                    <a:pt x="1025" y="950"/>
                    <a:pt x="1050" y="975"/>
                  </a:cubicBezTo>
                  <a:cubicBezTo>
                    <a:pt x="1050" y="975"/>
                    <a:pt x="1100" y="975"/>
                    <a:pt x="1125" y="950"/>
                  </a:cubicBezTo>
                  <a:cubicBezTo>
                    <a:pt x="1150" y="925"/>
                    <a:pt x="1175" y="925"/>
                    <a:pt x="1200" y="900"/>
                  </a:cubicBezTo>
                  <a:cubicBezTo>
                    <a:pt x="1250" y="875"/>
                    <a:pt x="1325" y="900"/>
                    <a:pt x="1325" y="900"/>
                  </a:cubicBezTo>
                  <a:cubicBezTo>
                    <a:pt x="1350" y="875"/>
                    <a:pt x="1325" y="875"/>
                    <a:pt x="1250" y="875"/>
                  </a:cubicBezTo>
                  <a:cubicBezTo>
                    <a:pt x="1175" y="875"/>
                    <a:pt x="1175" y="800"/>
                    <a:pt x="1175" y="800"/>
                  </a:cubicBezTo>
                  <a:cubicBezTo>
                    <a:pt x="1175" y="775"/>
                    <a:pt x="1250" y="725"/>
                    <a:pt x="1275" y="725"/>
                  </a:cubicBezTo>
                  <a:cubicBezTo>
                    <a:pt x="1325" y="725"/>
                    <a:pt x="1350" y="700"/>
                    <a:pt x="1400" y="675"/>
                  </a:cubicBezTo>
                  <a:cubicBezTo>
                    <a:pt x="1425" y="675"/>
                    <a:pt x="1450" y="675"/>
                    <a:pt x="1475" y="650"/>
                  </a:cubicBezTo>
                  <a:lnTo>
                    <a:pt x="1475" y="625"/>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0" name="Freeform 196">
              <a:extLst>
                <a:ext uri="{FF2B5EF4-FFF2-40B4-BE49-F238E27FC236}">
                  <a16:creationId xmlns:a16="http://schemas.microsoft.com/office/drawing/2014/main" id="{26E9CF09-7DA3-23B2-C2F2-320C028C9592}"/>
                </a:ext>
              </a:extLst>
            </p:cNvPr>
            <p:cNvSpPr>
              <a:spLocks noChangeArrowheads="1"/>
            </p:cNvSpPr>
            <p:nvPr/>
          </p:nvSpPr>
          <p:spPr bwMode="auto">
            <a:xfrm>
              <a:off x="7026685" y="3673880"/>
              <a:ext cx="452290" cy="328133"/>
            </a:xfrm>
            <a:custGeom>
              <a:avLst/>
              <a:gdLst>
                <a:gd name="T0" fmla="*/ 825 w 901"/>
                <a:gd name="T1" fmla="*/ 325 h 651"/>
                <a:gd name="T2" fmla="*/ 825 w 901"/>
                <a:gd name="T3" fmla="*/ 325 h 651"/>
                <a:gd name="T4" fmla="*/ 775 w 901"/>
                <a:gd name="T5" fmla="*/ 274 h 651"/>
                <a:gd name="T6" fmla="*/ 750 w 901"/>
                <a:gd name="T7" fmla="*/ 225 h 651"/>
                <a:gd name="T8" fmla="*/ 725 w 901"/>
                <a:gd name="T9" fmla="*/ 150 h 651"/>
                <a:gd name="T10" fmla="*/ 725 w 901"/>
                <a:gd name="T11" fmla="*/ 74 h 651"/>
                <a:gd name="T12" fmla="*/ 625 w 901"/>
                <a:gd name="T13" fmla="*/ 50 h 651"/>
                <a:gd name="T14" fmla="*/ 575 w 901"/>
                <a:gd name="T15" fmla="*/ 50 h 651"/>
                <a:gd name="T16" fmla="*/ 525 w 901"/>
                <a:gd name="T17" fmla="*/ 25 h 651"/>
                <a:gd name="T18" fmla="*/ 474 w 901"/>
                <a:gd name="T19" fmla="*/ 25 h 651"/>
                <a:gd name="T20" fmla="*/ 474 w 901"/>
                <a:gd name="T21" fmla="*/ 0 h 651"/>
                <a:gd name="T22" fmla="*/ 450 w 901"/>
                <a:gd name="T23" fmla="*/ 25 h 651"/>
                <a:gd name="T24" fmla="*/ 425 w 901"/>
                <a:gd name="T25" fmla="*/ 50 h 651"/>
                <a:gd name="T26" fmla="*/ 350 w 901"/>
                <a:gd name="T27" fmla="*/ 74 h 651"/>
                <a:gd name="T28" fmla="*/ 325 w 901"/>
                <a:gd name="T29" fmla="*/ 125 h 651"/>
                <a:gd name="T30" fmla="*/ 325 w 901"/>
                <a:gd name="T31" fmla="*/ 150 h 651"/>
                <a:gd name="T32" fmla="*/ 275 w 901"/>
                <a:gd name="T33" fmla="*/ 174 h 651"/>
                <a:gd name="T34" fmla="*/ 225 w 901"/>
                <a:gd name="T35" fmla="*/ 225 h 651"/>
                <a:gd name="T36" fmla="*/ 225 w 901"/>
                <a:gd name="T37" fmla="*/ 274 h 651"/>
                <a:gd name="T38" fmla="*/ 149 w 901"/>
                <a:gd name="T39" fmla="*/ 274 h 651"/>
                <a:gd name="T40" fmla="*/ 125 w 901"/>
                <a:gd name="T41" fmla="*/ 300 h 651"/>
                <a:gd name="T42" fmla="*/ 49 w 901"/>
                <a:gd name="T43" fmla="*/ 300 h 651"/>
                <a:gd name="T44" fmla="*/ 49 w 901"/>
                <a:gd name="T45" fmla="*/ 300 h 651"/>
                <a:gd name="T46" fmla="*/ 49 w 901"/>
                <a:gd name="T47" fmla="*/ 374 h 651"/>
                <a:gd name="T48" fmla="*/ 75 w 901"/>
                <a:gd name="T49" fmla="*/ 474 h 651"/>
                <a:gd name="T50" fmla="*/ 0 w 901"/>
                <a:gd name="T51" fmla="*/ 500 h 651"/>
                <a:gd name="T52" fmla="*/ 49 w 901"/>
                <a:gd name="T53" fmla="*/ 550 h 651"/>
                <a:gd name="T54" fmla="*/ 49 w 901"/>
                <a:gd name="T55" fmla="*/ 600 h 651"/>
                <a:gd name="T56" fmla="*/ 100 w 901"/>
                <a:gd name="T57" fmla="*/ 600 h 651"/>
                <a:gd name="T58" fmla="*/ 149 w 901"/>
                <a:gd name="T59" fmla="*/ 574 h 651"/>
                <a:gd name="T60" fmla="*/ 300 w 901"/>
                <a:gd name="T61" fmla="*/ 574 h 651"/>
                <a:gd name="T62" fmla="*/ 400 w 901"/>
                <a:gd name="T63" fmla="*/ 600 h 651"/>
                <a:gd name="T64" fmla="*/ 450 w 901"/>
                <a:gd name="T65" fmla="*/ 600 h 651"/>
                <a:gd name="T66" fmla="*/ 525 w 901"/>
                <a:gd name="T67" fmla="*/ 600 h 651"/>
                <a:gd name="T68" fmla="*/ 575 w 901"/>
                <a:gd name="T69" fmla="*/ 625 h 651"/>
                <a:gd name="T70" fmla="*/ 674 w 901"/>
                <a:gd name="T71" fmla="*/ 625 h 651"/>
                <a:gd name="T72" fmla="*/ 674 w 901"/>
                <a:gd name="T73" fmla="*/ 600 h 651"/>
                <a:gd name="T74" fmla="*/ 750 w 901"/>
                <a:gd name="T75" fmla="*/ 550 h 651"/>
                <a:gd name="T76" fmla="*/ 800 w 901"/>
                <a:gd name="T77" fmla="*/ 525 h 651"/>
                <a:gd name="T78" fmla="*/ 800 w 901"/>
                <a:gd name="T79" fmla="*/ 500 h 651"/>
                <a:gd name="T80" fmla="*/ 775 w 901"/>
                <a:gd name="T81" fmla="*/ 400 h 651"/>
                <a:gd name="T82" fmla="*/ 850 w 901"/>
                <a:gd name="T83" fmla="*/ 425 h 651"/>
                <a:gd name="T84" fmla="*/ 900 w 901"/>
                <a:gd name="T85" fmla="*/ 374 h 651"/>
                <a:gd name="T86" fmla="*/ 825 w 901"/>
                <a:gd name="T87" fmla="*/ 32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1" h="651">
                  <a:moveTo>
                    <a:pt x="825" y="325"/>
                  </a:moveTo>
                  <a:lnTo>
                    <a:pt x="825" y="325"/>
                  </a:lnTo>
                  <a:cubicBezTo>
                    <a:pt x="825" y="325"/>
                    <a:pt x="800" y="274"/>
                    <a:pt x="775" y="274"/>
                  </a:cubicBezTo>
                  <a:cubicBezTo>
                    <a:pt x="750" y="250"/>
                    <a:pt x="750" y="225"/>
                    <a:pt x="750" y="225"/>
                  </a:cubicBezTo>
                  <a:cubicBezTo>
                    <a:pt x="725" y="200"/>
                    <a:pt x="725" y="174"/>
                    <a:pt x="725" y="150"/>
                  </a:cubicBezTo>
                  <a:cubicBezTo>
                    <a:pt x="725" y="125"/>
                    <a:pt x="725" y="100"/>
                    <a:pt x="725" y="74"/>
                  </a:cubicBezTo>
                  <a:cubicBezTo>
                    <a:pt x="700" y="74"/>
                    <a:pt x="650" y="50"/>
                    <a:pt x="625" y="50"/>
                  </a:cubicBezTo>
                  <a:cubicBezTo>
                    <a:pt x="600" y="74"/>
                    <a:pt x="600" y="74"/>
                    <a:pt x="575" y="50"/>
                  </a:cubicBezTo>
                  <a:cubicBezTo>
                    <a:pt x="575" y="50"/>
                    <a:pt x="550" y="25"/>
                    <a:pt x="525" y="25"/>
                  </a:cubicBezTo>
                  <a:cubicBezTo>
                    <a:pt x="500" y="50"/>
                    <a:pt x="500" y="25"/>
                    <a:pt x="474" y="25"/>
                  </a:cubicBezTo>
                  <a:cubicBezTo>
                    <a:pt x="474" y="25"/>
                    <a:pt x="474" y="25"/>
                    <a:pt x="474" y="0"/>
                  </a:cubicBezTo>
                  <a:cubicBezTo>
                    <a:pt x="474" y="25"/>
                    <a:pt x="450" y="25"/>
                    <a:pt x="450" y="25"/>
                  </a:cubicBezTo>
                  <a:cubicBezTo>
                    <a:pt x="425" y="25"/>
                    <a:pt x="425" y="50"/>
                    <a:pt x="425" y="50"/>
                  </a:cubicBezTo>
                  <a:cubicBezTo>
                    <a:pt x="400" y="50"/>
                    <a:pt x="375" y="50"/>
                    <a:pt x="350" y="74"/>
                  </a:cubicBezTo>
                  <a:cubicBezTo>
                    <a:pt x="325" y="74"/>
                    <a:pt x="325" y="100"/>
                    <a:pt x="325" y="125"/>
                  </a:cubicBezTo>
                  <a:lnTo>
                    <a:pt x="325" y="150"/>
                  </a:lnTo>
                  <a:cubicBezTo>
                    <a:pt x="300" y="150"/>
                    <a:pt x="300" y="174"/>
                    <a:pt x="275" y="174"/>
                  </a:cubicBezTo>
                  <a:cubicBezTo>
                    <a:pt x="275" y="174"/>
                    <a:pt x="250" y="200"/>
                    <a:pt x="225" y="225"/>
                  </a:cubicBezTo>
                  <a:lnTo>
                    <a:pt x="225" y="274"/>
                  </a:lnTo>
                  <a:cubicBezTo>
                    <a:pt x="200" y="274"/>
                    <a:pt x="175" y="274"/>
                    <a:pt x="149" y="274"/>
                  </a:cubicBezTo>
                  <a:cubicBezTo>
                    <a:pt x="149" y="300"/>
                    <a:pt x="125" y="325"/>
                    <a:pt x="125" y="300"/>
                  </a:cubicBezTo>
                  <a:cubicBezTo>
                    <a:pt x="100" y="300"/>
                    <a:pt x="75" y="300"/>
                    <a:pt x="49" y="300"/>
                  </a:cubicBezTo>
                  <a:lnTo>
                    <a:pt x="49" y="300"/>
                  </a:lnTo>
                  <a:cubicBezTo>
                    <a:pt x="25" y="350"/>
                    <a:pt x="49" y="374"/>
                    <a:pt x="49" y="374"/>
                  </a:cubicBezTo>
                  <a:cubicBezTo>
                    <a:pt x="75" y="400"/>
                    <a:pt x="75" y="450"/>
                    <a:pt x="75" y="474"/>
                  </a:cubicBezTo>
                  <a:cubicBezTo>
                    <a:pt x="49" y="474"/>
                    <a:pt x="0" y="500"/>
                    <a:pt x="0" y="500"/>
                  </a:cubicBezTo>
                  <a:cubicBezTo>
                    <a:pt x="0" y="525"/>
                    <a:pt x="49" y="550"/>
                    <a:pt x="49" y="550"/>
                  </a:cubicBezTo>
                  <a:cubicBezTo>
                    <a:pt x="25" y="574"/>
                    <a:pt x="25" y="600"/>
                    <a:pt x="49" y="600"/>
                  </a:cubicBezTo>
                  <a:cubicBezTo>
                    <a:pt x="49" y="600"/>
                    <a:pt x="75" y="625"/>
                    <a:pt x="100" y="600"/>
                  </a:cubicBezTo>
                  <a:cubicBezTo>
                    <a:pt x="100" y="574"/>
                    <a:pt x="125" y="574"/>
                    <a:pt x="149" y="574"/>
                  </a:cubicBezTo>
                  <a:cubicBezTo>
                    <a:pt x="175" y="574"/>
                    <a:pt x="300" y="574"/>
                    <a:pt x="300" y="574"/>
                  </a:cubicBezTo>
                  <a:cubicBezTo>
                    <a:pt x="325" y="600"/>
                    <a:pt x="375" y="574"/>
                    <a:pt x="400" y="600"/>
                  </a:cubicBezTo>
                  <a:cubicBezTo>
                    <a:pt x="425" y="600"/>
                    <a:pt x="450" y="625"/>
                    <a:pt x="450" y="600"/>
                  </a:cubicBezTo>
                  <a:cubicBezTo>
                    <a:pt x="474" y="600"/>
                    <a:pt x="500" y="625"/>
                    <a:pt x="525" y="600"/>
                  </a:cubicBezTo>
                  <a:cubicBezTo>
                    <a:pt x="550" y="600"/>
                    <a:pt x="575" y="650"/>
                    <a:pt x="575" y="625"/>
                  </a:cubicBezTo>
                  <a:cubicBezTo>
                    <a:pt x="600" y="625"/>
                    <a:pt x="650" y="625"/>
                    <a:pt x="674" y="625"/>
                  </a:cubicBezTo>
                  <a:cubicBezTo>
                    <a:pt x="674" y="650"/>
                    <a:pt x="674" y="625"/>
                    <a:pt x="674" y="600"/>
                  </a:cubicBezTo>
                  <a:lnTo>
                    <a:pt x="750" y="550"/>
                  </a:lnTo>
                  <a:cubicBezTo>
                    <a:pt x="750" y="550"/>
                    <a:pt x="775" y="550"/>
                    <a:pt x="800" y="525"/>
                  </a:cubicBezTo>
                  <a:lnTo>
                    <a:pt x="800" y="500"/>
                  </a:lnTo>
                  <a:cubicBezTo>
                    <a:pt x="775" y="450"/>
                    <a:pt x="750" y="425"/>
                    <a:pt x="775" y="400"/>
                  </a:cubicBezTo>
                  <a:cubicBezTo>
                    <a:pt x="775" y="400"/>
                    <a:pt x="825" y="425"/>
                    <a:pt x="850" y="425"/>
                  </a:cubicBezTo>
                  <a:cubicBezTo>
                    <a:pt x="850" y="400"/>
                    <a:pt x="900" y="400"/>
                    <a:pt x="900" y="374"/>
                  </a:cubicBezTo>
                  <a:cubicBezTo>
                    <a:pt x="875" y="350"/>
                    <a:pt x="850" y="325"/>
                    <a:pt x="825" y="3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1" name="Freeform 197">
              <a:extLst>
                <a:ext uri="{FF2B5EF4-FFF2-40B4-BE49-F238E27FC236}">
                  <a16:creationId xmlns:a16="http://schemas.microsoft.com/office/drawing/2014/main" id="{DAB7D31B-E3A1-10F1-08CA-B074E09A02B6}"/>
                </a:ext>
              </a:extLst>
            </p:cNvPr>
            <p:cNvSpPr>
              <a:spLocks noChangeArrowheads="1"/>
            </p:cNvSpPr>
            <p:nvPr/>
          </p:nvSpPr>
          <p:spPr bwMode="auto">
            <a:xfrm>
              <a:off x="6913610" y="3547506"/>
              <a:ext cx="352520" cy="164065"/>
            </a:xfrm>
            <a:custGeom>
              <a:avLst/>
              <a:gdLst>
                <a:gd name="T0" fmla="*/ 250 w 700"/>
                <a:gd name="T1" fmla="*/ 224 h 325"/>
                <a:gd name="T2" fmla="*/ 250 w 700"/>
                <a:gd name="T3" fmla="*/ 224 h 325"/>
                <a:gd name="T4" fmla="*/ 374 w 700"/>
                <a:gd name="T5" fmla="*/ 224 h 325"/>
                <a:gd name="T6" fmla="*/ 425 w 700"/>
                <a:gd name="T7" fmla="*/ 250 h 325"/>
                <a:gd name="T8" fmla="*/ 500 w 700"/>
                <a:gd name="T9" fmla="*/ 300 h 325"/>
                <a:gd name="T10" fmla="*/ 550 w 700"/>
                <a:gd name="T11" fmla="*/ 324 h 325"/>
                <a:gd name="T12" fmla="*/ 575 w 700"/>
                <a:gd name="T13" fmla="*/ 324 h 325"/>
                <a:gd name="T14" fmla="*/ 650 w 700"/>
                <a:gd name="T15" fmla="*/ 300 h 325"/>
                <a:gd name="T16" fmla="*/ 675 w 700"/>
                <a:gd name="T17" fmla="*/ 275 h 325"/>
                <a:gd name="T18" fmla="*/ 699 w 700"/>
                <a:gd name="T19" fmla="*/ 250 h 325"/>
                <a:gd name="T20" fmla="*/ 675 w 700"/>
                <a:gd name="T21" fmla="*/ 200 h 325"/>
                <a:gd name="T22" fmla="*/ 650 w 700"/>
                <a:gd name="T23" fmla="*/ 150 h 325"/>
                <a:gd name="T24" fmla="*/ 650 w 700"/>
                <a:gd name="T25" fmla="*/ 100 h 325"/>
                <a:gd name="T26" fmla="*/ 625 w 700"/>
                <a:gd name="T27" fmla="*/ 75 h 325"/>
                <a:gd name="T28" fmla="*/ 550 w 700"/>
                <a:gd name="T29" fmla="*/ 75 h 325"/>
                <a:gd name="T30" fmla="*/ 450 w 700"/>
                <a:gd name="T31" fmla="*/ 24 h 325"/>
                <a:gd name="T32" fmla="*/ 350 w 700"/>
                <a:gd name="T33" fmla="*/ 24 h 325"/>
                <a:gd name="T34" fmla="*/ 325 w 700"/>
                <a:gd name="T35" fmla="*/ 100 h 325"/>
                <a:gd name="T36" fmla="*/ 250 w 700"/>
                <a:gd name="T37" fmla="*/ 150 h 325"/>
                <a:gd name="T38" fmla="*/ 174 w 700"/>
                <a:gd name="T39" fmla="*/ 50 h 325"/>
                <a:gd name="T40" fmla="*/ 74 w 700"/>
                <a:gd name="T41" fmla="*/ 100 h 325"/>
                <a:gd name="T42" fmla="*/ 50 w 700"/>
                <a:gd name="T43" fmla="*/ 175 h 325"/>
                <a:gd name="T44" fmla="*/ 25 w 700"/>
                <a:gd name="T45" fmla="*/ 250 h 325"/>
                <a:gd name="T46" fmla="*/ 25 w 700"/>
                <a:gd name="T47" fmla="*/ 250 h 325"/>
                <a:gd name="T48" fmla="*/ 100 w 700"/>
                <a:gd name="T49" fmla="*/ 224 h 325"/>
                <a:gd name="T50" fmla="*/ 250 w 700"/>
                <a:gd name="T51" fmla="*/ 22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0" h="325">
                  <a:moveTo>
                    <a:pt x="250" y="224"/>
                  </a:moveTo>
                  <a:lnTo>
                    <a:pt x="250" y="224"/>
                  </a:lnTo>
                  <a:cubicBezTo>
                    <a:pt x="274" y="224"/>
                    <a:pt x="325" y="250"/>
                    <a:pt x="374" y="224"/>
                  </a:cubicBezTo>
                  <a:cubicBezTo>
                    <a:pt x="400" y="224"/>
                    <a:pt x="400" y="275"/>
                    <a:pt x="425" y="250"/>
                  </a:cubicBezTo>
                  <a:cubicBezTo>
                    <a:pt x="450" y="250"/>
                    <a:pt x="475" y="275"/>
                    <a:pt x="500" y="300"/>
                  </a:cubicBezTo>
                  <a:cubicBezTo>
                    <a:pt x="525" y="324"/>
                    <a:pt x="550" y="324"/>
                    <a:pt x="550" y="324"/>
                  </a:cubicBezTo>
                  <a:lnTo>
                    <a:pt x="575" y="324"/>
                  </a:lnTo>
                  <a:cubicBezTo>
                    <a:pt x="600" y="300"/>
                    <a:pt x="625" y="300"/>
                    <a:pt x="650" y="300"/>
                  </a:cubicBezTo>
                  <a:cubicBezTo>
                    <a:pt x="650" y="300"/>
                    <a:pt x="650" y="275"/>
                    <a:pt x="675" y="275"/>
                  </a:cubicBezTo>
                  <a:cubicBezTo>
                    <a:pt x="675" y="275"/>
                    <a:pt x="699" y="275"/>
                    <a:pt x="699" y="250"/>
                  </a:cubicBezTo>
                  <a:cubicBezTo>
                    <a:pt x="699" y="250"/>
                    <a:pt x="699" y="224"/>
                    <a:pt x="675" y="200"/>
                  </a:cubicBezTo>
                  <a:cubicBezTo>
                    <a:pt x="675" y="200"/>
                    <a:pt x="650" y="175"/>
                    <a:pt x="650" y="150"/>
                  </a:cubicBezTo>
                  <a:cubicBezTo>
                    <a:pt x="650" y="124"/>
                    <a:pt x="650" y="124"/>
                    <a:pt x="650" y="100"/>
                  </a:cubicBezTo>
                  <a:lnTo>
                    <a:pt x="625" y="75"/>
                  </a:lnTo>
                  <a:cubicBezTo>
                    <a:pt x="600" y="75"/>
                    <a:pt x="550" y="75"/>
                    <a:pt x="550" y="75"/>
                  </a:cubicBezTo>
                  <a:cubicBezTo>
                    <a:pt x="525" y="75"/>
                    <a:pt x="450" y="24"/>
                    <a:pt x="450" y="24"/>
                  </a:cubicBezTo>
                  <a:cubicBezTo>
                    <a:pt x="450" y="0"/>
                    <a:pt x="400" y="0"/>
                    <a:pt x="350" y="24"/>
                  </a:cubicBezTo>
                  <a:cubicBezTo>
                    <a:pt x="325" y="50"/>
                    <a:pt x="325" y="75"/>
                    <a:pt x="325" y="100"/>
                  </a:cubicBezTo>
                  <a:cubicBezTo>
                    <a:pt x="325" y="150"/>
                    <a:pt x="274" y="150"/>
                    <a:pt x="250" y="150"/>
                  </a:cubicBezTo>
                  <a:cubicBezTo>
                    <a:pt x="225" y="150"/>
                    <a:pt x="200" y="75"/>
                    <a:pt x="174" y="50"/>
                  </a:cubicBezTo>
                  <a:cubicBezTo>
                    <a:pt x="150" y="24"/>
                    <a:pt x="125" y="75"/>
                    <a:pt x="74" y="100"/>
                  </a:cubicBezTo>
                  <a:cubicBezTo>
                    <a:pt x="50" y="100"/>
                    <a:pt x="74" y="150"/>
                    <a:pt x="50" y="175"/>
                  </a:cubicBezTo>
                  <a:cubicBezTo>
                    <a:pt x="25" y="175"/>
                    <a:pt x="0" y="200"/>
                    <a:pt x="25" y="250"/>
                  </a:cubicBezTo>
                  <a:lnTo>
                    <a:pt x="25" y="250"/>
                  </a:lnTo>
                  <a:cubicBezTo>
                    <a:pt x="74" y="250"/>
                    <a:pt x="100" y="250"/>
                    <a:pt x="100" y="224"/>
                  </a:cubicBezTo>
                  <a:cubicBezTo>
                    <a:pt x="150" y="224"/>
                    <a:pt x="225" y="224"/>
                    <a:pt x="250" y="224"/>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2" name="Freeform 198">
              <a:extLst>
                <a:ext uri="{FF2B5EF4-FFF2-40B4-BE49-F238E27FC236}">
                  <a16:creationId xmlns:a16="http://schemas.microsoft.com/office/drawing/2014/main" id="{FE59C1AE-A740-8BE9-81BB-AE33C5B96B95}"/>
                </a:ext>
              </a:extLst>
            </p:cNvPr>
            <p:cNvSpPr>
              <a:spLocks noChangeArrowheads="1"/>
            </p:cNvSpPr>
            <p:nvPr/>
          </p:nvSpPr>
          <p:spPr bwMode="auto">
            <a:xfrm>
              <a:off x="6913613" y="3660576"/>
              <a:ext cx="277138" cy="177368"/>
            </a:xfrm>
            <a:custGeom>
              <a:avLst/>
              <a:gdLst>
                <a:gd name="T0" fmla="*/ 100 w 551"/>
                <a:gd name="T1" fmla="*/ 176 h 352"/>
                <a:gd name="T2" fmla="*/ 100 w 551"/>
                <a:gd name="T3" fmla="*/ 176 h 352"/>
                <a:gd name="T4" fmla="*/ 150 w 551"/>
                <a:gd name="T5" fmla="*/ 176 h 352"/>
                <a:gd name="T6" fmla="*/ 200 w 551"/>
                <a:gd name="T7" fmla="*/ 226 h 352"/>
                <a:gd name="T8" fmla="*/ 200 w 551"/>
                <a:gd name="T9" fmla="*/ 276 h 352"/>
                <a:gd name="T10" fmla="*/ 274 w 551"/>
                <a:gd name="T11" fmla="*/ 326 h 352"/>
                <a:gd name="T12" fmla="*/ 350 w 551"/>
                <a:gd name="T13" fmla="*/ 326 h 352"/>
                <a:gd name="T14" fmla="*/ 374 w 551"/>
                <a:gd name="T15" fmla="*/ 300 h 352"/>
                <a:gd name="T16" fmla="*/ 450 w 551"/>
                <a:gd name="T17" fmla="*/ 300 h 352"/>
                <a:gd name="T18" fmla="*/ 450 w 551"/>
                <a:gd name="T19" fmla="*/ 251 h 352"/>
                <a:gd name="T20" fmla="*/ 500 w 551"/>
                <a:gd name="T21" fmla="*/ 200 h 352"/>
                <a:gd name="T22" fmla="*/ 550 w 551"/>
                <a:gd name="T23" fmla="*/ 176 h 352"/>
                <a:gd name="T24" fmla="*/ 550 w 551"/>
                <a:gd name="T25" fmla="*/ 151 h 352"/>
                <a:gd name="T26" fmla="*/ 550 w 551"/>
                <a:gd name="T27" fmla="*/ 100 h 352"/>
                <a:gd name="T28" fmla="*/ 500 w 551"/>
                <a:gd name="T29" fmla="*/ 76 h 352"/>
                <a:gd name="T30" fmla="*/ 425 w 551"/>
                <a:gd name="T31" fmla="*/ 26 h 352"/>
                <a:gd name="T32" fmla="*/ 374 w 551"/>
                <a:gd name="T33" fmla="*/ 0 h 352"/>
                <a:gd name="T34" fmla="*/ 250 w 551"/>
                <a:gd name="T35" fmla="*/ 0 h 352"/>
                <a:gd name="T36" fmla="*/ 100 w 551"/>
                <a:gd name="T37" fmla="*/ 0 h 352"/>
                <a:gd name="T38" fmla="*/ 25 w 551"/>
                <a:gd name="T39" fmla="*/ 26 h 352"/>
                <a:gd name="T40" fmla="*/ 25 w 551"/>
                <a:gd name="T41" fmla="*/ 126 h 352"/>
                <a:gd name="T42" fmla="*/ 25 w 551"/>
                <a:gd name="T43" fmla="*/ 151 h 352"/>
                <a:gd name="T44" fmla="*/ 100 w 551"/>
                <a:gd name="T45"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1" h="352">
                  <a:moveTo>
                    <a:pt x="100" y="176"/>
                  </a:moveTo>
                  <a:lnTo>
                    <a:pt x="100" y="176"/>
                  </a:lnTo>
                  <a:cubicBezTo>
                    <a:pt x="100" y="176"/>
                    <a:pt x="125" y="200"/>
                    <a:pt x="150" y="176"/>
                  </a:cubicBezTo>
                  <a:cubicBezTo>
                    <a:pt x="150" y="176"/>
                    <a:pt x="200" y="200"/>
                    <a:pt x="200" y="226"/>
                  </a:cubicBezTo>
                  <a:cubicBezTo>
                    <a:pt x="200" y="226"/>
                    <a:pt x="174" y="276"/>
                    <a:pt x="200" y="276"/>
                  </a:cubicBezTo>
                  <a:cubicBezTo>
                    <a:pt x="200" y="276"/>
                    <a:pt x="274" y="300"/>
                    <a:pt x="274" y="326"/>
                  </a:cubicBezTo>
                  <a:cubicBezTo>
                    <a:pt x="300" y="326"/>
                    <a:pt x="325" y="326"/>
                    <a:pt x="350" y="326"/>
                  </a:cubicBezTo>
                  <a:cubicBezTo>
                    <a:pt x="350" y="351"/>
                    <a:pt x="374" y="326"/>
                    <a:pt x="374" y="300"/>
                  </a:cubicBezTo>
                  <a:cubicBezTo>
                    <a:pt x="400" y="300"/>
                    <a:pt x="425" y="300"/>
                    <a:pt x="450" y="300"/>
                  </a:cubicBezTo>
                  <a:lnTo>
                    <a:pt x="450" y="251"/>
                  </a:lnTo>
                  <a:cubicBezTo>
                    <a:pt x="475" y="226"/>
                    <a:pt x="500" y="200"/>
                    <a:pt x="500" y="200"/>
                  </a:cubicBezTo>
                  <a:cubicBezTo>
                    <a:pt x="525" y="200"/>
                    <a:pt x="525" y="176"/>
                    <a:pt x="550" y="176"/>
                  </a:cubicBezTo>
                  <a:lnTo>
                    <a:pt x="550" y="151"/>
                  </a:lnTo>
                  <a:cubicBezTo>
                    <a:pt x="550" y="126"/>
                    <a:pt x="550" y="126"/>
                    <a:pt x="550" y="100"/>
                  </a:cubicBezTo>
                  <a:cubicBezTo>
                    <a:pt x="550" y="100"/>
                    <a:pt x="525" y="100"/>
                    <a:pt x="500" y="76"/>
                  </a:cubicBezTo>
                  <a:cubicBezTo>
                    <a:pt x="475" y="51"/>
                    <a:pt x="450" y="26"/>
                    <a:pt x="425" y="26"/>
                  </a:cubicBezTo>
                  <a:cubicBezTo>
                    <a:pt x="400" y="51"/>
                    <a:pt x="400" y="0"/>
                    <a:pt x="374" y="0"/>
                  </a:cubicBezTo>
                  <a:cubicBezTo>
                    <a:pt x="325" y="26"/>
                    <a:pt x="274" y="0"/>
                    <a:pt x="250" y="0"/>
                  </a:cubicBezTo>
                  <a:cubicBezTo>
                    <a:pt x="225" y="0"/>
                    <a:pt x="150" y="0"/>
                    <a:pt x="100" y="0"/>
                  </a:cubicBezTo>
                  <a:cubicBezTo>
                    <a:pt x="100" y="26"/>
                    <a:pt x="74" y="26"/>
                    <a:pt x="25" y="26"/>
                  </a:cubicBezTo>
                  <a:cubicBezTo>
                    <a:pt x="50" y="76"/>
                    <a:pt x="50" y="100"/>
                    <a:pt x="25" y="126"/>
                  </a:cubicBezTo>
                  <a:cubicBezTo>
                    <a:pt x="0" y="151"/>
                    <a:pt x="25" y="151"/>
                    <a:pt x="25" y="151"/>
                  </a:cubicBezTo>
                  <a:cubicBezTo>
                    <a:pt x="50" y="151"/>
                    <a:pt x="74" y="151"/>
                    <a:pt x="100" y="1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3" name="Freeform 199">
              <a:extLst>
                <a:ext uri="{FF2B5EF4-FFF2-40B4-BE49-F238E27FC236}">
                  <a16:creationId xmlns:a16="http://schemas.microsoft.com/office/drawing/2014/main" id="{13A5190E-F0EA-CBC7-10AC-4E09990433A3}"/>
                </a:ext>
              </a:extLst>
            </p:cNvPr>
            <p:cNvSpPr>
              <a:spLocks noChangeArrowheads="1"/>
            </p:cNvSpPr>
            <p:nvPr/>
          </p:nvSpPr>
          <p:spPr bwMode="auto">
            <a:xfrm>
              <a:off x="6246263" y="4225938"/>
              <a:ext cx="215059" cy="113070"/>
            </a:xfrm>
            <a:custGeom>
              <a:avLst/>
              <a:gdLst>
                <a:gd name="T0" fmla="*/ 375 w 427"/>
                <a:gd name="T1" fmla="*/ 100 h 226"/>
                <a:gd name="T2" fmla="*/ 375 w 427"/>
                <a:gd name="T3" fmla="*/ 100 h 226"/>
                <a:gd name="T4" fmla="*/ 326 w 427"/>
                <a:gd name="T5" fmla="*/ 75 h 226"/>
                <a:gd name="T6" fmla="*/ 326 w 427"/>
                <a:gd name="T7" fmla="*/ 25 h 226"/>
                <a:gd name="T8" fmla="*/ 275 w 427"/>
                <a:gd name="T9" fmla="*/ 0 h 226"/>
                <a:gd name="T10" fmla="*/ 200 w 427"/>
                <a:gd name="T11" fmla="*/ 0 h 226"/>
                <a:gd name="T12" fmla="*/ 126 w 427"/>
                <a:gd name="T13" fmla="*/ 0 h 226"/>
                <a:gd name="T14" fmla="*/ 126 w 427"/>
                <a:gd name="T15" fmla="*/ 25 h 226"/>
                <a:gd name="T16" fmla="*/ 75 w 427"/>
                <a:gd name="T17" fmla="*/ 50 h 226"/>
                <a:gd name="T18" fmla="*/ 0 w 427"/>
                <a:gd name="T19" fmla="*/ 125 h 226"/>
                <a:gd name="T20" fmla="*/ 26 w 427"/>
                <a:gd name="T21" fmla="*/ 175 h 226"/>
                <a:gd name="T22" fmla="*/ 51 w 427"/>
                <a:gd name="T23" fmla="*/ 175 h 226"/>
                <a:gd name="T24" fmla="*/ 75 w 427"/>
                <a:gd name="T25" fmla="*/ 225 h 226"/>
                <a:gd name="T26" fmla="*/ 75 w 427"/>
                <a:gd name="T27" fmla="*/ 225 h 226"/>
                <a:gd name="T28" fmla="*/ 151 w 427"/>
                <a:gd name="T29" fmla="*/ 225 h 226"/>
                <a:gd name="T30" fmla="*/ 200 w 427"/>
                <a:gd name="T31" fmla="*/ 150 h 226"/>
                <a:gd name="T32" fmla="*/ 251 w 427"/>
                <a:gd name="T33" fmla="*/ 200 h 226"/>
                <a:gd name="T34" fmla="*/ 275 w 427"/>
                <a:gd name="T35" fmla="*/ 175 h 226"/>
                <a:gd name="T36" fmla="*/ 326 w 427"/>
                <a:gd name="T37" fmla="*/ 150 h 226"/>
                <a:gd name="T38" fmla="*/ 351 w 427"/>
                <a:gd name="T39" fmla="*/ 150 h 226"/>
                <a:gd name="T40" fmla="*/ 375 w 427"/>
                <a:gd name="T41" fmla="*/ 125 h 226"/>
                <a:gd name="T42" fmla="*/ 400 w 427"/>
                <a:gd name="T43" fmla="*/ 125 h 226"/>
                <a:gd name="T44" fmla="*/ 426 w 427"/>
                <a:gd name="T45" fmla="*/ 100 h 226"/>
                <a:gd name="T46" fmla="*/ 375 w 427"/>
                <a:gd name="T47" fmla="*/ 10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7" h="226">
                  <a:moveTo>
                    <a:pt x="375" y="100"/>
                  </a:moveTo>
                  <a:lnTo>
                    <a:pt x="375" y="100"/>
                  </a:lnTo>
                  <a:cubicBezTo>
                    <a:pt x="351" y="100"/>
                    <a:pt x="326" y="75"/>
                    <a:pt x="326" y="75"/>
                  </a:cubicBezTo>
                  <a:cubicBezTo>
                    <a:pt x="326" y="50"/>
                    <a:pt x="326" y="50"/>
                    <a:pt x="326" y="25"/>
                  </a:cubicBezTo>
                  <a:cubicBezTo>
                    <a:pt x="300" y="25"/>
                    <a:pt x="275" y="0"/>
                    <a:pt x="275" y="0"/>
                  </a:cubicBezTo>
                  <a:cubicBezTo>
                    <a:pt x="251" y="0"/>
                    <a:pt x="226" y="0"/>
                    <a:pt x="200" y="0"/>
                  </a:cubicBezTo>
                  <a:cubicBezTo>
                    <a:pt x="200" y="0"/>
                    <a:pt x="151" y="0"/>
                    <a:pt x="126" y="0"/>
                  </a:cubicBezTo>
                  <a:cubicBezTo>
                    <a:pt x="126" y="25"/>
                    <a:pt x="126" y="25"/>
                    <a:pt x="126" y="25"/>
                  </a:cubicBezTo>
                  <a:cubicBezTo>
                    <a:pt x="100" y="25"/>
                    <a:pt x="75" y="50"/>
                    <a:pt x="75" y="50"/>
                  </a:cubicBezTo>
                  <a:cubicBezTo>
                    <a:pt x="51" y="75"/>
                    <a:pt x="26" y="100"/>
                    <a:pt x="0" y="125"/>
                  </a:cubicBezTo>
                  <a:cubicBezTo>
                    <a:pt x="0" y="175"/>
                    <a:pt x="0" y="200"/>
                    <a:pt x="26" y="175"/>
                  </a:cubicBezTo>
                  <a:cubicBezTo>
                    <a:pt x="26" y="150"/>
                    <a:pt x="51" y="150"/>
                    <a:pt x="51" y="175"/>
                  </a:cubicBezTo>
                  <a:cubicBezTo>
                    <a:pt x="51" y="200"/>
                    <a:pt x="75" y="200"/>
                    <a:pt x="75" y="225"/>
                  </a:cubicBezTo>
                  <a:lnTo>
                    <a:pt x="75" y="225"/>
                  </a:lnTo>
                  <a:cubicBezTo>
                    <a:pt x="100" y="225"/>
                    <a:pt x="151" y="225"/>
                    <a:pt x="151" y="225"/>
                  </a:cubicBezTo>
                  <a:cubicBezTo>
                    <a:pt x="175" y="225"/>
                    <a:pt x="200" y="150"/>
                    <a:pt x="200" y="150"/>
                  </a:cubicBezTo>
                  <a:cubicBezTo>
                    <a:pt x="200" y="150"/>
                    <a:pt x="226" y="200"/>
                    <a:pt x="251" y="200"/>
                  </a:cubicBezTo>
                  <a:cubicBezTo>
                    <a:pt x="275" y="225"/>
                    <a:pt x="275" y="200"/>
                    <a:pt x="275" y="175"/>
                  </a:cubicBezTo>
                  <a:cubicBezTo>
                    <a:pt x="275" y="150"/>
                    <a:pt x="300" y="150"/>
                    <a:pt x="326" y="150"/>
                  </a:cubicBezTo>
                  <a:cubicBezTo>
                    <a:pt x="326" y="150"/>
                    <a:pt x="351" y="175"/>
                    <a:pt x="351" y="150"/>
                  </a:cubicBezTo>
                  <a:cubicBezTo>
                    <a:pt x="351" y="125"/>
                    <a:pt x="375" y="125"/>
                    <a:pt x="375" y="125"/>
                  </a:cubicBezTo>
                  <a:cubicBezTo>
                    <a:pt x="400" y="125"/>
                    <a:pt x="400" y="125"/>
                    <a:pt x="400" y="125"/>
                  </a:cubicBezTo>
                  <a:cubicBezTo>
                    <a:pt x="426" y="100"/>
                    <a:pt x="426" y="100"/>
                    <a:pt x="426" y="100"/>
                  </a:cubicBezTo>
                  <a:cubicBezTo>
                    <a:pt x="400" y="100"/>
                    <a:pt x="375" y="75"/>
                    <a:pt x="375"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4" name="Freeform 200">
              <a:extLst>
                <a:ext uri="{FF2B5EF4-FFF2-40B4-BE49-F238E27FC236}">
                  <a16:creationId xmlns:a16="http://schemas.microsoft.com/office/drawing/2014/main" id="{0B110175-C528-D6A0-FB65-DE902560A613}"/>
                </a:ext>
              </a:extLst>
            </p:cNvPr>
            <p:cNvSpPr>
              <a:spLocks noChangeArrowheads="1"/>
            </p:cNvSpPr>
            <p:nvPr/>
          </p:nvSpPr>
          <p:spPr bwMode="auto">
            <a:xfrm>
              <a:off x="6924698" y="2629621"/>
              <a:ext cx="503284" cy="791508"/>
            </a:xfrm>
            <a:custGeom>
              <a:avLst/>
              <a:gdLst>
                <a:gd name="T0" fmla="*/ 850 w 1001"/>
                <a:gd name="T1" fmla="*/ 1301 h 1576"/>
                <a:gd name="T2" fmla="*/ 850 w 1001"/>
                <a:gd name="T3" fmla="*/ 1301 h 1576"/>
                <a:gd name="T4" fmla="*/ 975 w 1001"/>
                <a:gd name="T5" fmla="*/ 1176 h 1576"/>
                <a:gd name="T6" fmla="*/ 950 w 1001"/>
                <a:gd name="T7" fmla="*/ 1101 h 1576"/>
                <a:gd name="T8" fmla="*/ 850 w 1001"/>
                <a:gd name="T9" fmla="*/ 1001 h 1576"/>
                <a:gd name="T10" fmla="*/ 900 w 1001"/>
                <a:gd name="T11" fmla="*/ 950 h 1576"/>
                <a:gd name="T12" fmla="*/ 850 w 1001"/>
                <a:gd name="T13" fmla="*/ 901 h 1576"/>
                <a:gd name="T14" fmla="*/ 850 w 1001"/>
                <a:gd name="T15" fmla="*/ 850 h 1576"/>
                <a:gd name="T16" fmla="*/ 825 w 1001"/>
                <a:gd name="T17" fmla="*/ 825 h 1576"/>
                <a:gd name="T18" fmla="*/ 825 w 1001"/>
                <a:gd name="T19" fmla="*/ 801 h 1576"/>
                <a:gd name="T20" fmla="*/ 825 w 1001"/>
                <a:gd name="T21" fmla="*/ 725 h 1576"/>
                <a:gd name="T22" fmla="*/ 850 w 1001"/>
                <a:gd name="T23" fmla="*/ 676 h 1576"/>
                <a:gd name="T24" fmla="*/ 775 w 1001"/>
                <a:gd name="T25" fmla="*/ 525 h 1576"/>
                <a:gd name="T26" fmla="*/ 800 w 1001"/>
                <a:gd name="T27" fmla="*/ 476 h 1576"/>
                <a:gd name="T28" fmla="*/ 850 w 1001"/>
                <a:gd name="T29" fmla="*/ 401 h 1576"/>
                <a:gd name="T30" fmla="*/ 775 w 1001"/>
                <a:gd name="T31" fmla="*/ 350 h 1576"/>
                <a:gd name="T32" fmla="*/ 725 w 1001"/>
                <a:gd name="T33" fmla="*/ 301 h 1576"/>
                <a:gd name="T34" fmla="*/ 700 w 1001"/>
                <a:gd name="T35" fmla="*/ 250 h 1576"/>
                <a:gd name="T36" fmla="*/ 725 w 1001"/>
                <a:gd name="T37" fmla="*/ 200 h 1576"/>
                <a:gd name="T38" fmla="*/ 750 w 1001"/>
                <a:gd name="T39" fmla="*/ 175 h 1576"/>
                <a:gd name="T40" fmla="*/ 775 w 1001"/>
                <a:gd name="T41" fmla="*/ 150 h 1576"/>
                <a:gd name="T42" fmla="*/ 775 w 1001"/>
                <a:gd name="T43" fmla="*/ 76 h 1576"/>
                <a:gd name="T44" fmla="*/ 674 w 1001"/>
                <a:gd name="T45" fmla="*/ 25 h 1576"/>
                <a:gd name="T46" fmla="*/ 600 w 1001"/>
                <a:gd name="T47" fmla="*/ 25 h 1576"/>
                <a:gd name="T48" fmla="*/ 525 w 1001"/>
                <a:gd name="T49" fmla="*/ 50 h 1576"/>
                <a:gd name="T50" fmla="*/ 450 w 1001"/>
                <a:gd name="T51" fmla="*/ 100 h 1576"/>
                <a:gd name="T52" fmla="*/ 450 w 1001"/>
                <a:gd name="T53" fmla="*/ 175 h 1576"/>
                <a:gd name="T54" fmla="*/ 400 w 1001"/>
                <a:gd name="T55" fmla="*/ 250 h 1576"/>
                <a:gd name="T56" fmla="*/ 349 w 1001"/>
                <a:gd name="T57" fmla="*/ 225 h 1576"/>
                <a:gd name="T58" fmla="*/ 275 w 1001"/>
                <a:gd name="T59" fmla="*/ 225 h 1576"/>
                <a:gd name="T60" fmla="*/ 175 w 1001"/>
                <a:gd name="T61" fmla="*/ 225 h 1576"/>
                <a:gd name="T62" fmla="*/ 75 w 1001"/>
                <a:gd name="T63" fmla="*/ 150 h 1576"/>
                <a:gd name="T64" fmla="*/ 0 w 1001"/>
                <a:gd name="T65" fmla="*/ 175 h 1576"/>
                <a:gd name="T66" fmla="*/ 100 w 1001"/>
                <a:gd name="T67" fmla="*/ 250 h 1576"/>
                <a:gd name="T68" fmla="*/ 249 w 1001"/>
                <a:gd name="T69" fmla="*/ 350 h 1576"/>
                <a:gd name="T70" fmla="*/ 249 w 1001"/>
                <a:gd name="T71" fmla="*/ 425 h 1576"/>
                <a:gd name="T72" fmla="*/ 275 w 1001"/>
                <a:gd name="T73" fmla="*/ 525 h 1576"/>
                <a:gd name="T74" fmla="*/ 275 w 1001"/>
                <a:gd name="T75" fmla="*/ 601 h 1576"/>
                <a:gd name="T76" fmla="*/ 275 w 1001"/>
                <a:gd name="T77" fmla="*/ 650 h 1576"/>
                <a:gd name="T78" fmla="*/ 300 w 1001"/>
                <a:gd name="T79" fmla="*/ 701 h 1576"/>
                <a:gd name="T80" fmla="*/ 375 w 1001"/>
                <a:gd name="T81" fmla="*/ 725 h 1576"/>
                <a:gd name="T82" fmla="*/ 400 w 1001"/>
                <a:gd name="T83" fmla="*/ 801 h 1576"/>
                <a:gd name="T84" fmla="*/ 400 w 1001"/>
                <a:gd name="T85" fmla="*/ 825 h 1576"/>
                <a:gd name="T86" fmla="*/ 325 w 1001"/>
                <a:gd name="T87" fmla="*/ 876 h 1576"/>
                <a:gd name="T88" fmla="*/ 249 w 1001"/>
                <a:gd name="T89" fmla="*/ 976 h 1576"/>
                <a:gd name="T90" fmla="*/ 175 w 1001"/>
                <a:gd name="T91" fmla="*/ 1001 h 1576"/>
                <a:gd name="T92" fmla="*/ 125 w 1001"/>
                <a:gd name="T93" fmla="*/ 1050 h 1576"/>
                <a:gd name="T94" fmla="*/ 75 w 1001"/>
                <a:gd name="T95" fmla="*/ 1101 h 1576"/>
                <a:gd name="T96" fmla="*/ 25 w 1001"/>
                <a:gd name="T97" fmla="*/ 1150 h 1576"/>
                <a:gd name="T98" fmla="*/ 25 w 1001"/>
                <a:gd name="T99" fmla="*/ 1201 h 1576"/>
                <a:gd name="T100" fmla="*/ 49 w 1001"/>
                <a:gd name="T101" fmla="*/ 1276 h 1576"/>
                <a:gd name="T102" fmla="*/ 49 w 1001"/>
                <a:gd name="T103" fmla="*/ 1376 h 1576"/>
                <a:gd name="T104" fmla="*/ 25 w 1001"/>
                <a:gd name="T105" fmla="*/ 1476 h 1576"/>
                <a:gd name="T106" fmla="*/ 125 w 1001"/>
                <a:gd name="T107" fmla="*/ 1501 h 1576"/>
                <a:gd name="T108" fmla="*/ 175 w 1001"/>
                <a:gd name="T109" fmla="*/ 1550 h 1576"/>
                <a:gd name="T110" fmla="*/ 275 w 1001"/>
                <a:gd name="T111" fmla="*/ 1550 h 1576"/>
                <a:gd name="T112" fmla="*/ 575 w 1001"/>
                <a:gd name="T113" fmla="*/ 1501 h 1576"/>
                <a:gd name="T114" fmla="*/ 650 w 1001"/>
                <a:gd name="T115" fmla="*/ 1476 h 1576"/>
                <a:gd name="T116" fmla="*/ 700 w 1001"/>
                <a:gd name="T117" fmla="*/ 1425 h 1576"/>
                <a:gd name="T118" fmla="*/ 850 w 1001"/>
                <a:gd name="T119" fmla="*/ 1301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1" h="1576">
                  <a:moveTo>
                    <a:pt x="850" y="1301"/>
                  </a:moveTo>
                  <a:lnTo>
                    <a:pt x="850" y="1301"/>
                  </a:lnTo>
                  <a:cubicBezTo>
                    <a:pt x="874" y="1250"/>
                    <a:pt x="975" y="1225"/>
                    <a:pt x="975" y="1176"/>
                  </a:cubicBezTo>
                  <a:cubicBezTo>
                    <a:pt x="1000" y="1150"/>
                    <a:pt x="1000" y="1150"/>
                    <a:pt x="950" y="1101"/>
                  </a:cubicBezTo>
                  <a:cubicBezTo>
                    <a:pt x="925" y="1050"/>
                    <a:pt x="850" y="1025"/>
                    <a:pt x="850" y="1001"/>
                  </a:cubicBezTo>
                  <a:cubicBezTo>
                    <a:pt x="825" y="1001"/>
                    <a:pt x="900" y="976"/>
                    <a:pt x="900" y="950"/>
                  </a:cubicBezTo>
                  <a:cubicBezTo>
                    <a:pt x="900" y="925"/>
                    <a:pt x="850" y="925"/>
                    <a:pt x="850" y="901"/>
                  </a:cubicBezTo>
                  <a:cubicBezTo>
                    <a:pt x="825" y="876"/>
                    <a:pt x="874" y="876"/>
                    <a:pt x="850" y="850"/>
                  </a:cubicBezTo>
                  <a:cubicBezTo>
                    <a:pt x="850" y="850"/>
                    <a:pt x="825" y="850"/>
                    <a:pt x="825" y="825"/>
                  </a:cubicBezTo>
                  <a:cubicBezTo>
                    <a:pt x="800" y="825"/>
                    <a:pt x="850" y="825"/>
                    <a:pt x="825" y="801"/>
                  </a:cubicBezTo>
                  <a:cubicBezTo>
                    <a:pt x="825" y="776"/>
                    <a:pt x="800" y="750"/>
                    <a:pt x="825" y="725"/>
                  </a:cubicBezTo>
                  <a:cubicBezTo>
                    <a:pt x="850" y="701"/>
                    <a:pt x="874" y="725"/>
                    <a:pt x="850" y="676"/>
                  </a:cubicBezTo>
                  <a:cubicBezTo>
                    <a:pt x="825" y="625"/>
                    <a:pt x="775" y="550"/>
                    <a:pt x="775" y="525"/>
                  </a:cubicBezTo>
                  <a:cubicBezTo>
                    <a:pt x="750" y="525"/>
                    <a:pt x="775" y="501"/>
                    <a:pt x="800" y="476"/>
                  </a:cubicBezTo>
                  <a:cubicBezTo>
                    <a:pt x="800" y="476"/>
                    <a:pt x="850" y="425"/>
                    <a:pt x="850" y="401"/>
                  </a:cubicBezTo>
                  <a:cubicBezTo>
                    <a:pt x="850" y="401"/>
                    <a:pt x="800" y="350"/>
                    <a:pt x="775" y="350"/>
                  </a:cubicBezTo>
                  <a:cubicBezTo>
                    <a:pt x="775" y="325"/>
                    <a:pt x="750" y="325"/>
                    <a:pt x="725" y="301"/>
                  </a:cubicBezTo>
                  <a:cubicBezTo>
                    <a:pt x="700" y="275"/>
                    <a:pt x="700" y="275"/>
                    <a:pt x="700" y="250"/>
                  </a:cubicBezTo>
                  <a:cubicBezTo>
                    <a:pt x="725" y="225"/>
                    <a:pt x="725" y="225"/>
                    <a:pt x="725" y="200"/>
                  </a:cubicBezTo>
                  <a:cubicBezTo>
                    <a:pt x="725" y="175"/>
                    <a:pt x="750" y="200"/>
                    <a:pt x="750" y="175"/>
                  </a:cubicBezTo>
                  <a:cubicBezTo>
                    <a:pt x="775" y="150"/>
                    <a:pt x="775" y="150"/>
                    <a:pt x="775" y="150"/>
                  </a:cubicBezTo>
                  <a:cubicBezTo>
                    <a:pt x="775" y="125"/>
                    <a:pt x="775" y="100"/>
                    <a:pt x="775" y="76"/>
                  </a:cubicBezTo>
                  <a:cubicBezTo>
                    <a:pt x="775" y="50"/>
                    <a:pt x="700" y="50"/>
                    <a:pt x="674" y="25"/>
                  </a:cubicBezTo>
                  <a:cubicBezTo>
                    <a:pt x="674" y="0"/>
                    <a:pt x="625" y="0"/>
                    <a:pt x="600" y="25"/>
                  </a:cubicBezTo>
                  <a:cubicBezTo>
                    <a:pt x="600" y="50"/>
                    <a:pt x="525" y="25"/>
                    <a:pt x="525" y="50"/>
                  </a:cubicBezTo>
                  <a:cubicBezTo>
                    <a:pt x="525" y="76"/>
                    <a:pt x="450" y="76"/>
                    <a:pt x="450" y="100"/>
                  </a:cubicBezTo>
                  <a:cubicBezTo>
                    <a:pt x="450" y="125"/>
                    <a:pt x="475" y="200"/>
                    <a:pt x="450" y="175"/>
                  </a:cubicBezTo>
                  <a:cubicBezTo>
                    <a:pt x="400" y="175"/>
                    <a:pt x="425" y="200"/>
                    <a:pt x="400" y="250"/>
                  </a:cubicBezTo>
                  <a:cubicBezTo>
                    <a:pt x="375" y="275"/>
                    <a:pt x="375" y="225"/>
                    <a:pt x="349" y="225"/>
                  </a:cubicBezTo>
                  <a:cubicBezTo>
                    <a:pt x="325" y="225"/>
                    <a:pt x="275" y="200"/>
                    <a:pt x="275" y="225"/>
                  </a:cubicBezTo>
                  <a:cubicBezTo>
                    <a:pt x="249" y="250"/>
                    <a:pt x="225" y="225"/>
                    <a:pt x="175" y="225"/>
                  </a:cubicBezTo>
                  <a:cubicBezTo>
                    <a:pt x="125" y="200"/>
                    <a:pt x="100" y="150"/>
                    <a:pt x="75" y="150"/>
                  </a:cubicBezTo>
                  <a:cubicBezTo>
                    <a:pt x="49" y="150"/>
                    <a:pt x="25" y="150"/>
                    <a:pt x="0" y="175"/>
                  </a:cubicBezTo>
                  <a:cubicBezTo>
                    <a:pt x="49" y="200"/>
                    <a:pt x="75" y="250"/>
                    <a:pt x="100" y="250"/>
                  </a:cubicBezTo>
                  <a:cubicBezTo>
                    <a:pt x="149" y="275"/>
                    <a:pt x="249" y="301"/>
                    <a:pt x="249" y="350"/>
                  </a:cubicBezTo>
                  <a:cubicBezTo>
                    <a:pt x="249" y="376"/>
                    <a:pt x="225" y="425"/>
                    <a:pt x="249" y="425"/>
                  </a:cubicBezTo>
                  <a:cubicBezTo>
                    <a:pt x="275" y="450"/>
                    <a:pt x="249" y="501"/>
                    <a:pt x="275" y="525"/>
                  </a:cubicBezTo>
                  <a:cubicBezTo>
                    <a:pt x="300" y="525"/>
                    <a:pt x="275" y="601"/>
                    <a:pt x="275" y="601"/>
                  </a:cubicBezTo>
                  <a:cubicBezTo>
                    <a:pt x="249" y="601"/>
                    <a:pt x="275" y="625"/>
                    <a:pt x="275" y="650"/>
                  </a:cubicBezTo>
                  <a:cubicBezTo>
                    <a:pt x="300" y="650"/>
                    <a:pt x="300" y="676"/>
                    <a:pt x="300" y="701"/>
                  </a:cubicBezTo>
                  <a:cubicBezTo>
                    <a:pt x="325" y="701"/>
                    <a:pt x="349" y="701"/>
                    <a:pt x="375" y="725"/>
                  </a:cubicBezTo>
                  <a:cubicBezTo>
                    <a:pt x="400" y="750"/>
                    <a:pt x="400" y="776"/>
                    <a:pt x="400" y="801"/>
                  </a:cubicBezTo>
                  <a:cubicBezTo>
                    <a:pt x="400" y="825"/>
                    <a:pt x="400" y="850"/>
                    <a:pt x="400" y="825"/>
                  </a:cubicBezTo>
                  <a:cubicBezTo>
                    <a:pt x="375" y="825"/>
                    <a:pt x="349" y="825"/>
                    <a:pt x="325" y="876"/>
                  </a:cubicBezTo>
                  <a:cubicBezTo>
                    <a:pt x="325" y="901"/>
                    <a:pt x="275" y="950"/>
                    <a:pt x="249" y="976"/>
                  </a:cubicBezTo>
                  <a:cubicBezTo>
                    <a:pt x="200" y="976"/>
                    <a:pt x="200" y="1001"/>
                    <a:pt x="175" y="1001"/>
                  </a:cubicBezTo>
                  <a:cubicBezTo>
                    <a:pt x="149" y="1025"/>
                    <a:pt x="125" y="1025"/>
                    <a:pt x="125" y="1050"/>
                  </a:cubicBezTo>
                  <a:cubicBezTo>
                    <a:pt x="125" y="1101"/>
                    <a:pt x="100" y="1101"/>
                    <a:pt x="75" y="1101"/>
                  </a:cubicBezTo>
                  <a:cubicBezTo>
                    <a:pt x="49" y="1101"/>
                    <a:pt x="49" y="1150"/>
                    <a:pt x="25" y="1150"/>
                  </a:cubicBezTo>
                  <a:cubicBezTo>
                    <a:pt x="0" y="1176"/>
                    <a:pt x="0" y="1176"/>
                    <a:pt x="25" y="1201"/>
                  </a:cubicBezTo>
                  <a:cubicBezTo>
                    <a:pt x="49" y="1225"/>
                    <a:pt x="25" y="1250"/>
                    <a:pt x="49" y="1276"/>
                  </a:cubicBezTo>
                  <a:cubicBezTo>
                    <a:pt x="49" y="1301"/>
                    <a:pt x="75" y="1325"/>
                    <a:pt x="49" y="1376"/>
                  </a:cubicBezTo>
                  <a:cubicBezTo>
                    <a:pt x="25" y="1425"/>
                    <a:pt x="25" y="1476"/>
                    <a:pt x="25" y="1476"/>
                  </a:cubicBezTo>
                  <a:cubicBezTo>
                    <a:pt x="49" y="1476"/>
                    <a:pt x="100" y="1501"/>
                    <a:pt x="125" y="1501"/>
                  </a:cubicBezTo>
                  <a:cubicBezTo>
                    <a:pt x="149" y="1501"/>
                    <a:pt x="149" y="1550"/>
                    <a:pt x="175" y="1550"/>
                  </a:cubicBezTo>
                  <a:cubicBezTo>
                    <a:pt x="200" y="1526"/>
                    <a:pt x="200" y="1575"/>
                    <a:pt x="275" y="1550"/>
                  </a:cubicBezTo>
                  <a:cubicBezTo>
                    <a:pt x="349" y="1550"/>
                    <a:pt x="500" y="1501"/>
                    <a:pt x="575" y="1501"/>
                  </a:cubicBezTo>
                  <a:cubicBezTo>
                    <a:pt x="600" y="1501"/>
                    <a:pt x="625" y="1501"/>
                    <a:pt x="650" y="1476"/>
                  </a:cubicBezTo>
                  <a:cubicBezTo>
                    <a:pt x="674" y="1476"/>
                    <a:pt x="674" y="1450"/>
                    <a:pt x="700" y="1425"/>
                  </a:cubicBezTo>
                  <a:cubicBezTo>
                    <a:pt x="750" y="1401"/>
                    <a:pt x="825" y="1350"/>
                    <a:pt x="850" y="1301"/>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5" name="Freeform 201">
              <a:extLst>
                <a:ext uri="{FF2B5EF4-FFF2-40B4-BE49-F238E27FC236}">
                  <a16:creationId xmlns:a16="http://schemas.microsoft.com/office/drawing/2014/main" id="{E89A5A31-57B1-7D9B-5461-C655F829826D}"/>
                </a:ext>
              </a:extLst>
            </p:cNvPr>
            <p:cNvSpPr>
              <a:spLocks noChangeArrowheads="1"/>
            </p:cNvSpPr>
            <p:nvPr/>
          </p:nvSpPr>
          <p:spPr bwMode="auto">
            <a:xfrm>
              <a:off x="5718588" y="4013099"/>
              <a:ext cx="691737" cy="578664"/>
            </a:xfrm>
            <a:custGeom>
              <a:avLst/>
              <a:gdLst>
                <a:gd name="T0" fmla="*/ 1201 w 1377"/>
                <a:gd name="T1" fmla="*/ 275 h 1151"/>
                <a:gd name="T2" fmla="*/ 1101 w 1377"/>
                <a:gd name="T3" fmla="*/ 224 h 1151"/>
                <a:gd name="T4" fmla="*/ 950 w 1377"/>
                <a:gd name="T5" fmla="*/ 175 h 1151"/>
                <a:gd name="T6" fmla="*/ 876 w 1377"/>
                <a:gd name="T7" fmla="*/ 150 h 1151"/>
                <a:gd name="T8" fmla="*/ 800 w 1377"/>
                <a:gd name="T9" fmla="*/ 75 h 1151"/>
                <a:gd name="T10" fmla="*/ 700 w 1377"/>
                <a:gd name="T11" fmla="*/ 25 h 1151"/>
                <a:gd name="T12" fmla="*/ 676 w 1377"/>
                <a:gd name="T13" fmla="*/ 0 h 1151"/>
                <a:gd name="T14" fmla="*/ 525 w 1377"/>
                <a:gd name="T15" fmla="*/ 150 h 1151"/>
                <a:gd name="T16" fmla="*/ 350 w 1377"/>
                <a:gd name="T17" fmla="*/ 175 h 1151"/>
                <a:gd name="T18" fmla="*/ 300 w 1377"/>
                <a:gd name="T19" fmla="*/ 325 h 1151"/>
                <a:gd name="T20" fmla="*/ 176 w 1377"/>
                <a:gd name="T21" fmla="*/ 275 h 1151"/>
                <a:gd name="T22" fmla="*/ 25 w 1377"/>
                <a:gd name="T23" fmla="*/ 350 h 1151"/>
                <a:gd name="T24" fmla="*/ 150 w 1377"/>
                <a:gd name="T25" fmla="*/ 450 h 1151"/>
                <a:gd name="T26" fmla="*/ 275 w 1377"/>
                <a:gd name="T27" fmla="*/ 500 h 1151"/>
                <a:gd name="T28" fmla="*/ 350 w 1377"/>
                <a:gd name="T29" fmla="*/ 650 h 1151"/>
                <a:gd name="T30" fmla="*/ 300 w 1377"/>
                <a:gd name="T31" fmla="*/ 950 h 1151"/>
                <a:gd name="T32" fmla="*/ 350 w 1377"/>
                <a:gd name="T33" fmla="*/ 975 h 1151"/>
                <a:gd name="T34" fmla="*/ 525 w 1377"/>
                <a:gd name="T35" fmla="*/ 1000 h 1151"/>
                <a:gd name="T36" fmla="*/ 676 w 1377"/>
                <a:gd name="T37" fmla="*/ 1050 h 1151"/>
                <a:gd name="T38" fmla="*/ 776 w 1377"/>
                <a:gd name="T39" fmla="*/ 1025 h 1151"/>
                <a:gd name="T40" fmla="*/ 1025 w 1377"/>
                <a:gd name="T41" fmla="*/ 975 h 1151"/>
                <a:gd name="T42" fmla="*/ 1176 w 1377"/>
                <a:gd name="T43" fmla="*/ 900 h 1151"/>
                <a:gd name="T44" fmla="*/ 1150 w 1377"/>
                <a:gd name="T45" fmla="*/ 850 h 1151"/>
                <a:gd name="T46" fmla="*/ 1101 w 1377"/>
                <a:gd name="T47" fmla="*/ 750 h 1151"/>
                <a:gd name="T48" fmla="*/ 1125 w 1377"/>
                <a:gd name="T49" fmla="*/ 700 h 1151"/>
                <a:gd name="T50" fmla="*/ 1101 w 1377"/>
                <a:gd name="T51" fmla="*/ 600 h 1151"/>
                <a:gd name="T52" fmla="*/ 1050 w 1377"/>
                <a:gd name="T53" fmla="*/ 550 h 1151"/>
                <a:gd name="T54" fmla="*/ 1176 w 1377"/>
                <a:gd name="T55" fmla="*/ 450 h 1151"/>
                <a:gd name="T56" fmla="*/ 1225 w 1377"/>
                <a:gd name="T57" fmla="*/ 300 h 1151"/>
                <a:gd name="T58" fmla="*/ 1350 w 1377"/>
                <a:gd name="T59" fmla="*/ 975 h 1151"/>
                <a:gd name="T60" fmla="*/ 1301 w 1377"/>
                <a:gd name="T61" fmla="*/ 1025 h 1151"/>
                <a:gd name="T62" fmla="*/ 1350 w 1377"/>
                <a:gd name="T63" fmla="*/ 97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7" h="1151">
                  <a:moveTo>
                    <a:pt x="1201" y="275"/>
                  </a:moveTo>
                  <a:lnTo>
                    <a:pt x="1201" y="275"/>
                  </a:lnTo>
                  <a:cubicBezTo>
                    <a:pt x="1201" y="275"/>
                    <a:pt x="1176" y="250"/>
                    <a:pt x="1150" y="250"/>
                  </a:cubicBezTo>
                  <a:cubicBezTo>
                    <a:pt x="1125" y="250"/>
                    <a:pt x="1101" y="250"/>
                    <a:pt x="1101" y="224"/>
                  </a:cubicBezTo>
                  <a:cubicBezTo>
                    <a:pt x="1076" y="200"/>
                    <a:pt x="1025" y="200"/>
                    <a:pt x="1000" y="200"/>
                  </a:cubicBezTo>
                  <a:cubicBezTo>
                    <a:pt x="976" y="200"/>
                    <a:pt x="976" y="175"/>
                    <a:pt x="950" y="175"/>
                  </a:cubicBezTo>
                  <a:cubicBezTo>
                    <a:pt x="925" y="175"/>
                    <a:pt x="925" y="150"/>
                    <a:pt x="925" y="124"/>
                  </a:cubicBezTo>
                  <a:cubicBezTo>
                    <a:pt x="925" y="124"/>
                    <a:pt x="900" y="150"/>
                    <a:pt x="876" y="150"/>
                  </a:cubicBezTo>
                  <a:cubicBezTo>
                    <a:pt x="850" y="150"/>
                    <a:pt x="850" y="124"/>
                    <a:pt x="850" y="124"/>
                  </a:cubicBezTo>
                  <a:cubicBezTo>
                    <a:pt x="850" y="100"/>
                    <a:pt x="800" y="100"/>
                    <a:pt x="800" y="75"/>
                  </a:cubicBezTo>
                  <a:cubicBezTo>
                    <a:pt x="776" y="75"/>
                    <a:pt x="750" y="50"/>
                    <a:pt x="750" y="50"/>
                  </a:cubicBezTo>
                  <a:cubicBezTo>
                    <a:pt x="725" y="75"/>
                    <a:pt x="725" y="25"/>
                    <a:pt x="700" y="25"/>
                  </a:cubicBezTo>
                  <a:cubicBezTo>
                    <a:pt x="700" y="0"/>
                    <a:pt x="700" y="0"/>
                    <a:pt x="700" y="0"/>
                  </a:cubicBezTo>
                  <a:lnTo>
                    <a:pt x="676" y="0"/>
                  </a:lnTo>
                  <a:cubicBezTo>
                    <a:pt x="650" y="0"/>
                    <a:pt x="625" y="25"/>
                    <a:pt x="625" y="100"/>
                  </a:cubicBezTo>
                  <a:cubicBezTo>
                    <a:pt x="625" y="150"/>
                    <a:pt x="576" y="150"/>
                    <a:pt x="525" y="150"/>
                  </a:cubicBezTo>
                  <a:cubicBezTo>
                    <a:pt x="475" y="150"/>
                    <a:pt x="475" y="200"/>
                    <a:pt x="475" y="224"/>
                  </a:cubicBezTo>
                  <a:cubicBezTo>
                    <a:pt x="450" y="250"/>
                    <a:pt x="350" y="200"/>
                    <a:pt x="350" y="175"/>
                  </a:cubicBezTo>
                  <a:cubicBezTo>
                    <a:pt x="325" y="150"/>
                    <a:pt x="250" y="175"/>
                    <a:pt x="300" y="224"/>
                  </a:cubicBezTo>
                  <a:cubicBezTo>
                    <a:pt x="325" y="250"/>
                    <a:pt x="325" y="300"/>
                    <a:pt x="300" y="325"/>
                  </a:cubicBezTo>
                  <a:cubicBezTo>
                    <a:pt x="275" y="325"/>
                    <a:pt x="250" y="300"/>
                    <a:pt x="225" y="325"/>
                  </a:cubicBezTo>
                  <a:cubicBezTo>
                    <a:pt x="200" y="325"/>
                    <a:pt x="200" y="300"/>
                    <a:pt x="176" y="275"/>
                  </a:cubicBezTo>
                  <a:cubicBezTo>
                    <a:pt x="125" y="275"/>
                    <a:pt x="125" y="300"/>
                    <a:pt x="75" y="300"/>
                  </a:cubicBezTo>
                  <a:cubicBezTo>
                    <a:pt x="25" y="300"/>
                    <a:pt x="0" y="325"/>
                    <a:pt x="25" y="350"/>
                  </a:cubicBezTo>
                  <a:cubicBezTo>
                    <a:pt x="25" y="350"/>
                    <a:pt x="0" y="375"/>
                    <a:pt x="25" y="400"/>
                  </a:cubicBezTo>
                  <a:cubicBezTo>
                    <a:pt x="50" y="425"/>
                    <a:pt x="100" y="425"/>
                    <a:pt x="150" y="450"/>
                  </a:cubicBezTo>
                  <a:cubicBezTo>
                    <a:pt x="200" y="475"/>
                    <a:pt x="200" y="450"/>
                    <a:pt x="225" y="450"/>
                  </a:cubicBezTo>
                  <a:cubicBezTo>
                    <a:pt x="250" y="475"/>
                    <a:pt x="250" y="475"/>
                    <a:pt x="275" y="500"/>
                  </a:cubicBezTo>
                  <a:cubicBezTo>
                    <a:pt x="275" y="525"/>
                    <a:pt x="300" y="575"/>
                    <a:pt x="325" y="575"/>
                  </a:cubicBezTo>
                  <a:cubicBezTo>
                    <a:pt x="376" y="600"/>
                    <a:pt x="350" y="625"/>
                    <a:pt x="350" y="650"/>
                  </a:cubicBezTo>
                  <a:cubicBezTo>
                    <a:pt x="376" y="675"/>
                    <a:pt x="350" y="725"/>
                    <a:pt x="350" y="775"/>
                  </a:cubicBezTo>
                  <a:cubicBezTo>
                    <a:pt x="350" y="800"/>
                    <a:pt x="325" y="925"/>
                    <a:pt x="300" y="950"/>
                  </a:cubicBezTo>
                  <a:lnTo>
                    <a:pt x="300" y="950"/>
                  </a:lnTo>
                  <a:cubicBezTo>
                    <a:pt x="325" y="950"/>
                    <a:pt x="350" y="950"/>
                    <a:pt x="350" y="975"/>
                  </a:cubicBezTo>
                  <a:cubicBezTo>
                    <a:pt x="376" y="975"/>
                    <a:pt x="425" y="1000"/>
                    <a:pt x="450" y="1000"/>
                  </a:cubicBezTo>
                  <a:cubicBezTo>
                    <a:pt x="475" y="1025"/>
                    <a:pt x="525" y="1025"/>
                    <a:pt x="525" y="1000"/>
                  </a:cubicBezTo>
                  <a:cubicBezTo>
                    <a:pt x="525" y="975"/>
                    <a:pt x="550" y="1000"/>
                    <a:pt x="550" y="1025"/>
                  </a:cubicBezTo>
                  <a:cubicBezTo>
                    <a:pt x="576" y="1025"/>
                    <a:pt x="650" y="1025"/>
                    <a:pt x="676" y="1050"/>
                  </a:cubicBezTo>
                  <a:cubicBezTo>
                    <a:pt x="700" y="1050"/>
                    <a:pt x="725" y="1050"/>
                    <a:pt x="776" y="1050"/>
                  </a:cubicBezTo>
                  <a:cubicBezTo>
                    <a:pt x="776" y="1025"/>
                    <a:pt x="776" y="1025"/>
                    <a:pt x="776" y="1025"/>
                  </a:cubicBezTo>
                  <a:cubicBezTo>
                    <a:pt x="750" y="975"/>
                    <a:pt x="800" y="925"/>
                    <a:pt x="850" y="925"/>
                  </a:cubicBezTo>
                  <a:cubicBezTo>
                    <a:pt x="876" y="925"/>
                    <a:pt x="976" y="950"/>
                    <a:pt x="1025" y="975"/>
                  </a:cubicBezTo>
                  <a:cubicBezTo>
                    <a:pt x="1050" y="975"/>
                    <a:pt x="1076" y="975"/>
                    <a:pt x="1125" y="925"/>
                  </a:cubicBezTo>
                  <a:cubicBezTo>
                    <a:pt x="1150" y="900"/>
                    <a:pt x="1176" y="900"/>
                    <a:pt x="1176" y="900"/>
                  </a:cubicBezTo>
                  <a:cubicBezTo>
                    <a:pt x="1176" y="875"/>
                    <a:pt x="1176" y="875"/>
                    <a:pt x="1201" y="850"/>
                  </a:cubicBezTo>
                  <a:cubicBezTo>
                    <a:pt x="1201" y="850"/>
                    <a:pt x="1176" y="850"/>
                    <a:pt x="1150" y="850"/>
                  </a:cubicBezTo>
                  <a:cubicBezTo>
                    <a:pt x="1125" y="850"/>
                    <a:pt x="1101" y="825"/>
                    <a:pt x="1125" y="800"/>
                  </a:cubicBezTo>
                  <a:cubicBezTo>
                    <a:pt x="1150" y="775"/>
                    <a:pt x="1125" y="775"/>
                    <a:pt x="1101" y="750"/>
                  </a:cubicBezTo>
                  <a:cubicBezTo>
                    <a:pt x="1076" y="725"/>
                    <a:pt x="1101" y="725"/>
                    <a:pt x="1125" y="725"/>
                  </a:cubicBezTo>
                  <a:cubicBezTo>
                    <a:pt x="1125" y="725"/>
                    <a:pt x="1150" y="700"/>
                    <a:pt x="1125" y="700"/>
                  </a:cubicBezTo>
                  <a:cubicBezTo>
                    <a:pt x="1125" y="675"/>
                    <a:pt x="1125" y="675"/>
                    <a:pt x="1125" y="650"/>
                  </a:cubicBezTo>
                  <a:cubicBezTo>
                    <a:pt x="1125" y="625"/>
                    <a:pt x="1101" y="625"/>
                    <a:pt x="1101" y="600"/>
                  </a:cubicBezTo>
                  <a:cubicBezTo>
                    <a:pt x="1101" y="575"/>
                    <a:pt x="1076" y="575"/>
                    <a:pt x="1076" y="600"/>
                  </a:cubicBezTo>
                  <a:cubicBezTo>
                    <a:pt x="1050" y="625"/>
                    <a:pt x="1050" y="600"/>
                    <a:pt x="1050" y="550"/>
                  </a:cubicBezTo>
                  <a:cubicBezTo>
                    <a:pt x="1076" y="525"/>
                    <a:pt x="1101" y="500"/>
                    <a:pt x="1125" y="475"/>
                  </a:cubicBezTo>
                  <a:cubicBezTo>
                    <a:pt x="1125" y="475"/>
                    <a:pt x="1150" y="450"/>
                    <a:pt x="1176" y="450"/>
                  </a:cubicBezTo>
                  <a:cubicBezTo>
                    <a:pt x="1176" y="450"/>
                    <a:pt x="1176" y="400"/>
                    <a:pt x="1176" y="375"/>
                  </a:cubicBezTo>
                  <a:cubicBezTo>
                    <a:pt x="1201" y="350"/>
                    <a:pt x="1201" y="325"/>
                    <a:pt x="1225" y="300"/>
                  </a:cubicBezTo>
                  <a:cubicBezTo>
                    <a:pt x="1250" y="275"/>
                    <a:pt x="1225" y="275"/>
                    <a:pt x="1201" y="275"/>
                  </a:cubicBezTo>
                  <a:close/>
                  <a:moveTo>
                    <a:pt x="1350" y="975"/>
                  </a:moveTo>
                  <a:lnTo>
                    <a:pt x="1350" y="975"/>
                  </a:lnTo>
                  <a:cubicBezTo>
                    <a:pt x="1325" y="975"/>
                    <a:pt x="1325" y="1000"/>
                    <a:pt x="1301" y="1025"/>
                  </a:cubicBezTo>
                  <a:cubicBezTo>
                    <a:pt x="1250" y="1050"/>
                    <a:pt x="1301" y="1150"/>
                    <a:pt x="1325" y="1150"/>
                  </a:cubicBezTo>
                  <a:cubicBezTo>
                    <a:pt x="1376" y="1150"/>
                    <a:pt x="1376" y="975"/>
                    <a:pt x="1350" y="975"/>
                  </a:cubicBezTo>
                  <a:close/>
                </a:path>
              </a:pathLst>
            </a:custGeom>
            <a:solidFill>
              <a:srgbClr val="000C47"/>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6" name="Freeform 202">
              <a:extLst>
                <a:ext uri="{FF2B5EF4-FFF2-40B4-BE49-F238E27FC236}">
                  <a16:creationId xmlns:a16="http://schemas.microsoft.com/office/drawing/2014/main" id="{E05EB4B4-D068-8E2D-00BC-A8184DCAA758}"/>
                </a:ext>
              </a:extLst>
            </p:cNvPr>
            <p:cNvSpPr>
              <a:spLocks noChangeArrowheads="1"/>
            </p:cNvSpPr>
            <p:nvPr/>
          </p:nvSpPr>
          <p:spPr bwMode="auto">
            <a:xfrm>
              <a:off x="6561088" y="4276934"/>
              <a:ext cx="164065" cy="88683"/>
            </a:xfrm>
            <a:custGeom>
              <a:avLst/>
              <a:gdLst>
                <a:gd name="T0" fmla="*/ 0 w 326"/>
                <a:gd name="T1" fmla="*/ 150 h 176"/>
                <a:gd name="T2" fmla="*/ 0 w 326"/>
                <a:gd name="T3" fmla="*/ 150 h 176"/>
                <a:gd name="T4" fmla="*/ 49 w 326"/>
                <a:gd name="T5" fmla="*/ 150 h 176"/>
                <a:gd name="T6" fmla="*/ 74 w 326"/>
                <a:gd name="T7" fmla="*/ 175 h 176"/>
                <a:gd name="T8" fmla="*/ 149 w 326"/>
                <a:gd name="T9" fmla="*/ 150 h 176"/>
                <a:gd name="T10" fmla="*/ 200 w 326"/>
                <a:gd name="T11" fmla="*/ 150 h 176"/>
                <a:gd name="T12" fmla="*/ 225 w 326"/>
                <a:gd name="T13" fmla="*/ 125 h 176"/>
                <a:gd name="T14" fmla="*/ 249 w 326"/>
                <a:gd name="T15" fmla="*/ 75 h 176"/>
                <a:gd name="T16" fmla="*/ 325 w 326"/>
                <a:gd name="T17" fmla="*/ 25 h 176"/>
                <a:gd name="T18" fmla="*/ 300 w 326"/>
                <a:gd name="T19" fmla="*/ 0 h 176"/>
                <a:gd name="T20" fmla="*/ 225 w 326"/>
                <a:gd name="T21" fmla="*/ 25 h 176"/>
                <a:gd name="T22" fmla="*/ 149 w 326"/>
                <a:gd name="T23" fmla="*/ 50 h 176"/>
                <a:gd name="T24" fmla="*/ 49 w 326"/>
                <a:gd name="T25" fmla="*/ 25 h 176"/>
                <a:gd name="T26" fmla="*/ 0 w 326"/>
                <a:gd name="T27" fmla="*/ 25 h 176"/>
                <a:gd name="T28" fmla="*/ 0 w 326"/>
                <a:gd name="T29" fmla="*/ 1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6" h="176">
                  <a:moveTo>
                    <a:pt x="0" y="150"/>
                  </a:moveTo>
                  <a:lnTo>
                    <a:pt x="0" y="150"/>
                  </a:lnTo>
                  <a:cubicBezTo>
                    <a:pt x="25" y="150"/>
                    <a:pt x="49" y="125"/>
                    <a:pt x="49" y="150"/>
                  </a:cubicBezTo>
                  <a:cubicBezTo>
                    <a:pt x="74" y="150"/>
                    <a:pt x="74" y="150"/>
                    <a:pt x="74" y="175"/>
                  </a:cubicBezTo>
                  <a:cubicBezTo>
                    <a:pt x="99" y="175"/>
                    <a:pt x="125" y="150"/>
                    <a:pt x="149" y="150"/>
                  </a:cubicBezTo>
                  <a:cubicBezTo>
                    <a:pt x="149" y="150"/>
                    <a:pt x="200" y="175"/>
                    <a:pt x="200" y="150"/>
                  </a:cubicBezTo>
                  <a:lnTo>
                    <a:pt x="225" y="125"/>
                  </a:lnTo>
                  <a:cubicBezTo>
                    <a:pt x="249" y="125"/>
                    <a:pt x="249" y="75"/>
                    <a:pt x="249" y="75"/>
                  </a:cubicBezTo>
                  <a:cubicBezTo>
                    <a:pt x="274" y="75"/>
                    <a:pt x="325" y="25"/>
                    <a:pt x="325" y="25"/>
                  </a:cubicBezTo>
                  <a:lnTo>
                    <a:pt x="300" y="0"/>
                  </a:lnTo>
                  <a:cubicBezTo>
                    <a:pt x="274" y="0"/>
                    <a:pt x="274" y="25"/>
                    <a:pt x="225" y="25"/>
                  </a:cubicBezTo>
                  <a:cubicBezTo>
                    <a:pt x="200" y="25"/>
                    <a:pt x="174" y="50"/>
                    <a:pt x="149" y="50"/>
                  </a:cubicBezTo>
                  <a:cubicBezTo>
                    <a:pt x="125" y="50"/>
                    <a:pt x="74" y="25"/>
                    <a:pt x="49" y="25"/>
                  </a:cubicBezTo>
                  <a:cubicBezTo>
                    <a:pt x="25" y="25"/>
                    <a:pt x="25" y="25"/>
                    <a:pt x="0" y="25"/>
                  </a:cubicBezTo>
                  <a:cubicBezTo>
                    <a:pt x="0" y="50"/>
                    <a:pt x="0" y="100"/>
                    <a:pt x="0" y="150"/>
                  </a:cubicBezTo>
                </a:path>
              </a:pathLst>
            </a:custGeom>
            <a:solidFill>
              <a:srgbClr val="2B7A88"/>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7" name="Freeform 203">
              <a:extLst>
                <a:ext uri="{FF2B5EF4-FFF2-40B4-BE49-F238E27FC236}">
                  <a16:creationId xmlns:a16="http://schemas.microsoft.com/office/drawing/2014/main" id="{174BE528-9AEC-9FDA-A25F-D00E35615288}"/>
                </a:ext>
              </a:extLst>
            </p:cNvPr>
            <p:cNvSpPr>
              <a:spLocks noChangeArrowheads="1"/>
            </p:cNvSpPr>
            <p:nvPr/>
          </p:nvSpPr>
          <p:spPr bwMode="auto">
            <a:xfrm>
              <a:off x="6887009" y="4578459"/>
              <a:ext cx="301527" cy="290443"/>
            </a:xfrm>
            <a:custGeom>
              <a:avLst/>
              <a:gdLst>
                <a:gd name="T0" fmla="*/ 575 w 601"/>
                <a:gd name="T1" fmla="*/ 0 h 576"/>
                <a:gd name="T2" fmla="*/ 575 w 601"/>
                <a:gd name="T3" fmla="*/ 0 h 576"/>
                <a:gd name="T4" fmla="*/ 550 w 601"/>
                <a:gd name="T5" fmla="*/ 0 h 576"/>
                <a:gd name="T6" fmla="*/ 500 w 601"/>
                <a:gd name="T7" fmla="*/ 25 h 576"/>
                <a:gd name="T8" fmla="*/ 400 w 601"/>
                <a:gd name="T9" fmla="*/ 25 h 576"/>
                <a:gd name="T10" fmla="*/ 275 w 601"/>
                <a:gd name="T11" fmla="*/ 25 h 576"/>
                <a:gd name="T12" fmla="*/ 275 w 601"/>
                <a:gd name="T13" fmla="*/ 25 h 576"/>
                <a:gd name="T14" fmla="*/ 200 w 601"/>
                <a:gd name="T15" fmla="*/ 50 h 576"/>
                <a:gd name="T16" fmla="*/ 150 w 601"/>
                <a:gd name="T17" fmla="*/ 75 h 576"/>
                <a:gd name="T18" fmla="*/ 75 w 601"/>
                <a:gd name="T19" fmla="*/ 100 h 576"/>
                <a:gd name="T20" fmla="*/ 50 w 601"/>
                <a:gd name="T21" fmla="*/ 150 h 576"/>
                <a:gd name="T22" fmla="*/ 24 w 601"/>
                <a:gd name="T23" fmla="*/ 175 h 576"/>
                <a:gd name="T24" fmla="*/ 0 w 601"/>
                <a:gd name="T25" fmla="*/ 225 h 576"/>
                <a:gd name="T26" fmla="*/ 0 w 601"/>
                <a:gd name="T27" fmla="*/ 225 h 576"/>
                <a:gd name="T28" fmla="*/ 50 w 601"/>
                <a:gd name="T29" fmla="*/ 325 h 576"/>
                <a:gd name="T30" fmla="*/ 124 w 601"/>
                <a:gd name="T31" fmla="*/ 350 h 576"/>
                <a:gd name="T32" fmla="*/ 200 w 601"/>
                <a:gd name="T33" fmla="*/ 375 h 576"/>
                <a:gd name="T34" fmla="*/ 100 w 601"/>
                <a:gd name="T35" fmla="*/ 375 h 576"/>
                <a:gd name="T36" fmla="*/ 124 w 601"/>
                <a:gd name="T37" fmla="*/ 450 h 576"/>
                <a:gd name="T38" fmla="*/ 175 w 601"/>
                <a:gd name="T39" fmla="*/ 525 h 576"/>
                <a:gd name="T40" fmla="*/ 250 w 601"/>
                <a:gd name="T41" fmla="*/ 575 h 576"/>
                <a:gd name="T42" fmla="*/ 250 w 601"/>
                <a:gd name="T43" fmla="*/ 475 h 576"/>
                <a:gd name="T44" fmla="*/ 300 w 601"/>
                <a:gd name="T45" fmla="*/ 475 h 576"/>
                <a:gd name="T46" fmla="*/ 275 w 601"/>
                <a:gd name="T47" fmla="*/ 425 h 576"/>
                <a:gd name="T48" fmla="*/ 300 w 601"/>
                <a:gd name="T49" fmla="*/ 400 h 576"/>
                <a:gd name="T50" fmla="*/ 375 w 601"/>
                <a:gd name="T51" fmla="*/ 400 h 576"/>
                <a:gd name="T52" fmla="*/ 324 w 601"/>
                <a:gd name="T53" fmla="*/ 325 h 576"/>
                <a:gd name="T54" fmla="*/ 250 w 601"/>
                <a:gd name="T55" fmla="*/ 325 h 576"/>
                <a:gd name="T56" fmla="*/ 300 w 601"/>
                <a:gd name="T57" fmla="*/ 275 h 576"/>
                <a:gd name="T58" fmla="*/ 224 w 601"/>
                <a:gd name="T59" fmla="*/ 175 h 576"/>
                <a:gd name="T60" fmla="*/ 250 w 601"/>
                <a:gd name="T61" fmla="*/ 150 h 576"/>
                <a:gd name="T62" fmla="*/ 324 w 601"/>
                <a:gd name="T63" fmla="*/ 150 h 576"/>
                <a:gd name="T64" fmla="*/ 350 w 601"/>
                <a:gd name="T65" fmla="*/ 100 h 576"/>
                <a:gd name="T66" fmla="*/ 400 w 601"/>
                <a:gd name="T67" fmla="*/ 100 h 576"/>
                <a:gd name="T68" fmla="*/ 475 w 601"/>
                <a:gd name="T69" fmla="*/ 75 h 576"/>
                <a:gd name="T70" fmla="*/ 550 w 601"/>
                <a:gd name="T71" fmla="*/ 100 h 576"/>
                <a:gd name="T72" fmla="*/ 575 w 601"/>
                <a:gd name="T73" fmla="*/ 75 h 576"/>
                <a:gd name="T74" fmla="*/ 600 w 601"/>
                <a:gd name="T75" fmla="*/ 25 h 576"/>
                <a:gd name="T76" fmla="*/ 575 w 601"/>
                <a:gd name="T77"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1" h="576">
                  <a:moveTo>
                    <a:pt x="575" y="0"/>
                  </a:moveTo>
                  <a:lnTo>
                    <a:pt x="575" y="0"/>
                  </a:lnTo>
                  <a:lnTo>
                    <a:pt x="550" y="0"/>
                  </a:lnTo>
                  <a:cubicBezTo>
                    <a:pt x="550" y="25"/>
                    <a:pt x="525" y="25"/>
                    <a:pt x="500" y="25"/>
                  </a:cubicBezTo>
                  <a:cubicBezTo>
                    <a:pt x="500" y="25"/>
                    <a:pt x="424" y="25"/>
                    <a:pt x="400" y="25"/>
                  </a:cubicBezTo>
                  <a:cubicBezTo>
                    <a:pt x="400" y="0"/>
                    <a:pt x="324" y="0"/>
                    <a:pt x="275" y="25"/>
                  </a:cubicBezTo>
                  <a:lnTo>
                    <a:pt x="275" y="25"/>
                  </a:lnTo>
                  <a:cubicBezTo>
                    <a:pt x="275" y="25"/>
                    <a:pt x="200" y="75"/>
                    <a:pt x="200" y="50"/>
                  </a:cubicBezTo>
                  <a:cubicBezTo>
                    <a:pt x="175" y="50"/>
                    <a:pt x="175" y="75"/>
                    <a:pt x="150" y="75"/>
                  </a:cubicBezTo>
                  <a:cubicBezTo>
                    <a:pt x="124" y="100"/>
                    <a:pt x="75" y="75"/>
                    <a:pt x="75" y="100"/>
                  </a:cubicBezTo>
                  <a:cubicBezTo>
                    <a:pt x="75" y="100"/>
                    <a:pt x="75" y="125"/>
                    <a:pt x="50" y="150"/>
                  </a:cubicBezTo>
                  <a:cubicBezTo>
                    <a:pt x="24" y="175"/>
                    <a:pt x="50" y="175"/>
                    <a:pt x="24" y="175"/>
                  </a:cubicBezTo>
                  <a:cubicBezTo>
                    <a:pt x="0" y="175"/>
                    <a:pt x="0" y="200"/>
                    <a:pt x="0" y="225"/>
                  </a:cubicBezTo>
                  <a:lnTo>
                    <a:pt x="0" y="225"/>
                  </a:lnTo>
                  <a:cubicBezTo>
                    <a:pt x="24" y="250"/>
                    <a:pt x="50" y="275"/>
                    <a:pt x="50" y="325"/>
                  </a:cubicBezTo>
                  <a:cubicBezTo>
                    <a:pt x="50" y="350"/>
                    <a:pt x="100" y="375"/>
                    <a:pt x="124" y="350"/>
                  </a:cubicBezTo>
                  <a:cubicBezTo>
                    <a:pt x="150" y="325"/>
                    <a:pt x="200" y="350"/>
                    <a:pt x="200" y="375"/>
                  </a:cubicBezTo>
                  <a:cubicBezTo>
                    <a:pt x="200" y="375"/>
                    <a:pt x="150" y="350"/>
                    <a:pt x="100" y="375"/>
                  </a:cubicBezTo>
                  <a:cubicBezTo>
                    <a:pt x="75" y="400"/>
                    <a:pt x="124" y="425"/>
                    <a:pt x="124" y="450"/>
                  </a:cubicBezTo>
                  <a:cubicBezTo>
                    <a:pt x="124" y="475"/>
                    <a:pt x="150" y="525"/>
                    <a:pt x="175" y="525"/>
                  </a:cubicBezTo>
                  <a:cubicBezTo>
                    <a:pt x="200" y="525"/>
                    <a:pt x="250" y="575"/>
                    <a:pt x="250" y="575"/>
                  </a:cubicBezTo>
                  <a:cubicBezTo>
                    <a:pt x="275" y="550"/>
                    <a:pt x="224" y="475"/>
                    <a:pt x="250" y="475"/>
                  </a:cubicBezTo>
                  <a:cubicBezTo>
                    <a:pt x="250" y="450"/>
                    <a:pt x="300" y="500"/>
                    <a:pt x="300" y="475"/>
                  </a:cubicBezTo>
                  <a:cubicBezTo>
                    <a:pt x="324" y="450"/>
                    <a:pt x="300" y="425"/>
                    <a:pt x="275" y="425"/>
                  </a:cubicBezTo>
                  <a:cubicBezTo>
                    <a:pt x="224" y="425"/>
                    <a:pt x="275" y="400"/>
                    <a:pt x="300" y="400"/>
                  </a:cubicBezTo>
                  <a:cubicBezTo>
                    <a:pt x="324" y="425"/>
                    <a:pt x="350" y="400"/>
                    <a:pt x="375" y="400"/>
                  </a:cubicBezTo>
                  <a:cubicBezTo>
                    <a:pt x="375" y="400"/>
                    <a:pt x="400" y="350"/>
                    <a:pt x="324" y="325"/>
                  </a:cubicBezTo>
                  <a:cubicBezTo>
                    <a:pt x="275" y="325"/>
                    <a:pt x="300" y="375"/>
                    <a:pt x="250" y="325"/>
                  </a:cubicBezTo>
                  <a:cubicBezTo>
                    <a:pt x="224" y="300"/>
                    <a:pt x="300" y="300"/>
                    <a:pt x="300" y="275"/>
                  </a:cubicBezTo>
                  <a:cubicBezTo>
                    <a:pt x="300" y="250"/>
                    <a:pt x="250" y="200"/>
                    <a:pt x="224" y="175"/>
                  </a:cubicBezTo>
                  <a:cubicBezTo>
                    <a:pt x="200" y="150"/>
                    <a:pt x="250" y="125"/>
                    <a:pt x="250" y="150"/>
                  </a:cubicBezTo>
                  <a:cubicBezTo>
                    <a:pt x="275" y="175"/>
                    <a:pt x="324" y="175"/>
                    <a:pt x="324" y="150"/>
                  </a:cubicBezTo>
                  <a:cubicBezTo>
                    <a:pt x="350" y="150"/>
                    <a:pt x="300" y="100"/>
                    <a:pt x="350" y="100"/>
                  </a:cubicBezTo>
                  <a:cubicBezTo>
                    <a:pt x="400" y="75"/>
                    <a:pt x="400" y="100"/>
                    <a:pt x="400" y="100"/>
                  </a:cubicBezTo>
                  <a:cubicBezTo>
                    <a:pt x="424" y="100"/>
                    <a:pt x="450" y="75"/>
                    <a:pt x="475" y="75"/>
                  </a:cubicBezTo>
                  <a:cubicBezTo>
                    <a:pt x="500" y="75"/>
                    <a:pt x="525" y="75"/>
                    <a:pt x="550" y="100"/>
                  </a:cubicBezTo>
                  <a:lnTo>
                    <a:pt x="575" y="75"/>
                  </a:lnTo>
                  <a:cubicBezTo>
                    <a:pt x="575" y="50"/>
                    <a:pt x="600" y="50"/>
                    <a:pt x="600" y="25"/>
                  </a:cubicBezTo>
                  <a:cubicBezTo>
                    <a:pt x="600" y="25"/>
                    <a:pt x="600" y="0"/>
                    <a:pt x="575" y="0"/>
                  </a:cubicBezTo>
                </a:path>
              </a:pathLst>
            </a:custGeom>
            <a:solidFill>
              <a:srgbClr val="000C47"/>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8" name="Freeform 204">
              <a:extLst>
                <a:ext uri="{FF2B5EF4-FFF2-40B4-BE49-F238E27FC236}">
                  <a16:creationId xmlns:a16="http://schemas.microsoft.com/office/drawing/2014/main" id="{6DE4B436-402F-B39D-0BA5-673031387C9E}"/>
                </a:ext>
              </a:extLst>
            </p:cNvPr>
            <p:cNvSpPr>
              <a:spLocks noChangeArrowheads="1"/>
            </p:cNvSpPr>
            <p:nvPr/>
          </p:nvSpPr>
          <p:spPr bwMode="auto">
            <a:xfrm>
              <a:off x="5454755" y="3749258"/>
              <a:ext cx="215059" cy="239449"/>
            </a:xfrm>
            <a:custGeom>
              <a:avLst/>
              <a:gdLst>
                <a:gd name="T0" fmla="*/ 375 w 426"/>
                <a:gd name="T1" fmla="*/ 150 h 476"/>
                <a:gd name="T2" fmla="*/ 375 w 426"/>
                <a:gd name="T3" fmla="*/ 150 h 476"/>
                <a:gd name="T4" fmla="*/ 350 w 426"/>
                <a:gd name="T5" fmla="*/ 124 h 476"/>
                <a:gd name="T6" fmla="*/ 300 w 426"/>
                <a:gd name="T7" fmla="*/ 150 h 476"/>
                <a:gd name="T8" fmla="*/ 225 w 426"/>
                <a:gd name="T9" fmla="*/ 124 h 476"/>
                <a:gd name="T10" fmla="*/ 250 w 426"/>
                <a:gd name="T11" fmla="*/ 75 h 476"/>
                <a:gd name="T12" fmla="*/ 275 w 426"/>
                <a:gd name="T13" fmla="*/ 24 h 476"/>
                <a:gd name="T14" fmla="*/ 275 w 426"/>
                <a:gd name="T15" fmla="*/ 24 h 476"/>
                <a:gd name="T16" fmla="*/ 175 w 426"/>
                <a:gd name="T17" fmla="*/ 50 h 476"/>
                <a:gd name="T18" fmla="*/ 225 w 426"/>
                <a:gd name="T19" fmla="*/ 75 h 476"/>
                <a:gd name="T20" fmla="*/ 150 w 426"/>
                <a:gd name="T21" fmla="*/ 124 h 476"/>
                <a:gd name="T22" fmla="*/ 50 w 426"/>
                <a:gd name="T23" fmla="*/ 124 h 476"/>
                <a:gd name="T24" fmla="*/ 50 w 426"/>
                <a:gd name="T25" fmla="*/ 200 h 476"/>
                <a:gd name="T26" fmla="*/ 100 w 426"/>
                <a:gd name="T27" fmla="*/ 250 h 476"/>
                <a:gd name="T28" fmla="*/ 75 w 426"/>
                <a:gd name="T29" fmla="*/ 350 h 476"/>
                <a:gd name="T30" fmla="*/ 0 w 426"/>
                <a:gd name="T31" fmla="*/ 400 h 476"/>
                <a:gd name="T32" fmla="*/ 100 w 426"/>
                <a:gd name="T33" fmla="*/ 475 h 476"/>
                <a:gd name="T34" fmla="*/ 275 w 426"/>
                <a:gd name="T35" fmla="*/ 400 h 476"/>
                <a:gd name="T36" fmla="*/ 375 w 426"/>
                <a:gd name="T37" fmla="*/ 375 h 476"/>
                <a:gd name="T38" fmla="*/ 375 w 426"/>
                <a:gd name="T39" fmla="*/ 175 h 476"/>
                <a:gd name="T40" fmla="*/ 375 w 426"/>
                <a:gd name="T41" fmla="*/ 15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 h="476">
                  <a:moveTo>
                    <a:pt x="375" y="150"/>
                  </a:moveTo>
                  <a:lnTo>
                    <a:pt x="375" y="150"/>
                  </a:lnTo>
                  <a:lnTo>
                    <a:pt x="350" y="124"/>
                  </a:lnTo>
                  <a:cubicBezTo>
                    <a:pt x="300" y="75"/>
                    <a:pt x="300" y="124"/>
                    <a:pt x="300" y="150"/>
                  </a:cubicBezTo>
                  <a:cubicBezTo>
                    <a:pt x="300" y="175"/>
                    <a:pt x="250" y="124"/>
                    <a:pt x="225" y="124"/>
                  </a:cubicBezTo>
                  <a:lnTo>
                    <a:pt x="250" y="75"/>
                  </a:lnTo>
                  <a:cubicBezTo>
                    <a:pt x="275" y="75"/>
                    <a:pt x="275" y="50"/>
                    <a:pt x="275" y="24"/>
                  </a:cubicBezTo>
                  <a:lnTo>
                    <a:pt x="275" y="24"/>
                  </a:lnTo>
                  <a:cubicBezTo>
                    <a:pt x="225" y="0"/>
                    <a:pt x="175" y="0"/>
                    <a:pt x="175" y="50"/>
                  </a:cubicBezTo>
                  <a:cubicBezTo>
                    <a:pt x="175" y="75"/>
                    <a:pt x="225" y="50"/>
                    <a:pt x="225" y="75"/>
                  </a:cubicBezTo>
                  <a:cubicBezTo>
                    <a:pt x="225" y="100"/>
                    <a:pt x="175" y="100"/>
                    <a:pt x="150" y="124"/>
                  </a:cubicBezTo>
                  <a:cubicBezTo>
                    <a:pt x="100" y="150"/>
                    <a:pt x="75" y="100"/>
                    <a:pt x="50" y="124"/>
                  </a:cubicBezTo>
                  <a:cubicBezTo>
                    <a:pt x="0" y="150"/>
                    <a:pt x="75" y="150"/>
                    <a:pt x="50" y="200"/>
                  </a:cubicBezTo>
                  <a:cubicBezTo>
                    <a:pt x="25" y="224"/>
                    <a:pt x="50" y="224"/>
                    <a:pt x="100" y="250"/>
                  </a:cubicBezTo>
                  <a:cubicBezTo>
                    <a:pt x="150" y="300"/>
                    <a:pt x="75" y="300"/>
                    <a:pt x="75" y="350"/>
                  </a:cubicBezTo>
                  <a:cubicBezTo>
                    <a:pt x="75" y="375"/>
                    <a:pt x="25" y="375"/>
                    <a:pt x="0" y="400"/>
                  </a:cubicBezTo>
                  <a:cubicBezTo>
                    <a:pt x="0" y="424"/>
                    <a:pt x="50" y="475"/>
                    <a:pt x="100" y="475"/>
                  </a:cubicBezTo>
                  <a:cubicBezTo>
                    <a:pt x="125" y="475"/>
                    <a:pt x="225" y="450"/>
                    <a:pt x="275" y="400"/>
                  </a:cubicBezTo>
                  <a:cubicBezTo>
                    <a:pt x="300" y="375"/>
                    <a:pt x="325" y="400"/>
                    <a:pt x="375" y="375"/>
                  </a:cubicBezTo>
                  <a:cubicBezTo>
                    <a:pt x="425" y="375"/>
                    <a:pt x="400" y="200"/>
                    <a:pt x="375" y="175"/>
                  </a:cubicBezTo>
                  <a:cubicBezTo>
                    <a:pt x="375" y="150"/>
                    <a:pt x="375" y="150"/>
                    <a:pt x="37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79" name="Freeform 205">
              <a:extLst>
                <a:ext uri="{FF2B5EF4-FFF2-40B4-BE49-F238E27FC236}">
                  <a16:creationId xmlns:a16="http://schemas.microsoft.com/office/drawing/2014/main" id="{0101257D-4B16-DC6B-F742-13DA7366B633}"/>
                </a:ext>
              </a:extLst>
            </p:cNvPr>
            <p:cNvSpPr>
              <a:spLocks noChangeArrowheads="1"/>
            </p:cNvSpPr>
            <p:nvPr/>
          </p:nvSpPr>
          <p:spPr bwMode="auto">
            <a:xfrm>
              <a:off x="6334948" y="3571893"/>
              <a:ext cx="226144" cy="215059"/>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0" name="Freeform 206">
              <a:extLst>
                <a:ext uri="{FF2B5EF4-FFF2-40B4-BE49-F238E27FC236}">
                  <a16:creationId xmlns:a16="http://schemas.microsoft.com/office/drawing/2014/main" id="{C371F669-DA3A-1630-FA71-1332FBA67356}"/>
                </a:ext>
              </a:extLst>
            </p:cNvPr>
            <p:cNvSpPr>
              <a:spLocks noChangeArrowheads="1"/>
            </p:cNvSpPr>
            <p:nvPr/>
          </p:nvSpPr>
          <p:spPr bwMode="auto">
            <a:xfrm>
              <a:off x="6485709" y="2705004"/>
              <a:ext cx="591969" cy="1044257"/>
            </a:xfrm>
            <a:custGeom>
              <a:avLst/>
              <a:gdLst>
                <a:gd name="T0" fmla="*/ 1151 w 1177"/>
                <a:gd name="T1" fmla="*/ 500 h 2077"/>
                <a:gd name="T2" fmla="*/ 1151 w 1177"/>
                <a:gd name="T3" fmla="*/ 375 h 2077"/>
                <a:gd name="T4" fmla="*/ 1125 w 1177"/>
                <a:gd name="T5" fmla="*/ 200 h 2077"/>
                <a:gd name="T6" fmla="*/ 876 w 1177"/>
                <a:gd name="T7" fmla="*/ 25 h 2077"/>
                <a:gd name="T8" fmla="*/ 751 w 1177"/>
                <a:gd name="T9" fmla="*/ 125 h 2077"/>
                <a:gd name="T10" fmla="*/ 625 w 1177"/>
                <a:gd name="T11" fmla="*/ 175 h 2077"/>
                <a:gd name="T12" fmla="*/ 501 w 1177"/>
                <a:gd name="T13" fmla="*/ 251 h 2077"/>
                <a:gd name="T14" fmla="*/ 451 w 1177"/>
                <a:gd name="T15" fmla="*/ 375 h 2077"/>
                <a:gd name="T16" fmla="*/ 376 w 1177"/>
                <a:gd name="T17" fmla="*/ 500 h 2077"/>
                <a:gd name="T18" fmla="*/ 300 w 1177"/>
                <a:gd name="T19" fmla="*/ 600 h 2077"/>
                <a:gd name="T20" fmla="*/ 250 w 1177"/>
                <a:gd name="T21" fmla="*/ 775 h 2077"/>
                <a:gd name="T22" fmla="*/ 200 w 1177"/>
                <a:gd name="T23" fmla="*/ 826 h 2077"/>
                <a:gd name="T24" fmla="*/ 100 w 1177"/>
                <a:gd name="T25" fmla="*/ 975 h 2077"/>
                <a:gd name="T26" fmla="*/ 100 w 1177"/>
                <a:gd name="T27" fmla="*/ 1151 h 2077"/>
                <a:gd name="T28" fmla="*/ 125 w 1177"/>
                <a:gd name="T29" fmla="*/ 1275 h 2077"/>
                <a:gd name="T30" fmla="*/ 125 w 1177"/>
                <a:gd name="T31" fmla="*/ 1400 h 2077"/>
                <a:gd name="T32" fmla="*/ 51 w 1177"/>
                <a:gd name="T33" fmla="*/ 1500 h 2077"/>
                <a:gd name="T34" fmla="*/ 0 w 1177"/>
                <a:gd name="T35" fmla="*/ 1576 h 2077"/>
                <a:gd name="T36" fmla="*/ 51 w 1177"/>
                <a:gd name="T37" fmla="*/ 1676 h 2077"/>
                <a:gd name="T38" fmla="*/ 125 w 1177"/>
                <a:gd name="T39" fmla="*/ 1851 h 2077"/>
                <a:gd name="T40" fmla="*/ 176 w 1177"/>
                <a:gd name="T41" fmla="*/ 1976 h 2077"/>
                <a:gd name="T42" fmla="*/ 250 w 1177"/>
                <a:gd name="T43" fmla="*/ 2051 h 2077"/>
                <a:gd name="T44" fmla="*/ 300 w 1177"/>
                <a:gd name="T45" fmla="*/ 1951 h 2077"/>
                <a:gd name="T46" fmla="*/ 451 w 1177"/>
                <a:gd name="T47" fmla="*/ 1900 h 2077"/>
                <a:gd name="T48" fmla="*/ 525 w 1177"/>
                <a:gd name="T49" fmla="*/ 1826 h 2077"/>
                <a:gd name="T50" fmla="*/ 501 w 1177"/>
                <a:gd name="T51" fmla="*/ 1776 h 2077"/>
                <a:gd name="T52" fmla="*/ 551 w 1177"/>
                <a:gd name="T53" fmla="*/ 1576 h 2077"/>
                <a:gd name="T54" fmla="*/ 701 w 1177"/>
                <a:gd name="T55" fmla="*/ 1425 h 2077"/>
                <a:gd name="T56" fmla="*/ 551 w 1177"/>
                <a:gd name="T57" fmla="*/ 1300 h 2077"/>
                <a:gd name="T58" fmla="*/ 576 w 1177"/>
                <a:gd name="T59" fmla="*/ 1126 h 2077"/>
                <a:gd name="T60" fmla="*/ 625 w 1177"/>
                <a:gd name="T61" fmla="*/ 1000 h 2077"/>
                <a:gd name="T62" fmla="*/ 801 w 1177"/>
                <a:gd name="T63" fmla="*/ 875 h 2077"/>
                <a:gd name="T64" fmla="*/ 925 w 1177"/>
                <a:gd name="T65" fmla="*/ 675 h 2077"/>
                <a:gd name="T66" fmla="*/ 1025 w 1177"/>
                <a:gd name="T67" fmla="*/ 551 h 2077"/>
                <a:gd name="T68" fmla="*/ 1176 w 1177"/>
                <a:gd name="T69" fmla="*/ 551 h 2077"/>
                <a:gd name="T70" fmla="*/ 701 w 1177"/>
                <a:gd name="T71" fmla="*/ 1726 h 2077"/>
                <a:gd name="T72" fmla="*/ 625 w 1177"/>
                <a:gd name="T73" fmla="*/ 1851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7" h="2077">
                  <a:moveTo>
                    <a:pt x="1151" y="500"/>
                  </a:moveTo>
                  <a:lnTo>
                    <a:pt x="1151" y="500"/>
                  </a:lnTo>
                  <a:cubicBezTo>
                    <a:pt x="1151" y="475"/>
                    <a:pt x="1125" y="451"/>
                    <a:pt x="1151" y="451"/>
                  </a:cubicBezTo>
                  <a:cubicBezTo>
                    <a:pt x="1151" y="451"/>
                    <a:pt x="1176" y="375"/>
                    <a:pt x="1151" y="375"/>
                  </a:cubicBezTo>
                  <a:cubicBezTo>
                    <a:pt x="1125" y="351"/>
                    <a:pt x="1151" y="300"/>
                    <a:pt x="1125" y="275"/>
                  </a:cubicBezTo>
                  <a:cubicBezTo>
                    <a:pt x="1101" y="275"/>
                    <a:pt x="1125" y="226"/>
                    <a:pt x="1125" y="200"/>
                  </a:cubicBezTo>
                  <a:cubicBezTo>
                    <a:pt x="1125" y="151"/>
                    <a:pt x="1025" y="125"/>
                    <a:pt x="976" y="100"/>
                  </a:cubicBezTo>
                  <a:cubicBezTo>
                    <a:pt x="925" y="100"/>
                    <a:pt x="901" y="50"/>
                    <a:pt x="876" y="25"/>
                  </a:cubicBezTo>
                  <a:cubicBezTo>
                    <a:pt x="825" y="0"/>
                    <a:pt x="825" y="75"/>
                    <a:pt x="825" y="100"/>
                  </a:cubicBezTo>
                  <a:cubicBezTo>
                    <a:pt x="825" y="151"/>
                    <a:pt x="776" y="151"/>
                    <a:pt x="751" y="125"/>
                  </a:cubicBezTo>
                  <a:cubicBezTo>
                    <a:pt x="725" y="100"/>
                    <a:pt x="701" y="125"/>
                    <a:pt x="651" y="100"/>
                  </a:cubicBezTo>
                  <a:cubicBezTo>
                    <a:pt x="625" y="75"/>
                    <a:pt x="625" y="151"/>
                    <a:pt x="625" y="175"/>
                  </a:cubicBezTo>
                  <a:cubicBezTo>
                    <a:pt x="625" y="200"/>
                    <a:pt x="601" y="200"/>
                    <a:pt x="576" y="200"/>
                  </a:cubicBezTo>
                  <a:cubicBezTo>
                    <a:pt x="525" y="200"/>
                    <a:pt x="501" y="226"/>
                    <a:pt x="501" y="251"/>
                  </a:cubicBezTo>
                  <a:cubicBezTo>
                    <a:pt x="501" y="275"/>
                    <a:pt x="451" y="300"/>
                    <a:pt x="476" y="326"/>
                  </a:cubicBezTo>
                  <a:cubicBezTo>
                    <a:pt x="476" y="326"/>
                    <a:pt x="451" y="351"/>
                    <a:pt x="451" y="375"/>
                  </a:cubicBezTo>
                  <a:cubicBezTo>
                    <a:pt x="425" y="375"/>
                    <a:pt x="400" y="426"/>
                    <a:pt x="400" y="426"/>
                  </a:cubicBezTo>
                  <a:cubicBezTo>
                    <a:pt x="376" y="451"/>
                    <a:pt x="400" y="475"/>
                    <a:pt x="376" y="500"/>
                  </a:cubicBezTo>
                  <a:cubicBezTo>
                    <a:pt x="351" y="500"/>
                    <a:pt x="325" y="500"/>
                    <a:pt x="300" y="500"/>
                  </a:cubicBezTo>
                  <a:cubicBezTo>
                    <a:pt x="300" y="526"/>
                    <a:pt x="300" y="551"/>
                    <a:pt x="300" y="600"/>
                  </a:cubicBezTo>
                  <a:cubicBezTo>
                    <a:pt x="300" y="626"/>
                    <a:pt x="276" y="675"/>
                    <a:pt x="250" y="726"/>
                  </a:cubicBezTo>
                  <a:cubicBezTo>
                    <a:pt x="200" y="751"/>
                    <a:pt x="250" y="751"/>
                    <a:pt x="250" y="775"/>
                  </a:cubicBezTo>
                  <a:cubicBezTo>
                    <a:pt x="276" y="775"/>
                    <a:pt x="276" y="800"/>
                    <a:pt x="250" y="826"/>
                  </a:cubicBezTo>
                  <a:cubicBezTo>
                    <a:pt x="250" y="851"/>
                    <a:pt x="225" y="826"/>
                    <a:pt x="200" y="826"/>
                  </a:cubicBezTo>
                  <a:cubicBezTo>
                    <a:pt x="176" y="826"/>
                    <a:pt x="125" y="851"/>
                    <a:pt x="100" y="875"/>
                  </a:cubicBezTo>
                  <a:cubicBezTo>
                    <a:pt x="76" y="926"/>
                    <a:pt x="76" y="951"/>
                    <a:pt x="100" y="975"/>
                  </a:cubicBezTo>
                  <a:cubicBezTo>
                    <a:pt x="100" y="1000"/>
                    <a:pt x="76" y="1026"/>
                    <a:pt x="100" y="1075"/>
                  </a:cubicBezTo>
                  <a:cubicBezTo>
                    <a:pt x="125" y="1126"/>
                    <a:pt x="76" y="1126"/>
                    <a:pt x="100" y="1151"/>
                  </a:cubicBezTo>
                  <a:cubicBezTo>
                    <a:pt x="100" y="1200"/>
                    <a:pt x="151" y="1200"/>
                    <a:pt x="151" y="1226"/>
                  </a:cubicBezTo>
                  <a:cubicBezTo>
                    <a:pt x="151" y="1275"/>
                    <a:pt x="125" y="1275"/>
                    <a:pt x="125" y="1275"/>
                  </a:cubicBezTo>
                  <a:cubicBezTo>
                    <a:pt x="100" y="1275"/>
                    <a:pt x="100" y="1300"/>
                    <a:pt x="125" y="1326"/>
                  </a:cubicBezTo>
                  <a:cubicBezTo>
                    <a:pt x="151" y="1326"/>
                    <a:pt x="125" y="1400"/>
                    <a:pt x="125" y="1400"/>
                  </a:cubicBezTo>
                  <a:cubicBezTo>
                    <a:pt x="125" y="1425"/>
                    <a:pt x="51" y="1400"/>
                    <a:pt x="76" y="1425"/>
                  </a:cubicBezTo>
                  <a:cubicBezTo>
                    <a:pt x="76" y="1451"/>
                    <a:pt x="51" y="1500"/>
                    <a:pt x="51" y="1500"/>
                  </a:cubicBezTo>
                  <a:cubicBezTo>
                    <a:pt x="51" y="1526"/>
                    <a:pt x="51" y="1576"/>
                    <a:pt x="25" y="1576"/>
                  </a:cubicBezTo>
                  <a:lnTo>
                    <a:pt x="0" y="1576"/>
                  </a:lnTo>
                  <a:lnTo>
                    <a:pt x="0" y="1576"/>
                  </a:lnTo>
                  <a:cubicBezTo>
                    <a:pt x="0" y="1600"/>
                    <a:pt x="0" y="1651"/>
                    <a:pt x="51" y="1676"/>
                  </a:cubicBezTo>
                  <a:cubicBezTo>
                    <a:pt x="76" y="1700"/>
                    <a:pt x="51" y="1726"/>
                    <a:pt x="76" y="1776"/>
                  </a:cubicBezTo>
                  <a:cubicBezTo>
                    <a:pt x="100" y="1800"/>
                    <a:pt x="100" y="1826"/>
                    <a:pt x="125" y="1851"/>
                  </a:cubicBezTo>
                  <a:cubicBezTo>
                    <a:pt x="151" y="1876"/>
                    <a:pt x="151" y="1900"/>
                    <a:pt x="151" y="1926"/>
                  </a:cubicBezTo>
                  <a:cubicBezTo>
                    <a:pt x="125" y="1951"/>
                    <a:pt x="176" y="1951"/>
                    <a:pt x="176" y="1976"/>
                  </a:cubicBezTo>
                  <a:cubicBezTo>
                    <a:pt x="176" y="1976"/>
                    <a:pt x="151" y="2026"/>
                    <a:pt x="176" y="2051"/>
                  </a:cubicBezTo>
                  <a:cubicBezTo>
                    <a:pt x="176" y="2076"/>
                    <a:pt x="200" y="2051"/>
                    <a:pt x="250" y="2051"/>
                  </a:cubicBezTo>
                  <a:cubicBezTo>
                    <a:pt x="276" y="2051"/>
                    <a:pt x="276" y="2026"/>
                    <a:pt x="276" y="2000"/>
                  </a:cubicBezTo>
                  <a:cubicBezTo>
                    <a:pt x="276" y="1951"/>
                    <a:pt x="300" y="1976"/>
                    <a:pt x="300" y="1951"/>
                  </a:cubicBezTo>
                  <a:cubicBezTo>
                    <a:pt x="300" y="1951"/>
                    <a:pt x="351" y="1926"/>
                    <a:pt x="376" y="1951"/>
                  </a:cubicBezTo>
                  <a:cubicBezTo>
                    <a:pt x="425" y="1976"/>
                    <a:pt x="425" y="1951"/>
                    <a:pt x="451" y="1900"/>
                  </a:cubicBezTo>
                  <a:cubicBezTo>
                    <a:pt x="451" y="1876"/>
                    <a:pt x="451" y="1926"/>
                    <a:pt x="476" y="1926"/>
                  </a:cubicBezTo>
                  <a:cubicBezTo>
                    <a:pt x="476" y="1926"/>
                    <a:pt x="501" y="1876"/>
                    <a:pt x="525" y="1826"/>
                  </a:cubicBezTo>
                  <a:cubicBezTo>
                    <a:pt x="551" y="1800"/>
                    <a:pt x="525" y="1800"/>
                    <a:pt x="501" y="1851"/>
                  </a:cubicBezTo>
                  <a:cubicBezTo>
                    <a:pt x="451" y="1876"/>
                    <a:pt x="476" y="1800"/>
                    <a:pt x="501" y="1776"/>
                  </a:cubicBezTo>
                  <a:cubicBezTo>
                    <a:pt x="501" y="1751"/>
                    <a:pt x="501" y="1651"/>
                    <a:pt x="501" y="1651"/>
                  </a:cubicBezTo>
                  <a:cubicBezTo>
                    <a:pt x="501" y="1626"/>
                    <a:pt x="525" y="1600"/>
                    <a:pt x="551" y="1576"/>
                  </a:cubicBezTo>
                  <a:cubicBezTo>
                    <a:pt x="601" y="1576"/>
                    <a:pt x="651" y="1526"/>
                    <a:pt x="651" y="1500"/>
                  </a:cubicBezTo>
                  <a:cubicBezTo>
                    <a:pt x="625" y="1476"/>
                    <a:pt x="701" y="1451"/>
                    <a:pt x="701" y="1425"/>
                  </a:cubicBezTo>
                  <a:cubicBezTo>
                    <a:pt x="701" y="1400"/>
                    <a:pt x="625" y="1351"/>
                    <a:pt x="601" y="1326"/>
                  </a:cubicBezTo>
                  <a:cubicBezTo>
                    <a:pt x="576" y="1326"/>
                    <a:pt x="551" y="1326"/>
                    <a:pt x="551" y="1300"/>
                  </a:cubicBezTo>
                  <a:cubicBezTo>
                    <a:pt x="551" y="1300"/>
                    <a:pt x="525" y="1226"/>
                    <a:pt x="525" y="1200"/>
                  </a:cubicBezTo>
                  <a:cubicBezTo>
                    <a:pt x="525" y="1175"/>
                    <a:pt x="576" y="1151"/>
                    <a:pt x="576" y="1126"/>
                  </a:cubicBezTo>
                  <a:cubicBezTo>
                    <a:pt x="576" y="1075"/>
                    <a:pt x="576" y="1051"/>
                    <a:pt x="601" y="1051"/>
                  </a:cubicBezTo>
                  <a:cubicBezTo>
                    <a:pt x="625" y="1026"/>
                    <a:pt x="601" y="1000"/>
                    <a:pt x="625" y="1000"/>
                  </a:cubicBezTo>
                  <a:cubicBezTo>
                    <a:pt x="676" y="1000"/>
                    <a:pt x="676" y="951"/>
                    <a:pt x="701" y="926"/>
                  </a:cubicBezTo>
                  <a:cubicBezTo>
                    <a:pt x="751" y="900"/>
                    <a:pt x="751" y="900"/>
                    <a:pt x="801" y="875"/>
                  </a:cubicBezTo>
                  <a:cubicBezTo>
                    <a:pt x="851" y="851"/>
                    <a:pt x="925" y="800"/>
                    <a:pt x="925" y="775"/>
                  </a:cubicBezTo>
                  <a:cubicBezTo>
                    <a:pt x="951" y="726"/>
                    <a:pt x="876" y="700"/>
                    <a:pt x="925" y="675"/>
                  </a:cubicBezTo>
                  <a:cubicBezTo>
                    <a:pt x="976" y="651"/>
                    <a:pt x="925" y="600"/>
                    <a:pt x="951" y="600"/>
                  </a:cubicBezTo>
                  <a:cubicBezTo>
                    <a:pt x="1001" y="575"/>
                    <a:pt x="1001" y="575"/>
                    <a:pt x="1025" y="551"/>
                  </a:cubicBezTo>
                  <a:cubicBezTo>
                    <a:pt x="1051" y="526"/>
                    <a:pt x="1076" y="551"/>
                    <a:pt x="1125" y="551"/>
                  </a:cubicBezTo>
                  <a:cubicBezTo>
                    <a:pt x="1151" y="526"/>
                    <a:pt x="1151" y="551"/>
                    <a:pt x="1176" y="551"/>
                  </a:cubicBezTo>
                  <a:cubicBezTo>
                    <a:pt x="1176" y="526"/>
                    <a:pt x="1176" y="500"/>
                    <a:pt x="1151" y="500"/>
                  </a:cubicBezTo>
                  <a:close/>
                  <a:moveTo>
                    <a:pt x="701" y="1726"/>
                  </a:moveTo>
                  <a:lnTo>
                    <a:pt x="701" y="1726"/>
                  </a:lnTo>
                  <a:cubicBezTo>
                    <a:pt x="625" y="1726"/>
                    <a:pt x="601" y="1826"/>
                    <a:pt x="625" y="1851"/>
                  </a:cubicBezTo>
                  <a:cubicBezTo>
                    <a:pt x="625" y="1851"/>
                    <a:pt x="751" y="1726"/>
                    <a:pt x="701" y="1726"/>
                  </a:cubicBezTo>
                  <a:close/>
                </a:path>
              </a:pathLst>
            </a:custGeom>
            <a:no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1" name="Freeform 207">
              <a:extLst>
                <a:ext uri="{FF2B5EF4-FFF2-40B4-BE49-F238E27FC236}">
                  <a16:creationId xmlns:a16="http://schemas.microsoft.com/office/drawing/2014/main" id="{2050DB9F-8278-5827-2ADE-2FB9E1CBB3F8}"/>
                </a:ext>
              </a:extLst>
            </p:cNvPr>
            <p:cNvSpPr>
              <a:spLocks noChangeArrowheads="1"/>
            </p:cNvSpPr>
            <p:nvPr/>
          </p:nvSpPr>
          <p:spPr bwMode="auto">
            <a:xfrm>
              <a:off x="6975691" y="3434429"/>
              <a:ext cx="288224" cy="150763"/>
            </a:xfrm>
            <a:custGeom>
              <a:avLst/>
              <a:gdLst>
                <a:gd name="T0" fmla="*/ 525 w 575"/>
                <a:gd name="T1" fmla="*/ 100 h 301"/>
                <a:gd name="T2" fmla="*/ 525 w 575"/>
                <a:gd name="T3" fmla="*/ 100 h 301"/>
                <a:gd name="T4" fmla="*/ 550 w 575"/>
                <a:gd name="T5" fmla="*/ 25 h 301"/>
                <a:gd name="T6" fmla="*/ 525 w 575"/>
                <a:gd name="T7" fmla="*/ 49 h 301"/>
                <a:gd name="T8" fmla="*/ 350 w 575"/>
                <a:gd name="T9" fmla="*/ 25 h 301"/>
                <a:gd name="T10" fmla="*/ 175 w 575"/>
                <a:gd name="T11" fmla="*/ 49 h 301"/>
                <a:gd name="T12" fmla="*/ 125 w 575"/>
                <a:gd name="T13" fmla="*/ 100 h 301"/>
                <a:gd name="T14" fmla="*/ 149 w 575"/>
                <a:gd name="T15" fmla="*/ 175 h 301"/>
                <a:gd name="T16" fmla="*/ 200 w 575"/>
                <a:gd name="T17" fmla="*/ 200 h 301"/>
                <a:gd name="T18" fmla="*/ 225 w 575"/>
                <a:gd name="T19" fmla="*/ 249 h 301"/>
                <a:gd name="T20" fmla="*/ 225 w 575"/>
                <a:gd name="T21" fmla="*/ 249 h 301"/>
                <a:gd name="T22" fmla="*/ 325 w 575"/>
                <a:gd name="T23" fmla="*/ 249 h 301"/>
                <a:gd name="T24" fmla="*/ 425 w 575"/>
                <a:gd name="T25" fmla="*/ 300 h 301"/>
                <a:gd name="T26" fmla="*/ 500 w 575"/>
                <a:gd name="T27" fmla="*/ 300 h 301"/>
                <a:gd name="T28" fmla="*/ 500 w 575"/>
                <a:gd name="T29" fmla="*/ 275 h 301"/>
                <a:gd name="T30" fmla="*/ 525 w 575"/>
                <a:gd name="T31" fmla="*/ 249 h 301"/>
                <a:gd name="T32" fmla="*/ 500 w 575"/>
                <a:gd name="T33" fmla="*/ 200 h 301"/>
                <a:gd name="T34" fmla="*/ 500 w 575"/>
                <a:gd name="T35" fmla="*/ 149 h 301"/>
                <a:gd name="T36" fmla="*/ 525 w 575"/>
                <a:gd name="T37" fmla="*/ 100 h 301"/>
                <a:gd name="T38" fmla="*/ 49 w 575"/>
                <a:gd name="T39" fmla="*/ 149 h 301"/>
                <a:gd name="T40" fmla="*/ 49 w 575"/>
                <a:gd name="T41" fmla="*/ 149 h 301"/>
                <a:gd name="T42" fmla="*/ 0 w 575"/>
                <a:gd name="T43" fmla="*/ 249 h 301"/>
                <a:gd name="T44" fmla="*/ 100 w 575"/>
                <a:gd name="T45" fmla="*/ 175 h 301"/>
                <a:gd name="T46" fmla="*/ 49 w 575"/>
                <a:gd name="T47" fmla="*/ 149 h 301"/>
                <a:gd name="T48" fmla="*/ 75 w 575"/>
                <a:gd name="T49" fmla="*/ 125 h 301"/>
                <a:gd name="T50" fmla="*/ 75 w 575"/>
                <a:gd name="T51" fmla="*/ 125 h 301"/>
                <a:gd name="T52" fmla="*/ 25 w 575"/>
                <a:gd name="T53" fmla="*/ 125 h 301"/>
                <a:gd name="T54" fmla="*/ 75 w 575"/>
                <a:gd name="T5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5" h="301">
                  <a:moveTo>
                    <a:pt x="525" y="100"/>
                  </a:moveTo>
                  <a:lnTo>
                    <a:pt x="525" y="100"/>
                  </a:lnTo>
                  <a:cubicBezTo>
                    <a:pt x="550" y="75"/>
                    <a:pt x="574" y="49"/>
                    <a:pt x="550" y="25"/>
                  </a:cubicBezTo>
                  <a:cubicBezTo>
                    <a:pt x="550" y="25"/>
                    <a:pt x="550" y="25"/>
                    <a:pt x="525" y="49"/>
                  </a:cubicBezTo>
                  <a:cubicBezTo>
                    <a:pt x="500" y="49"/>
                    <a:pt x="400" y="0"/>
                    <a:pt x="350" y="25"/>
                  </a:cubicBezTo>
                  <a:cubicBezTo>
                    <a:pt x="300" y="25"/>
                    <a:pt x="200" y="25"/>
                    <a:pt x="175" y="49"/>
                  </a:cubicBezTo>
                  <a:cubicBezTo>
                    <a:pt x="149" y="75"/>
                    <a:pt x="100" y="75"/>
                    <a:pt x="125" y="100"/>
                  </a:cubicBezTo>
                  <a:cubicBezTo>
                    <a:pt x="149" y="125"/>
                    <a:pt x="125" y="149"/>
                    <a:pt x="149" y="175"/>
                  </a:cubicBezTo>
                  <a:cubicBezTo>
                    <a:pt x="175" y="200"/>
                    <a:pt x="175" y="200"/>
                    <a:pt x="200" y="200"/>
                  </a:cubicBezTo>
                  <a:cubicBezTo>
                    <a:pt x="225" y="200"/>
                    <a:pt x="249" y="200"/>
                    <a:pt x="225" y="249"/>
                  </a:cubicBezTo>
                  <a:lnTo>
                    <a:pt x="225" y="249"/>
                  </a:lnTo>
                  <a:cubicBezTo>
                    <a:pt x="275" y="225"/>
                    <a:pt x="325" y="225"/>
                    <a:pt x="325" y="249"/>
                  </a:cubicBezTo>
                  <a:cubicBezTo>
                    <a:pt x="325" y="249"/>
                    <a:pt x="400" y="300"/>
                    <a:pt x="425" y="300"/>
                  </a:cubicBezTo>
                  <a:cubicBezTo>
                    <a:pt x="425" y="300"/>
                    <a:pt x="475" y="300"/>
                    <a:pt x="500" y="300"/>
                  </a:cubicBezTo>
                  <a:lnTo>
                    <a:pt x="500" y="275"/>
                  </a:lnTo>
                  <a:cubicBezTo>
                    <a:pt x="525" y="275"/>
                    <a:pt x="550" y="275"/>
                    <a:pt x="525" y="249"/>
                  </a:cubicBezTo>
                  <a:cubicBezTo>
                    <a:pt x="525" y="225"/>
                    <a:pt x="525" y="225"/>
                    <a:pt x="500" y="200"/>
                  </a:cubicBezTo>
                  <a:cubicBezTo>
                    <a:pt x="500" y="175"/>
                    <a:pt x="500" y="149"/>
                    <a:pt x="500" y="149"/>
                  </a:cubicBezTo>
                  <a:cubicBezTo>
                    <a:pt x="500" y="125"/>
                    <a:pt x="525" y="125"/>
                    <a:pt x="525" y="100"/>
                  </a:cubicBezTo>
                  <a:close/>
                  <a:moveTo>
                    <a:pt x="49" y="149"/>
                  </a:moveTo>
                  <a:lnTo>
                    <a:pt x="49" y="149"/>
                  </a:lnTo>
                  <a:cubicBezTo>
                    <a:pt x="0" y="175"/>
                    <a:pt x="0" y="249"/>
                    <a:pt x="0" y="249"/>
                  </a:cubicBezTo>
                  <a:cubicBezTo>
                    <a:pt x="25" y="249"/>
                    <a:pt x="100" y="200"/>
                    <a:pt x="100" y="175"/>
                  </a:cubicBezTo>
                  <a:cubicBezTo>
                    <a:pt x="125" y="149"/>
                    <a:pt x="100" y="149"/>
                    <a:pt x="49" y="149"/>
                  </a:cubicBezTo>
                  <a:close/>
                  <a:moveTo>
                    <a:pt x="75" y="125"/>
                  </a:moveTo>
                  <a:lnTo>
                    <a:pt x="75" y="125"/>
                  </a:lnTo>
                  <a:cubicBezTo>
                    <a:pt x="100" y="100"/>
                    <a:pt x="0" y="100"/>
                    <a:pt x="25" y="125"/>
                  </a:cubicBezTo>
                  <a:cubicBezTo>
                    <a:pt x="49" y="149"/>
                    <a:pt x="75" y="149"/>
                    <a:pt x="75" y="125"/>
                  </a:cubicBezTo>
                  <a:close/>
                </a:path>
              </a:pathLst>
            </a:custGeom>
            <a:solidFill>
              <a:srgbClr val="000C47"/>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2" name="Freeform 208">
              <a:extLst>
                <a:ext uri="{FF2B5EF4-FFF2-40B4-BE49-F238E27FC236}">
                  <a16:creationId xmlns:a16="http://schemas.microsoft.com/office/drawing/2014/main" id="{0DB6F615-04A2-C3EE-68E1-949DF4095325}"/>
                </a:ext>
              </a:extLst>
            </p:cNvPr>
            <p:cNvSpPr>
              <a:spLocks noChangeArrowheads="1"/>
            </p:cNvSpPr>
            <p:nvPr/>
          </p:nvSpPr>
          <p:spPr bwMode="auto">
            <a:xfrm>
              <a:off x="6184182" y="2527634"/>
              <a:ext cx="1219409" cy="1030954"/>
            </a:xfrm>
            <a:custGeom>
              <a:avLst/>
              <a:gdLst>
                <a:gd name="T0" fmla="*/ 2325 w 2426"/>
                <a:gd name="T1" fmla="*/ 250 h 2051"/>
                <a:gd name="T2" fmla="*/ 2375 w 2426"/>
                <a:gd name="T3" fmla="*/ 176 h 2051"/>
                <a:gd name="T4" fmla="*/ 2300 w 2426"/>
                <a:gd name="T5" fmla="*/ 100 h 2051"/>
                <a:gd name="T6" fmla="*/ 2149 w 2426"/>
                <a:gd name="T7" fmla="*/ 125 h 2051"/>
                <a:gd name="T8" fmla="*/ 2075 w 2426"/>
                <a:gd name="T9" fmla="*/ 76 h 2051"/>
                <a:gd name="T10" fmla="*/ 1950 w 2426"/>
                <a:gd name="T11" fmla="*/ 100 h 2051"/>
                <a:gd name="T12" fmla="*/ 1950 w 2426"/>
                <a:gd name="T13" fmla="*/ 50 h 2051"/>
                <a:gd name="T14" fmla="*/ 1824 w 2426"/>
                <a:gd name="T15" fmla="*/ 50 h 2051"/>
                <a:gd name="T16" fmla="*/ 1724 w 2426"/>
                <a:gd name="T17" fmla="*/ 125 h 2051"/>
                <a:gd name="T18" fmla="*/ 1650 w 2426"/>
                <a:gd name="T19" fmla="*/ 150 h 2051"/>
                <a:gd name="T20" fmla="*/ 1675 w 2426"/>
                <a:gd name="T21" fmla="*/ 76 h 2051"/>
                <a:gd name="T22" fmla="*/ 1600 w 2426"/>
                <a:gd name="T23" fmla="*/ 176 h 2051"/>
                <a:gd name="T24" fmla="*/ 1524 w 2426"/>
                <a:gd name="T25" fmla="*/ 225 h 2051"/>
                <a:gd name="T26" fmla="*/ 1475 w 2426"/>
                <a:gd name="T27" fmla="*/ 276 h 2051"/>
                <a:gd name="T28" fmla="*/ 1375 w 2426"/>
                <a:gd name="T29" fmla="*/ 200 h 2051"/>
                <a:gd name="T30" fmla="*/ 1275 w 2426"/>
                <a:gd name="T31" fmla="*/ 276 h 2051"/>
                <a:gd name="T32" fmla="*/ 1150 w 2426"/>
                <a:gd name="T33" fmla="*/ 300 h 2051"/>
                <a:gd name="T34" fmla="*/ 1175 w 2426"/>
                <a:gd name="T35" fmla="*/ 400 h 2051"/>
                <a:gd name="T36" fmla="*/ 1075 w 2426"/>
                <a:gd name="T37" fmla="*/ 400 h 2051"/>
                <a:gd name="T38" fmla="*/ 999 w 2426"/>
                <a:gd name="T39" fmla="*/ 400 h 2051"/>
                <a:gd name="T40" fmla="*/ 775 w 2426"/>
                <a:gd name="T41" fmla="*/ 550 h 2051"/>
                <a:gd name="T42" fmla="*/ 975 w 2426"/>
                <a:gd name="T43" fmla="*/ 475 h 2051"/>
                <a:gd name="T44" fmla="*/ 1075 w 2426"/>
                <a:gd name="T45" fmla="*/ 525 h 2051"/>
                <a:gd name="T46" fmla="*/ 975 w 2426"/>
                <a:gd name="T47" fmla="*/ 550 h 2051"/>
                <a:gd name="T48" fmla="*/ 799 w 2426"/>
                <a:gd name="T49" fmla="*/ 776 h 2051"/>
                <a:gd name="T50" fmla="*/ 699 w 2426"/>
                <a:gd name="T51" fmla="*/ 950 h 2051"/>
                <a:gd name="T52" fmla="*/ 576 w 2426"/>
                <a:gd name="T53" fmla="*/ 1025 h 2051"/>
                <a:gd name="T54" fmla="*/ 525 w 2426"/>
                <a:gd name="T55" fmla="*/ 1125 h 2051"/>
                <a:gd name="T56" fmla="*/ 376 w 2426"/>
                <a:gd name="T57" fmla="*/ 1225 h 2051"/>
                <a:gd name="T58" fmla="*/ 225 w 2426"/>
                <a:gd name="T59" fmla="*/ 1350 h 2051"/>
                <a:gd name="T60" fmla="*/ 125 w 2426"/>
                <a:gd name="T61" fmla="*/ 1425 h 2051"/>
                <a:gd name="T62" fmla="*/ 0 w 2426"/>
                <a:gd name="T63" fmla="*/ 1501 h 2051"/>
                <a:gd name="T64" fmla="*/ 25 w 2426"/>
                <a:gd name="T65" fmla="*/ 1625 h 2051"/>
                <a:gd name="T66" fmla="*/ 75 w 2426"/>
                <a:gd name="T67" fmla="*/ 1750 h 2051"/>
                <a:gd name="T68" fmla="*/ 100 w 2426"/>
                <a:gd name="T69" fmla="*/ 1801 h 2051"/>
                <a:gd name="T70" fmla="*/ 25 w 2426"/>
                <a:gd name="T71" fmla="*/ 1850 h 2051"/>
                <a:gd name="T72" fmla="*/ 100 w 2426"/>
                <a:gd name="T73" fmla="*/ 1901 h 2051"/>
                <a:gd name="T74" fmla="*/ 276 w 2426"/>
                <a:gd name="T75" fmla="*/ 2026 h 2051"/>
                <a:gd name="T76" fmla="*/ 551 w 2426"/>
                <a:gd name="T77" fmla="*/ 1826 h 2051"/>
                <a:gd name="T78" fmla="*/ 624 w 2426"/>
                <a:gd name="T79" fmla="*/ 1926 h 2051"/>
                <a:gd name="T80" fmla="*/ 724 w 2426"/>
                <a:gd name="T81" fmla="*/ 1750 h 2051"/>
                <a:gd name="T82" fmla="*/ 750 w 2426"/>
                <a:gd name="T83" fmla="*/ 1576 h 2051"/>
                <a:gd name="T84" fmla="*/ 699 w 2426"/>
                <a:gd name="T85" fmla="*/ 1325 h 2051"/>
                <a:gd name="T86" fmla="*/ 849 w 2426"/>
                <a:gd name="T87" fmla="*/ 1176 h 2051"/>
                <a:gd name="T88" fmla="*/ 899 w 2426"/>
                <a:gd name="T89" fmla="*/ 950 h 2051"/>
                <a:gd name="T90" fmla="*/ 999 w 2426"/>
                <a:gd name="T91" fmla="*/ 776 h 2051"/>
                <a:gd name="T92" fmla="*/ 1100 w 2426"/>
                <a:gd name="T93" fmla="*/ 601 h 2051"/>
                <a:gd name="T94" fmla="*/ 1250 w 2426"/>
                <a:gd name="T95" fmla="*/ 450 h 2051"/>
                <a:gd name="T96" fmla="*/ 1475 w 2426"/>
                <a:gd name="T97" fmla="*/ 375 h 2051"/>
                <a:gd name="T98" fmla="*/ 1650 w 2426"/>
                <a:gd name="T99" fmla="*/ 425 h 2051"/>
                <a:gd name="T100" fmla="*/ 1875 w 2426"/>
                <a:gd name="T101" fmla="*/ 450 h 2051"/>
                <a:gd name="T102" fmla="*/ 2000 w 2426"/>
                <a:gd name="T103" fmla="*/ 250 h 2051"/>
                <a:gd name="T104" fmla="*/ 2250 w 2426"/>
                <a:gd name="T105" fmla="*/ 276 h 2051"/>
                <a:gd name="T106" fmla="*/ 2375 w 2426"/>
                <a:gd name="T107" fmla="*/ 276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26" h="2051">
                  <a:moveTo>
                    <a:pt x="2349" y="250"/>
                  </a:moveTo>
                  <a:lnTo>
                    <a:pt x="2349" y="250"/>
                  </a:lnTo>
                  <a:cubicBezTo>
                    <a:pt x="2349" y="276"/>
                    <a:pt x="2325" y="276"/>
                    <a:pt x="2325" y="250"/>
                  </a:cubicBezTo>
                  <a:cubicBezTo>
                    <a:pt x="2325" y="225"/>
                    <a:pt x="2250" y="200"/>
                    <a:pt x="2250" y="200"/>
                  </a:cubicBezTo>
                  <a:cubicBezTo>
                    <a:pt x="2250" y="200"/>
                    <a:pt x="2275" y="200"/>
                    <a:pt x="2300" y="200"/>
                  </a:cubicBezTo>
                  <a:cubicBezTo>
                    <a:pt x="2325" y="225"/>
                    <a:pt x="2349" y="200"/>
                    <a:pt x="2375" y="176"/>
                  </a:cubicBezTo>
                  <a:cubicBezTo>
                    <a:pt x="2400" y="150"/>
                    <a:pt x="2425" y="176"/>
                    <a:pt x="2425" y="150"/>
                  </a:cubicBezTo>
                  <a:lnTo>
                    <a:pt x="2375" y="125"/>
                  </a:lnTo>
                  <a:cubicBezTo>
                    <a:pt x="2375" y="100"/>
                    <a:pt x="2349" y="76"/>
                    <a:pt x="2300" y="100"/>
                  </a:cubicBezTo>
                  <a:cubicBezTo>
                    <a:pt x="2275" y="100"/>
                    <a:pt x="2275" y="76"/>
                    <a:pt x="2250" y="76"/>
                  </a:cubicBezTo>
                  <a:cubicBezTo>
                    <a:pt x="2250" y="50"/>
                    <a:pt x="2175" y="76"/>
                    <a:pt x="2175" y="125"/>
                  </a:cubicBezTo>
                  <a:cubicBezTo>
                    <a:pt x="2175" y="150"/>
                    <a:pt x="2149" y="150"/>
                    <a:pt x="2149" y="125"/>
                  </a:cubicBezTo>
                  <a:cubicBezTo>
                    <a:pt x="2175" y="100"/>
                    <a:pt x="2149" y="76"/>
                    <a:pt x="2175" y="76"/>
                  </a:cubicBezTo>
                  <a:cubicBezTo>
                    <a:pt x="2200" y="76"/>
                    <a:pt x="2175" y="25"/>
                    <a:pt x="2125" y="25"/>
                  </a:cubicBezTo>
                  <a:cubicBezTo>
                    <a:pt x="2075" y="25"/>
                    <a:pt x="2075" y="50"/>
                    <a:pt x="2075" y="76"/>
                  </a:cubicBezTo>
                  <a:cubicBezTo>
                    <a:pt x="2100" y="76"/>
                    <a:pt x="2050" y="150"/>
                    <a:pt x="2025" y="150"/>
                  </a:cubicBezTo>
                  <a:cubicBezTo>
                    <a:pt x="2000" y="150"/>
                    <a:pt x="2025" y="100"/>
                    <a:pt x="2025" y="76"/>
                  </a:cubicBezTo>
                  <a:cubicBezTo>
                    <a:pt x="2025" y="50"/>
                    <a:pt x="2000" y="50"/>
                    <a:pt x="1950" y="100"/>
                  </a:cubicBezTo>
                  <a:cubicBezTo>
                    <a:pt x="1925" y="150"/>
                    <a:pt x="1900" y="176"/>
                    <a:pt x="1875" y="176"/>
                  </a:cubicBezTo>
                  <a:cubicBezTo>
                    <a:pt x="1850" y="200"/>
                    <a:pt x="1850" y="150"/>
                    <a:pt x="1900" y="125"/>
                  </a:cubicBezTo>
                  <a:cubicBezTo>
                    <a:pt x="1925" y="100"/>
                    <a:pt x="1925" y="50"/>
                    <a:pt x="1950" y="50"/>
                  </a:cubicBezTo>
                  <a:cubicBezTo>
                    <a:pt x="1975" y="50"/>
                    <a:pt x="1975" y="25"/>
                    <a:pt x="1950" y="25"/>
                  </a:cubicBezTo>
                  <a:cubicBezTo>
                    <a:pt x="1900" y="0"/>
                    <a:pt x="1900" y="50"/>
                    <a:pt x="1875" y="50"/>
                  </a:cubicBezTo>
                  <a:cubicBezTo>
                    <a:pt x="1875" y="76"/>
                    <a:pt x="1824" y="50"/>
                    <a:pt x="1824" y="50"/>
                  </a:cubicBezTo>
                  <a:cubicBezTo>
                    <a:pt x="1824" y="76"/>
                    <a:pt x="1800" y="76"/>
                    <a:pt x="1800" y="100"/>
                  </a:cubicBezTo>
                  <a:cubicBezTo>
                    <a:pt x="1824" y="100"/>
                    <a:pt x="1800" y="125"/>
                    <a:pt x="1775" y="100"/>
                  </a:cubicBezTo>
                  <a:cubicBezTo>
                    <a:pt x="1775" y="76"/>
                    <a:pt x="1724" y="100"/>
                    <a:pt x="1724" y="125"/>
                  </a:cubicBezTo>
                  <a:cubicBezTo>
                    <a:pt x="1700" y="150"/>
                    <a:pt x="1675" y="150"/>
                    <a:pt x="1700" y="150"/>
                  </a:cubicBezTo>
                  <a:cubicBezTo>
                    <a:pt x="1700" y="176"/>
                    <a:pt x="1700" y="200"/>
                    <a:pt x="1675" y="225"/>
                  </a:cubicBezTo>
                  <a:cubicBezTo>
                    <a:pt x="1650" y="225"/>
                    <a:pt x="1675" y="150"/>
                    <a:pt x="1650" y="150"/>
                  </a:cubicBezTo>
                  <a:cubicBezTo>
                    <a:pt x="1624" y="150"/>
                    <a:pt x="1650" y="125"/>
                    <a:pt x="1675" y="125"/>
                  </a:cubicBezTo>
                  <a:cubicBezTo>
                    <a:pt x="1700" y="125"/>
                    <a:pt x="1724" y="76"/>
                    <a:pt x="1724" y="76"/>
                  </a:cubicBezTo>
                  <a:cubicBezTo>
                    <a:pt x="1724" y="50"/>
                    <a:pt x="1675" y="50"/>
                    <a:pt x="1675" y="76"/>
                  </a:cubicBezTo>
                  <a:cubicBezTo>
                    <a:pt x="1675" y="100"/>
                    <a:pt x="1650" y="100"/>
                    <a:pt x="1600" y="100"/>
                  </a:cubicBezTo>
                  <a:cubicBezTo>
                    <a:pt x="1575" y="100"/>
                    <a:pt x="1575" y="125"/>
                    <a:pt x="1624" y="150"/>
                  </a:cubicBezTo>
                  <a:cubicBezTo>
                    <a:pt x="1650" y="176"/>
                    <a:pt x="1600" y="200"/>
                    <a:pt x="1600" y="176"/>
                  </a:cubicBezTo>
                  <a:cubicBezTo>
                    <a:pt x="1575" y="150"/>
                    <a:pt x="1550" y="176"/>
                    <a:pt x="1524" y="176"/>
                  </a:cubicBezTo>
                  <a:cubicBezTo>
                    <a:pt x="1500" y="176"/>
                    <a:pt x="1575" y="200"/>
                    <a:pt x="1575" y="225"/>
                  </a:cubicBezTo>
                  <a:cubicBezTo>
                    <a:pt x="1575" y="225"/>
                    <a:pt x="1524" y="200"/>
                    <a:pt x="1524" y="225"/>
                  </a:cubicBezTo>
                  <a:cubicBezTo>
                    <a:pt x="1524" y="225"/>
                    <a:pt x="1475" y="200"/>
                    <a:pt x="1475" y="176"/>
                  </a:cubicBezTo>
                  <a:cubicBezTo>
                    <a:pt x="1475" y="176"/>
                    <a:pt x="1400" y="200"/>
                    <a:pt x="1450" y="200"/>
                  </a:cubicBezTo>
                  <a:cubicBezTo>
                    <a:pt x="1475" y="225"/>
                    <a:pt x="1475" y="225"/>
                    <a:pt x="1475" y="276"/>
                  </a:cubicBezTo>
                  <a:cubicBezTo>
                    <a:pt x="1475" y="300"/>
                    <a:pt x="1424" y="276"/>
                    <a:pt x="1424" y="250"/>
                  </a:cubicBezTo>
                  <a:cubicBezTo>
                    <a:pt x="1450" y="225"/>
                    <a:pt x="1400" y="225"/>
                    <a:pt x="1375" y="250"/>
                  </a:cubicBezTo>
                  <a:cubicBezTo>
                    <a:pt x="1350" y="250"/>
                    <a:pt x="1400" y="200"/>
                    <a:pt x="1375" y="200"/>
                  </a:cubicBezTo>
                  <a:cubicBezTo>
                    <a:pt x="1375" y="176"/>
                    <a:pt x="1350" y="200"/>
                    <a:pt x="1300" y="200"/>
                  </a:cubicBezTo>
                  <a:cubicBezTo>
                    <a:pt x="1275" y="200"/>
                    <a:pt x="1275" y="200"/>
                    <a:pt x="1275" y="225"/>
                  </a:cubicBezTo>
                  <a:cubicBezTo>
                    <a:pt x="1300" y="250"/>
                    <a:pt x="1300" y="276"/>
                    <a:pt x="1275" y="276"/>
                  </a:cubicBezTo>
                  <a:cubicBezTo>
                    <a:pt x="1250" y="250"/>
                    <a:pt x="1250" y="276"/>
                    <a:pt x="1250" y="276"/>
                  </a:cubicBezTo>
                  <a:cubicBezTo>
                    <a:pt x="1250" y="300"/>
                    <a:pt x="1224" y="300"/>
                    <a:pt x="1224" y="300"/>
                  </a:cubicBezTo>
                  <a:cubicBezTo>
                    <a:pt x="1200" y="276"/>
                    <a:pt x="1175" y="276"/>
                    <a:pt x="1150" y="300"/>
                  </a:cubicBezTo>
                  <a:cubicBezTo>
                    <a:pt x="1124" y="325"/>
                    <a:pt x="1100" y="325"/>
                    <a:pt x="1100" y="350"/>
                  </a:cubicBezTo>
                  <a:cubicBezTo>
                    <a:pt x="1100" y="375"/>
                    <a:pt x="1124" y="350"/>
                    <a:pt x="1150" y="350"/>
                  </a:cubicBezTo>
                  <a:cubicBezTo>
                    <a:pt x="1175" y="375"/>
                    <a:pt x="1150" y="375"/>
                    <a:pt x="1175" y="400"/>
                  </a:cubicBezTo>
                  <a:lnTo>
                    <a:pt x="1175" y="425"/>
                  </a:lnTo>
                  <a:cubicBezTo>
                    <a:pt x="1150" y="400"/>
                    <a:pt x="1124" y="400"/>
                    <a:pt x="1124" y="425"/>
                  </a:cubicBezTo>
                  <a:cubicBezTo>
                    <a:pt x="1100" y="450"/>
                    <a:pt x="1100" y="425"/>
                    <a:pt x="1075" y="400"/>
                  </a:cubicBezTo>
                  <a:cubicBezTo>
                    <a:pt x="1050" y="375"/>
                    <a:pt x="1050" y="425"/>
                    <a:pt x="1024" y="425"/>
                  </a:cubicBezTo>
                  <a:cubicBezTo>
                    <a:pt x="999" y="400"/>
                    <a:pt x="1050" y="375"/>
                    <a:pt x="1050" y="350"/>
                  </a:cubicBezTo>
                  <a:cubicBezTo>
                    <a:pt x="1024" y="325"/>
                    <a:pt x="1024" y="350"/>
                    <a:pt x="999" y="400"/>
                  </a:cubicBezTo>
                  <a:cubicBezTo>
                    <a:pt x="950" y="425"/>
                    <a:pt x="924" y="425"/>
                    <a:pt x="924" y="425"/>
                  </a:cubicBezTo>
                  <a:cubicBezTo>
                    <a:pt x="950" y="450"/>
                    <a:pt x="899" y="450"/>
                    <a:pt x="899" y="475"/>
                  </a:cubicBezTo>
                  <a:cubicBezTo>
                    <a:pt x="875" y="501"/>
                    <a:pt x="824" y="525"/>
                    <a:pt x="775" y="550"/>
                  </a:cubicBezTo>
                  <a:cubicBezTo>
                    <a:pt x="724" y="576"/>
                    <a:pt x="775" y="576"/>
                    <a:pt x="799" y="550"/>
                  </a:cubicBezTo>
                  <a:cubicBezTo>
                    <a:pt x="824" y="525"/>
                    <a:pt x="849" y="550"/>
                    <a:pt x="875" y="525"/>
                  </a:cubicBezTo>
                  <a:cubicBezTo>
                    <a:pt x="924" y="501"/>
                    <a:pt x="950" y="475"/>
                    <a:pt x="975" y="475"/>
                  </a:cubicBezTo>
                  <a:cubicBezTo>
                    <a:pt x="975" y="501"/>
                    <a:pt x="999" y="501"/>
                    <a:pt x="1024" y="475"/>
                  </a:cubicBezTo>
                  <a:cubicBezTo>
                    <a:pt x="1050" y="450"/>
                    <a:pt x="1075" y="450"/>
                    <a:pt x="1075" y="475"/>
                  </a:cubicBezTo>
                  <a:cubicBezTo>
                    <a:pt x="1100" y="475"/>
                    <a:pt x="1050" y="501"/>
                    <a:pt x="1075" y="525"/>
                  </a:cubicBezTo>
                  <a:cubicBezTo>
                    <a:pt x="1100" y="550"/>
                    <a:pt x="1050" y="550"/>
                    <a:pt x="1050" y="525"/>
                  </a:cubicBezTo>
                  <a:cubicBezTo>
                    <a:pt x="1050" y="525"/>
                    <a:pt x="1024" y="501"/>
                    <a:pt x="999" y="525"/>
                  </a:cubicBezTo>
                  <a:lnTo>
                    <a:pt x="975" y="550"/>
                  </a:lnTo>
                  <a:cubicBezTo>
                    <a:pt x="950" y="550"/>
                    <a:pt x="924" y="601"/>
                    <a:pt x="924" y="625"/>
                  </a:cubicBezTo>
                  <a:cubicBezTo>
                    <a:pt x="924" y="650"/>
                    <a:pt x="899" y="625"/>
                    <a:pt x="899" y="650"/>
                  </a:cubicBezTo>
                  <a:cubicBezTo>
                    <a:pt x="899" y="676"/>
                    <a:pt x="849" y="725"/>
                    <a:pt x="799" y="776"/>
                  </a:cubicBezTo>
                  <a:cubicBezTo>
                    <a:pt x="775" y="801"/>
                    <a:pt x="799" y="825"/>
                    <a:pt x="799" y="850"/>
                  </a:cubicBezTo>
                  <a:cubicBezTo>
                    <a:pt x="775" y="876"/>
                    <a:pt x="724" y="850"/>
                    <a:pt x="724" y="850"/>
                  </a:cubicBezTo>
                  <a:cubicBezTo>
                    <a:pt x="699" y="876"/>
                    <a:pt x="724" y="925"/>
                    <a:pt x="699" y="950"/>
                  </a:cubicBezTo>
                  <a:cubicBezTo>
                    <a:pt x="675" y="950"/>
                    <a:pt x="699" y="976"/>
                    <a:pt x="699" y="1001"/>
                  </a:cubicBezTo>
                  <a:cubicBezTo>
                    <a:pt x="699" y="1025"/>
                    <a:pt x="650" y="1001"/>
                    <a:pt x="650" y="1001"/>
                  </a:cubicBezTo>
                  <a:cubicBezTo>
                    <a:pt x="650" y="1025"/>
                    <a:pt x="599" y="1025"/>
                    <a:pt x="576" y="1025"/>
                  </a:cubicBezTo>
                  <a:cubicBezTo>
                    <a:pt x="576" y="1050"/>
                    <a:pt x="599" y="1076"/>
                    <a:pt x="624" y="1101"/>
                  </a:cubicBezTo>
                  <a:cubicBezTo>
                    <a:pt x="650" y="1101"/>
                    <a:pt x="599" y="1125"/>
                    <a:pt x="599" y="1101"/>
                  </a:cubicBezTo>
                  <a:cubicBezTo>
                    <a:pt x="599" y="1076"/>
                    <a:pt x="576" y="1125"/>
                    <a:pt x="525" y="1125"/>
                  </a:cubicBezTo>
                  <a:cubicBezTo>
                    <a:pt x="476" y="1150"/>
                    <a:pt x="500" y="1201"/>
                    <a:pt x="476" y="1201"/>
                  </a:cubicBezTo>
                  <a:cubicBezTo>
                    <a:pt x="425" y="1201"/>
                    <a:pt x="451" y="1250"/>
                    <a:pt x="425" y="1276"/>
                  </a:cubicBezTo>
                  <a:cubicBezTo>
                    <a:pt x="400" y="1276"/>
                    <a:pt x="400" y="1225"/>
                    <a:pt x="376" y="1225"/>
                  </a:cubicBezTo>
                  <a:cubicBezTo>
                    <a:pt x="325" y="1225"/>
                    <a:pt x="325" y="1250"/>
                    <a:pt x="351" y="1276"/>
                  </a:cubicBezTo>
                  <a:cubicBezTo>
                    <a:pt x="376" y="1301"/>
                    <a:pt x="325" y="1276"/>
                    <a:pt x="300" y="1301"/>
                  </a:cubicBezTo>
                  <a:cubicBezTo>
                    <a:pt x="276" y="1325"/>
                    <a:pt x="225" y="1325"/>
                    <a:pt x="225" y="1350"/>
                  </a:cubicBezTo>
                  <a:cubicBezTo>
                    <a:pt x="200" y="1376"/>
                    <a:pt x="251" y="1376"/>
                    <a:pt x="276" y="1376"/>
                  </a:cubicBezTo>
                  <a:cubicBezTo>
                    <a:pt x="276" y="1401"/>
                    <a:pt x="225" y="1401"/>
                    <a:pt x="176" y="1376"/>
                  </a:cubicBezTo>
                  <a:cubicBezTo>
                    <a:pt x="151" y="1376"/>
                    <a:pt x="151" y="1425"/>
                    <a:pt x="125" y="1425"/>
                  </a:cubicBezTo>
                  <a:cubicBezTo>
                    <a:pt x="100" y="1401"/>
                    <a:pt x="75" y="1450"/>
                    <a:pt x="100" y="1450"/>
                  </a:cubicBezTo>
                  <a:cubicBezTo>
                    <a:pt x="100" y="1476"/>
                    <a:pt x="75" y="1476"/>
                    <a:pt x="51" y="1476"/>
                  </a:cubicBezTo>
                  <a:cubicBezTo>
                    <a:pt x="25" y="1450"/>
                    <a:pt x="25" y="1501"/>
                    <a:pt x="0" y="1501"/>
                  </a:cubicBezTo>
                  <a:cubicBezTo>
                    <a:pt x="0" y="1525"/>
                    <a:pt x="51" y="1550"/>
                    <a:pt x="51" y="1550"/>
                  </a:cubicBezTo>
                  <a:cubicBezTo>
                    <a:pt x="51" y="1576"/>
                    <a:pt x="0" y="1601"/>
                    <a:pt x="25" y="1601"/>
                  </a:cubicBezTo>
                  <a:cubicBezTo>
                    <a:pt x="51" y="1601"/>
                    <a:pt x="51" y="1625"/>
                    <a:pt x="25" y="1625"/>
                  </a:cubicBezTo>
                  <a:cubicBezTo>
                    <a:pt x="0" y="1625"/>
                    <a:pt x="0" y="1650"/>
                    <a:pt x="25" y="1676"/>
                  </a:cubicBezTo>
                  <a:cubicBezTo>
                    <a:pt x="51" y="1701"/>
                    <a:pt x="0" y="1701"/>
                    <a:pt x="25" y="1726"/>
                  </a:cubicBezTo>
                  <a:cubicBezTo>
                    <a:pt x="51" y="1750"/>
                    <a:pt x="51" y="1726"/>
                    <a:pt x="75" y="1750"/>
                  </a:cubicBezTo>
                  <a:cubicBezTo>
                    <a:pt x="75" y="1775"/>
                    <a:pt x="100" y="1750"/>
                    <a:pt x="125" y="1726"/>
                  </a:cubicBezTo>
                  <a:cubicBezTo>
                    <a:pt x="176" y="1701"/>
                    <a:pt x="176" y="1750"/>
                    <a:pt x="151" y="1750"/>
                  </a:cubicBezTo>
                  <a:cubicBezTo>
                    <a:pt x="125" y="1750"/>
                    <a:pt x="100" y="1775"/>
                    <a:pt x="100" y="1801"/>
                  </a:cubicBezTo>
                  <a:cubicBezTo>
                    <a:pt x="100" y="1826"/>
                    <a:pt x="75" y="1801"/>
                    <a:pt x="75" y="1775"/>
                  </a:cubicBezTo>
                  <a:cubicBezTo>
                    <a:pt x="75" y="1750"/>
                    <a:pt x="25" y="1775"/>
                    <a:pt x="25" y="1801"/>
                  </a:cubicBezTo>
                  <a:cubicBezTo>
                    <a:pt x="51" y="1826"/>
                    <a:pt x="25" y="1850"/>
                    <a:pt x="25" y="1850"/>
                  </a:cubicBezTo>
                  <a:cubicBezTo>
                    <a:pt x="25" y="1876"/>
                    <a:pt x="75" y="1876"/>
                    <a:pt x="75" y="1850"/>
                  </a:cubicBezTo>
                  <a:cubicBezTo>
                    <a:pt x="100" y="1826"/>
                    <a:pt x="125" y="1826"/>
                    <a:pt x="125" y="1850"/>
                  </a:cubicBezTo>
                  <a:cubicBezTo>
                    <a:pt x="151" y="1876"/>
                    <a:pt x="100" y="1876"/>
                    <a:pt x="100" y="1901"/>
                  </a:cubicBezTo>
                  <a:cubicBezTo>
                    <a:pt x="100" y="1926"/>
                    <a:pt x="75" y="1901"/>
                    <a:pt x="75" y="1926"/>
                  </a:cubicBezTo>
                  <a:cubicBezTo>
                    <a:pt x="51" y="1950"/>
                    <a:pt x="151" y="2001"/>
                    <a:pt x="176" y="2001"/>
                  </a:cubicBezTo>
                  <a:cubicBezTo>
                    <a:pt x="200" y="2001"/>
                    <a:pt x="225" y="2050"/>
                    <a:pt x="276" y="2026"/>
                  </a:cubicBezTo>
                  <a:cubicBezTo>
                    <a:pt x="325" y="2026"/>
                    <a:pt x="425" y="1926"/>
                    <a:pt x="451" y="1901"/>
                  </a:cubicBezTo>
                  <a:cubicBezTo>
                    <a:pt x="476" y="1876"/>
                    <a:pt x="500" y="1901"/>
                    <a:pt x="525" y="1901"/>
                  </a:cubicBezTo>
                  <a:cubicBezTo>
                    <a:pt x="525" y="1876"/>
                    <a:pt x="525" y="1826"/>
                    <a:pt x="551" y="1826"/>
                  </a:cubicBezTo>
                  <a:lnTo>
                    <a:pt x="576" y="1876"/>
                  </a:lnTo>
                  <a:cubicBezTo>
                    <a:pt x="599" y="1876"/>
                    <a:pt x="599" y="1901"/>
                    <a:pt x="599" y="1926"/>
                  </a:cubicBezTo>
                  <a:lnTo>
                    <a:pt x="624" y="1926"/>
                  </a:lnTo>
                  <a:cubicBezTo>
                    <a:pt x="650" y="1926"/>
                    <a:pt x="650" y="1876"/>
                    <a:pt x="650" y="1850"/>
                  </a:cubicBezTo>
                  <a:cubicBezTo>
                    <a:pt x="650" y="1850"/>
                    <a:pt x="675" y="1801"/>
                    <a:pt x="675" y="1775"/>
                  </a:cubicBezTo>
                  <a:cubicBezTo>
                    <a:pt x="650" y="1750"/>
                    <a:pt x="724" y="1775"/>
                    <a:pt x="724" y="1750"/>
                  </a:cubicBezTo>
                  <a:cubicBezTo>
                    <a:pt x="724" y="1750"/>
                    <a:pt x="750" y="1676"/>
                    <a:pt x="724" y="1676"/>
                  </a:cubicBezTo>
                  <a:cubicBezTo>
                    <a:pt x="699" y="1650"/>
                    <a:pt x="699" y="1625"/>
                    <a:pt x="724" y="1625"/>
                  </a:cubicBezTo>
                  <a:cubicBezTo>
                    <a:pt x="724" y="1625"/>
                    <a:pt x="750" y="1625"/>
                    <a:pt x="750" y="1576"/>
                  </a:cubicBezTo>
                  <a:cubicBezTo>
                    <a:pt x="750" y="1550"/>
                    <a:pt x="699" y="1550"/>
                    <a:pt x="699" y="1501"/>
                  </a:cubicBezTo>
                  <a:cubicBezTo>
                    <a:pt x="675" y="1476"/>
                    <a:pt x="724" y="1476"/>
                    <a:pt x="699" y="1425"/>
                  </a:cubicBezTo>
                  <a:cubicBezTo>
                    <a:pt x="675" y="1376"/>
                    <a:pt x="699" y="1350"/>
                    <a:pt x="699" y="1325"/>
                  </a:cubicBezTo>
                  <a:cubicBezTo>
                    <a:pt x="675" y="1301"/>
                    <a:pt x="675" y="1276"/>
                    <a:pt x="699" y="1225"/>
                  </a:cubicBezTo>
                  <a:cubicBezTo>
                    <a:pt x="724" y="1201"/>
                    <a:pt x="775" y="1176"/>
                    <a:pt x="799" y="1176"/>
                  </a:cubicBezTo>
                  <a:cubicBezTo>
                    <a:pt x="824" y="1176"/>
                    <a:pt x="849" y="1201"/>
                    <a:pt x="849" y="1176"/>
                  </a:cubicBezTo>
                  <a:cubicBezTo>
                    <a:pt x="875" y="1150"/>
                    <a:pt x="875" y="1125"/>
                    <a:pt x="849" y="1125"/>
                  </a:cubicBezTo>
                  <a:cubicBezTo>
                    <a:pt x="849" y="1101"/>
                    <a:pt x="799" y="1101"/>
                    <a:pt x="849" y="1076"/>
                  </a:cubicBezTo>
                  <a:cubicBezTo>
                    <a:pt x="875" y="1025"/>
                    <a:pt x="899" y="976"/>
                    <a:pt x="899" y="950"/>
                  </a:cubicBezTo>
                  <a:cubicBezTo>
                    <a:pt x="899" y="901"/>
                    <a:pt x="899" y="876"/>
                    <a:pt x="899" y="850"/>
                  </a:cubicBezTo>
                  <a:cubicBezTo>
                    <a:pt x="924" y="850"/>
                    <a:pt x="950" y="850"/>
                    <a:pt x="975" y="850"/>
                  </a:cubicBezTo>
                  <a:cubicBezTo>
                    <a:pt x="999" y="825"/>
                    <a:pt x="975" y="801"/>
                    <a:pt x="999" y="776"/>
                  </a:cubicBezTo>
                  <a:cubicBezTo>
                    <a:pt x="999" y="776"/>
                    <a:pt x="1024" y="725"/>
                    <a:pt x="1050" y="725"/>
                  </a:cubicBezTo>
                  <a:cubicBezTo>
                    <a:pt x="1050" y="701"/>
                    <a:pt x="1075" y="676"/>
                    <a:pt x="1075" y="676"/>
                  </a:cubicBezTo>
                  <a:cubicBezTo>
                    <a:pt x="1050" y="650"/>
                    <a:pt x="1100" y="625"/>
                    <a:pt x="1100" y="601"/>
                  </a:cubicBezTo>
                  <a:cubicBezTo>
                    <a:pt x="1100" y="576"/>
                    <a:pt x="1124" y="550"/>
                    <a:pt x="1175" y="550"/>
                  </a:cubicBezTo>
                  <a:cubicBezTo>
                    <a:pt x="1200" y="550"/>
                    <a:pt x="1224" y="550"/>
                    <a:pt x="1224" y="525"/>
                  </a:cubicBezTo>
                  <a:cubicBezTo>
                    <a:pt x="1224" y="501"/>
                    <a:pt x="1224" y="425"/>
                    <a:pt x="1250" y="450"/>
                  </a:cubicBezTo>
                  <a:cubicBezTo>
                    <a:pt x="1300" y="475"/>
                    <a:pt x="1324" y="450"/>
                    <a:pt x="1350" y="475"/>
                  </a:cubicBezTo>
                  <a:cubicBezTo>
                    <a:pt x="1375" y="501"/>
                    <a:pt x="1424" y="501"/>
                    <a:pt x="1424" y="450"/>
                  </a:cubicBezTo>
                  <a:cubicBezTo>
                    <a:pt x="1424" y="425"/>
                    <a:pt x="1424" y="350"/>
                    <a:pt x="1475" y="375"/>
                  </a:cubicBezTo>
                  <a:lnTo>
                    <a:pt x="1475" y="375"/>
                  </a:lnTo>
                  <a:cubicBezTo>
                    <a:pt x="1500" y="350"/>
                    <a:pt x="1524" y="350"/>
                    <a:pt x="1550" y="350"/>
                  </a:cubicBezTo>
                  <a:cubicBezTo>
                    <a:pt x="1575" y="350"/>
                    <a:pt x="1600" y="400"/>
                    <a:pt x="1650" y="425"/>
                  </a:cubicBezTo>
                  <a:cubicBezTo>
                    <a:pt x="1700" y="425"/>
                    <a:pt x="1724" y="450"/>
                    <a:pt x="1750" y="425"/>
                  </a:cubicBezTo>
                  <a:cubicBezTo>
                    <a:pt x="1750" y="400"/>
                    <a:pt x="1800" y="425"/>
                    <a:pt x="1824" y="425"/>
                  </a:cubicBezTo>
                  <a:cubicBezTo>
                    <a:pt x="1850" y="425"/>
                    <a:pt x="1850" y="475"/>
                    <a:pt x="1875" y="450"/>
                  </a:cubicBezTo>
                  <a:cubicBezTo>
                    <a:pt x="1900" y="400"/>
                    <a:pt x="1875" y="375"/>
                    <a:pt x="1925" y="375"/>
                  </a:cubicBezTo>
                  <a:cubicBezTo>
                    <a:pt x="1950" y="400"/>
                    <a:pt x="1925" y="325"/>
                    <a:pt x="1925" y="300"/>
                  </a:cubicBezTo>
                  <a:cubicBezTo>
                    <a:pt x="1925" y="276"/>
                    <a:pt x="2000" y="276"/>
                    <a:pt x="2000" y="250"/>
                  </a:cubicBezTo>
                  <a:cubicBezTo>
                    <a:pt x="2000" y="225"/>
                    <a:pt x="2075" y="250"/>
                    <a:pt x="2075" y="225"/>
                  </a:cubicBezTo>
                  <a:cubicBezTo>
                    <a:pt x="2100" y="200"/>
                    <a:pt x="2149" y="200"/>
                    <a:pt x="2149" y="225"/>
                  </a:cubicBezTo>
                  <a:cubicBezTo>
                    <a:pt x="2175" y="250"/>
                    <a:pt x="2250" y="250"/>
                    <a:pt x="2250" y="276"/>
                  </a:cubicBezTo>
                  <a:cubicBezTo>
                    <a:pt x="2250" y="300"/>
                    <a:pt x="2250" y="325"/>
                    <a:pt x="2250" y="350"/>
                  </a:cubicBezTo>
                  <a:cubicBezTo>
                    <a:pt x="2275" y="325"/>
                    <a:pt x="2275" y="325"/>
                    <a:pt x="2300" y="325"/>
                  </a:cubicBezTo>
                  <a:cubicBezTo>
                    <a:pt x="2325" y="325"/>
                    <a:pt x="2349" y="276"/>
                    <a:pt x="2375" y="276"/>
                  </a:cubicBezTo>
                  <a:cubicBezTo>
                    <a:pt x="2400" y="276"/>
                    <a:pt x="2425" y="276"/>
                    <a:pt x="2425" y="250"/>
                  </a:cubicBezTo>
                  <a:cubicBezTo>
                    <a:pt x="2400" y="225"/>
                    <a:pt x="2349" y="225"/>
                    <a:pt x="2349" y="2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3" name="Freeform 209">
              <a:extLst>
                <a:ext uri="{FF2B5EF4-FFF2-40B4-BE49-F238E27FC236}">
                  <a16:creationId xmlns:a16="http://schemas.microsoft.com/office/drawing/2014/main" id="{1F91642A-C416-1ABA-60C6-15D520BA14A6}"/>
                </a:ext>
              </a:extLst>
            </p:cNvPr>
            <p:cNvSpPr>
              <a:spLocks noChangeArrowheads="1"/>
            </p:cNvSpPr>
            <p:nvPr/>
          </p:nvSpPr>
          <p:spPr bwMode="auto">
            <a:xfrm>
              <a:off x="6862616" y="3735959"/>
              <a:ext cx="150763" cy="75381"/>
            </a:xfrm>
            <a:custGeom>
              <a:avLst/>
              <a:gdLst>
                <a:gd name="T0" fmla="*/ 250 w 301"/>
                <a:gd name="T1" fmla="*/ 25 h 150"/>
                <a:gd name="T2" fmla="*/ 250 w 301"/>
                <a:gd name="T3" fmla="*/ 25 h 150"/>
                <a:gd name="T4" fmla="*/ 200 w 301"/>
                <a:gd name="T5" fmla="*/ 25 h 150"/>
                <a:gd name="T6" fmla="*/ 125 w 301"/>
                <a:gd name="T7" fmla="*/ 0 h 150"/>
                <a:gd name="T8" fmla="*/ 150 w 301"/>
                <a:gd name="T9" fmla="*/ 25 h 150"/>
                <a:gd name="T10" fmla="*/ 125 w 301"/>
                <a:gd name="T11" fmla="*/ 75 h 150"/>
                <a:gd name="T12" fmla="*/ 74 w 301"/>
                <a:gd name="T13" fmla="*/ 75 h 150"/>
                <a:gd name="T14" fmla="*/ 0 w 301"/>
                <a:gd name="T15" fmla="*/ 75 h 150"/>
                <a:gd name="T16" fmla="*/ 0 w 301"/>
                <a:gd name="T17" fmla="*/ 100 h 150"/>
                <a:gd name="T18" fmla="*/ 50 w 301"/>
                <a:gd name="T19" fmla="*/ 125 h 150"/>
                <a:gd name="T20" fmla="*/ 300 w 301"/>
                <a:gd name="T21" fmla="*/ 125 h 150"/>
                <a:gd name="T22" fmla="*/ 300 w 301"/>
                <a:gd name="T23" fmla="*/ 75 h 150"/>
                <a:gd name="T24" fmla="*/ 250 w 301"/>
                <a:gd name="T25" fmla="*/ 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50">
                  <a:moveTo>
                    <a:pt x="250" y="25"/>
                  </a:moveTo>
                  <a:lnTo>
                    <a:pt x="250" y="25"/>
                  </a:lnTo>
                  <a:cubicBezTo>
                    <a:pt x="225" y="49"/>
                    <a:pt x="200" y="25"/>
                    <a:pt x="200" y="25"/>
                  </a:cubicBezTo>
                  <a:cubicBezTo>
                    <a:pt x="174" y="0"/>
                    <a:pt x="150" y="0"/>
                    <a:pt x="125" y="0"/>
                  </a:cubicBezTo>
                  <a:cubicBezTo>
                    <a:pt x="125" y="25"/>
                    <a:pt x="150" y="25"/>
                    <a:pt x="150" y="25"/>
                  </a:cubicBezTo>
                  <a:cubicBezTo>
                    <a:pt x="150" y="49"/>
                    <a:pt x="100" y="49"/>
                    <a:pt x="125" y="75"/>
                  </a:cubicBezTo>
                  <a:cubicBezTo>
                    <a:pt x="125" y="100"/>
                    <a:pt x="74" y="100"/>
                    <a:pt x="74" y="75"/>
                  </a:cubicBezTo>
                  <a:cubicBezTo>
                    <a:pt x="74" y="49"/>
                    <a:pt x="0" y="49"/>
                    <a:pt x="0" y="75"/>
                  </a:cubicBezTo>
                  <a:lnTo>
                    <a:pt x="0" y="100"/>
                  </a:lnTo>
                  <a:cubicBezTo>
                    <a:pt x="25" y="100"/>
                    <a:pt x="50" y="125"/>
                    <a:pt x="50" y="125"/>
                  </a:cubicBezTo>
                  <a:cubicBezTo>
                    <a:pt x="50" y="125"/>
                    <a:pt x="225" y="149"/>
                    <a:pt x="300" y="125"/>
                  </a:cubicBezTo>
                  <a:lnTo>
                    <a:pt x="300" y="75"/>
                  </a:lnTo>
                  <a:cubicBezTo>
                    <a:pt x="300" y="49"/>
                    <a:pt x="250" y="25"/>
                    <a:pt x="2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4" name="Freeform 210">
              <a:extLst>
                <a:ext uri="{FF2B5EF4-FFF2-40B4-BE49-F238E27FC236}">
                  <a16:creationId xmlns:a16="http://schemas.microsoft.com/office/drawing/2014/main" id="{9DF9E48C-822C-B9A6-9858-1E53E59691C1}"/>
                </a:ext>
              </a:extLst>
            </p:cNvPr>
            <p:cNvSpPr>
              <a:spLocks noChangeArrowheads="1"/>
            </p:cNvSpPr>
            <p:nvPr/>
          </p:nvSpPr>
          <p:spPr bwMode="auto">
            <a:xfrm>
              <a:off x="6862616" y="3735959"/>
              <a:ext cx="150763" cy="75381"/>
            </a:xfrm>
            <a:custGeom>
              <a:avLst/>
              <a:gdLst>
                <a:gd name="T0" fmla="*/ 250 w 301"/>
                <a:gd name="T1" fmla="*/ 25 h 150"/>
                <a:gd name="T2" fmla="*/ 250 w 301"/>
                <a:gd name="T3" fmla="*/ 25 h 150"/>
                <a:gd name="T4" fmla="*/ 200 w 301"/>
                <a:gd name="T5" fmla="*/ 25 h 150"/>
                <a:gd name="T6" fmla="*/ 125 w 301"/>
                <a:gd name="T7" fmla="*/ 0 h 150"/>
                <a:gd name="T8" fmla="*/ 150 w 301"/>
                <a:gd name="T9" fmla="*/ 25 h 150"/>
                <a:gd name="T10" fmla="*/ 125 w 301"/>
                <a:gd name="T11" fmla="*/ 75 h 150"/>
                <a:gd name="T12" fmla="*/ 74 w 301"/>
                <a:gd name="T13" fmla="*/ 75 h 150"/>
                <a:gd name="T14" fmla="*/ 0 w 301"/>
                <a:gd name="T15" fmla="*/ 75 h 150"/>
                <a:gd name="T16" fmla="*/ 0 w 301"/>
                <a:gd name="T17" fmla="*/ 100 h 150"/>
                <a:gd name="T18" fmla="*/ 50 w 301"/>
                <a:gd name="T19" fmla="*/ 125 h 150"/>
                <a:gd name="T20" fmla="*/ 300 w 301"/>
                <a:gd name="T21" fmla="*/ 125 h 150"/>
                <a:gd name="T22" fmla="*/ 300 w 301"/>
                <a:gd name="T23" fmla="*/ 75 h 150"/>
                <a:gd name="T24" fmla="*/ 250 w 301"/>
                <a:gd name="T25" fmla="*/ 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50">
                  <a:moveTo>
                    <a:pt x="250" y="25"/>
                  </a:moveTo>
                  <a:lnTo>
                    <a:pt x="250" y="25"/>
                  </a:lnTo>
                  <a:cubicBezTo>
                    <a:pt x="225" y="49"/>
                    <a:pt x="200" y="25"/>
                    <a:pt x="200" y="25"/>
                  </a:cubicBezTo>
                  <a:cubicBezTo>
                    <a:pt x="174" y="0"/>
                    <a:pt x="150" y="0"/>
                    <a:pt x="125" y="0"/>
                  </a:cubicBezTo>
                  <a:cubicBezTo>
                    <a:pt x="125" y="25"/>
                    <a:pt x="150" y="25"/>
                    <a:pt x="150" y="25"/>
                  </a:cubicBezTo>
                  <a:cubicBezTo>
                    <a:pt x="150" y="49"/>
                    <a:pt x="100" y="49"/>
                    <a:pt x="125" y="75"/>
                  </a:cubicBezTo>
                  <a:cubicBezTo>
                    <a:pt x="125" y="100"/>
                    <a:pt x="74" y="100"/>
                    <a:pt x="74" y="75"/>
                  </a:cubicBezTo>
                  <a:cubicBezTo>
                    <a:pt x="74" y="49"/>
                    <a:pt x="0" y="49"/>
                    <a:pt x="0" y="75"/>
                  </a:cubicBezTo>
                  <a:lnTo>
                    <a:pt x="0" y="100"/>
                  </a:lnTo>
                  <a:cubicBezTo>
                    <a:pt x="25" y="100"/>
                    <a:pt x="50" y="125"/>
                    <a:pt x="50" y="125"/>
                  </a:cubicBezTo>
                  <a:cubicBezTo>
                    <a:pt x="50" y="125"/>
                    <a:pt x="225" y="149"/>
                    <a:pt x="300" y="125"/>
                  </a:cubicBezTo>
                  <a:lnTo>
                    <a:pt x="300" y="75"/>
                  </a:lnTo>
                  <a:cubicBezTo>
                    <a:pt x="300" y="49"/>
                    <a:pt x="250" y="25"/>
                    <a:pt x="2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5" name="Freeform 211">
              <a:extLst>
                <a:ext uri="{FF2B5EF4-FFF2-40B4-BE49-F238E27FC236}">
                  <a16:creationId xmlns:a16="http://schemas.microsoft.com/office/drawing/2014/main" id="{39A085AC-38EA-29C5-9922-8BFC979AA54F}"/>
                </a:ext>
              </a:extLst>
            </p:cNvPr>
            <p:cNvSpPr>
              <a:spLocks noChangeArrowheads="1"/>
            </p:cNvSpPr>
            <p:nvPr/>
          </p:nvSpPr>
          <p:spPr bwMode="auto">
            <a:xfrm>
              <a:off x="6811628" y="4476472"/>
              <a:ext cx="50993" cy="75381"/>
            </a:xfrm>
            <a:custGeom>
              <a:avLst/>
              <a:gdLst>
                <a:gd name="T0" fmla="*/ 25 w 101"/>
                <a:gd name="T1" fmla="*/ 0 h 151"/>
                <a:gd name="T2" fmla="*/ 25 w 101"/>
                <a:gd name="T3" fmla="*/ 0 h 151"/>
                <a:gd name="T4" fmla="*/ 0 w 101"/>
                <a:gd name="T5" fmla="*/ 75 h 151"/>
                <a:gd name="T6" fmla="*/ 0 w 101"/>
                <a:gd name="T7" fmla="*/ 100 h 151"/>
                <a:gd name="T8" fmla="*/ 50 w 101"/>
                <a:gd name="T9" fmla="*/ 150 h 151"/>
                <a:gd name="T10" fmla="*/ 74 w 101"/>
                <a:gd name="T11" fmla="*/ 150 h 151"/>
                <a:gd name="T12" fmla="*/ 100 w 101"/>
                <a:gd name="T13" fmla="*/ 100 h 151"/>
                <a:gd name="T14" fmla="*/ 25 w 101"/>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51">
                  <a:moveTo>
                    <a:pt x="25" y="0"/>
                  </a:moveTo>
                  <a:lnTo>
                    <a:pt x="25" y="0"/>
                  </a:lnTo>
                  <a:cubicBezTo>
                    <a:pt x="25" y="25"/>
                    <a:pt x="0" y="75"/>
                    <a:pt x="0" y="75"/>
                  </a:cubicBezTo>
                  <a:lnTo>
                    <a:pt x="0" y="100"/>
                  </a:lnTo>
                  <a:cubicBezTo>
                    <a:pt x="25" y="125"/>
                    <a:pt x="50" y="150"/>
                    <a:pt x="50" y="150"/>
                  </a:cubicBezTo>
                  <a:cubicBezTo>
                    <a:pt x="50" y="150"/>
                    <a:pt x="50" y="150"/>
                    <a:pt x="74" y="150"/>
                  </a:cubicBezTo>
                  <a:cubicBezTo>
                    <a:pt x="74" y="125"/>
                    <a:pt x="100" y="100"/>
                    <a:pt x="100" y="100"/>
                  </a:cubicBezTo>
                  <a:cubicBezTo>
                    <a:pt x="74" y="75"/>
                    <a:pt x="50" y="25"/>
                    <a:pt x="25"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6" name="Freeform 212">
              <a:extLst>
                <a:ext uri="{FF2B5EF4-FFF2-40B4-BE49-F238E27FC236}">
                  <a16:creationId xmlns:a16="http://schemas.microsoft.com/office/drawing/2014/main" id="{58C8E862-5120-ACBC-C67F-BEBC4D93C569}"/>
                </a:ext>
              </a:extLst>
            </p:cNvPr>
            <p:cNvSpPr>
              <a:spLocks noChangeArrowheads="1"/>
            </p:cNvSpPr>
            <p:nvPr/>
          </p:nvSpPr>
          <p:spPr bwMode="auto">
            <a:xfrm>
              <a:off x="6824928" y="4314621"/>
              <a:ext cx="188455" cy="239449"/>
            </a:xfrm>
            <a:custGeom>
              <a:avLst/>
              <a:gdLst>
                <a:gd name="T0" fmla="*/ 325 w 376"/>
                <a:gd name="T1" fmla="*/ 300 h 476"/>
                <a:gd name="T2" fmla="*/ 325 w 376"/>
                <a:gd name="T3" fmla="*/ 300 h 476"/>
                <a:gd name="T4" fmla="*/ 325 w 376"/>
                <a:gd name="T5" fmla="*/ 250 h 476"/>
                <a:gd name="T6" fmla="*/ 349 w 376"/>
                <a:gd name="T7" fmla="*/ 200 h 476"/>
                <a:gd name="T8" fmla="*/ 225 w 376"/>
                <a:gd name="T9" fmla="*/ 175 h 476"/>
                <a:gd name="T10" fmla="*/ 225 w 376"/>
                <a:gd name="T11" fmla="*/ 100 h 476"/>
                <a:gd name="T12" fmla="*/ 200 w 376"/>
                <a:gd name="T13" fmla="*/ 75 h 476"/>
                <a:gd name="T14" fmla="*/ 149 w 376"/>
                <a:gd name="T15" fmla="*/ 25 h 476"/>
                <a:gd name="T16" fmla="*/ 149 w 376"/>
                <a:gd name="T17" fmla="*/ 25 h 476"/>
                <a:gd name="T18" fmla="*/ 125 w 376"/>
                <a:gd name="T19" fmla="*/ 0 h 476"/>
                <a:gd name="T20" fmla="*/ 100 w 376"/>
                <a:gd name="T21" fmla="*/ 0 h 476"/>
                <a:gd name="T22" fmla="*/ 0 w 376"/>
                <a:gd name="T23" fmla="*/ 25 h 476"/>
                <a:gd name="T24" fmla="*/ 25 w 376"/>
                <a:gd name="T25" fmla="*/ 75 h 476"/>
                <a:gd name="T26" fmla="*/ 49 w 376"/>
                <a:gd name="T27" fmla="*/ 150 h 476"/>
                <a:gd name="T28" fmla="*/ 49 w 376"/>
                <a:gd name="T29" fmla="*/ 300 h 476"/>
                <a:gd name="T30" fmla="*/ 0 w 376"/>
                <a:gd name="T31" fmla="*/ 325 h 476"/>
                <a:gd name="T32" fmla="*/ 75 w 376"/>
                <a:gd name="T33" fmla="*/ 425 h 476"/>
                <a:gd name="T34" fmla="*/ 75 w 376"/>
                <a:gd name="T35" fmla="*/ 425 h 476"/>
                <a:gd name="T36" fmla="*/ 175 w 376"/>
                <a:gd name="T37" fmla="*/ 475 h 476"/>
                <a:gd name="T38" fmla="*/ 325 w 376"/>
                <a:gd name="T39" fmla="*/ 425 h 476"/>
                <a:gd name="T40" fmla="*/ 325 w 376"/>
                <a:gd name="T41" fmla="*/ 400 h 476"/>
                <a:gd name="T42" fmla="*/ 375 w 376"/>
                <a:gd name="T43" fmla="*/ 375 h 476"/>
                <a:gd name="T44" fmla="*/ 325 w 376"/>
                <a:gd name="T45" fmla="*/ 30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6" h="476">
                  <a:moveTo>
                    <a:pt x="325" y="300"/>
                  </a:moveTo>
                  <a:lnTo>
                    <a:pt x="325" y="300"/>
                  </a:lnTo>
                  <a:lnTo>
                    <a:pt x="325" y="250"/>
                  </a:lnTo>
                  <a:cubicBezTo>
                    <a:pt x="349" y="225"/>
                    <a:pt x="349" y="225"/>
                    <a:pt x="349" y="200"/>
                  </a:cubicBezTo>
                  <a:cubicBezTo>
                    <a:pt x="349" y="175"/>
                    <a:pt x="249" y="175"/>
                    <a:pt x="225" y="175"/>
                  </a:cubicBezTo>
                  <a:cubicBezTo>
                    <a:pt x="225" y="150"/>
                    <a:pt x="249" y="100"/>
                    <a:pt x="225" y="100"/>
                  </a:cubicBezTo>
                  <a:cubicBezTo>
                    <a:pt x="200" y="100"/>
                    <a:pt x="200" y="100"/>
                    <a:pt x="200" y="75"/>
                  </a:cubicBezTo>
                  <a:cubicBezTo>
                    <a:pt x="200" y="50"/>
                    <a:pt x="149" y="25"/>
                    <a:pt x="149" y="25"/>
                  </a:cubicBezTo>
                  <a:lnTo>
                    <a:pt x="149" y="25"/>
                  </a:lnTo>
                  <a:cubicBezTo>
                    <a:pt x="149" y="0"/>
                    <a:pt x="125" y="0"/>
                    <a:pt x="125" y="0"/>
                  </a:cubicBezTo>
                  <a:lnTo>
                    <a:pt x="100" y="0"/>
                  </a:lnTo>
                  <a:cubicBezTo>
                    <a:pt x="100" y="0"/>
                    <a:pt x="25" y="25"/>
                    <a:pt x="0" y="25"/>
                  </a:cubicBezTo>
                  <a:cubicBezTo>
                    <a:pt x="0" y="50"/>
                    <a:pt x="0" y="75"/>
                    <a:pt x="25" y="75"/>
                  </a:cubicBezTo>
                  <a:cubicBezTo>
                    <a:pt x="49" y="100"/>
                    <a:pt x="49" y="125"/>
                    <a:pt x="49" y="150"/>
                  </a:cubicBezTo>
                  <a:cubicBezTo>
                    <a:pt x="49" y="175"/>
                    <a:pt x="49" y="300"/>
                    <a:pt x="49" y="300"/>
                  </a:cubicBezTo>
                  <a:cubicBezTo>
                    <a:pt x="25" y="300"/>
                    <a:pt x="25" y="300"/>
                    <a:pt x="0" y="325"/>
                  </a:cubicBezTo>
                  <a:cubicBezTo>
                    <a:pt x="25" y="350"/>
                    <a:pt x="49" y="400"/>
                    <a:pt x="75" y="425"/>
                  </a:cubicBezTo>
                  <a:lnTo>
                    <a:pt x="75" y="425"/>
                  </a:lnTo>
                  <a:cubicBezTo>
                    <a:pt x="100" y="425"/>
                    <a:pt x="175" y="475"/>
                    <a:pt x="175" y="475"/>
                  </a:cubicBezTo>
                  <a:cubicBezTo>
                    <a:pt x="175" y="475"/>
                    <a:pt x="275" y="450"/>
                    <a:pt x="325" y="425"/>
                  </a:cubicBezTo>
                  <a:cubicBezTo>
                    <a:pt x="325" y="425"/>
                    <a:pt x="325" y="425"/>
                    <a:pt x="325" y="400"/>
                  </a:cubicBezTo>
                  <a:cubicBezTo>
                    <a:pt x="325" y="400"/>
                    <a:pt x="349" y="375"/>
                    <a:pt x="375" y="375"/>
                  </a:cubicBezTo>
                  <a:cubicBezTo>
                    <a:pt x="375" y="375"/>
                    <a:pt x="349" y="325"/>
                    <a:pt x="325" y="3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7" name="Freeform 66">
              <a:extLst>
                <a:ext uri="{FF2B5EF4-FFF2-40B4-BE49-F238E27FC236}">
                  <a16:creationId xmlns:a16="http://schemas.microsoft.com/office/drawing/2014/main" id="{1CFF9F19-E958-322C-4722-CD029A91E25C}"/>
                </a:ext>
              </a:extLst>
            </p:cNvPr>
            <p:cNvSpPr>
              <a:spLocks noChangeArrowheads="1"/>
            </p:cNvSpPr>
            <p:nvPr/>
          </p:nvSpPr>
          <p:spPr bwMode="auto">
            <a:xfrm>
              <a:off x="6410329" y="4137255"/>
              <a:ext cx="352521" cy="164068"/>
            </a:xfrm>
            <a:custGeom>
              <a:avLst/>
              <a:gdLst>
                <a:gd name="T0" fmla="*/ 573 w 700"/>
                <a:gd name="T1" fmla="*/ 25 h 326"/>
                <a:gd name="T2" fmla="*/ 573 w 700"/>
                <a:gd name="T3" fmla="*/ 25 h 326"/>
                <a:gd name="T4" fmla="*/ 499 w 700"/>
                <a:gd name="T5" fmla="*/ 0 h 326"/>
                <a:gd name="T6" fmla="*/ 473 w 700"/>
                <a:gd name="T7" fmla="*/ 50 h 326"/>
                <a:gd name="T8" fmla="*/ 398 w 700"/>
                <a:gd name="T9" fmla="*/ 50 h 326"/>
                <a:gd name="T10" fmla="*/ 348 w 700"/>
                <a:gd name="T11" fmla="*/ 100 h 326"/>
                <a:gd name="T12" fmla="*/ 299 w 700"/>
                <a:gd name="T13" fmla="*/ 150 h 326"/>
                <a:gd name="T14" fmla="*/ 273 w 700"/>
                <a:gd name="T15" fmla="*/ 175 h 326"/>
                <a:gd name="T16" fmla="*/ 173 w 700"/>
                <a:gd name="T17" fmla="*/ 200 h 326"/>
                <a:gd name="T18" fmla="*/ 125 w 700"/>
                <a:gd name="T19" fmla="*/ 200 h 326"/>
                <a:gd name="T20" fmla="*/ 74 w 700"/>
                <a:gd name="T21" fmla="*/ 200 h 326"/>
                <a:gd name="T22" fmla="*/ 0 w 700"/>
                <a:gd name="T23" fmla="*/ 200 h 326"/>
                <a:gd name="T24" fmla="*/ 0 w 700"/>
                <a:gd name="T25" fmla="*/ 250 h 326"/>
                <a:gd name="T26" fmla="*/ 49 w 700"/>
                <a:gd name="T27" fmla="*/ 275 h 326"/>
                <a:gd name="T28" fmla="*/ 100 w 700"/>
                <a:gd name="T29" fmla="*/ 275 h 326"/>
                <a:gd name="T30" fmla="*/ 173 w 700"/>
                <a:gd name="T31" fmla="*/ 250 h 326"/>
                <a:gd name="T32" fmla="*/ 248 w 700"/>
                <a:gd name="T33" fmla="*/ 250 h 326"/>
                <a:gd name="T34" fmla="*/ 248 w 700"/>
                <a:gd name="T35" fmla="*/ 300 h 326"/>
                <a:gd name="T36" fmla="*/ 348 w 700"/>
                <a:gd name="T37" fmla="*/ 300 h 326"/>
                <a:gd name="T38" fmla="*/ 448 w 700"/>
                <a:gd name="T39" fmla="*/ 325 h 326"/>
                <a:gd name="T40" fmla="*/ 524 w 700"/>
                <a:gd name="T41" fmla="*/ 300 h 326"/>
                <a:gd name="T42" fmla="*/ 599 w 700"/>
                <a:gd name="T43" fmla="*/ 275 h 326"/>
                <a:gd name="T44" fmla="*/ 599 w 700"/>
                <a:gd name="T45" fmla="*/ 275 h 326"/>
                <a:gd name="T46" fmla="*/ 599 w 700"/>
                <a:gd name="T47" fmla="*/ 250 h 326"/>
                <a:gd name="T48" fmla="*/ 624 w 700"/>
                <a:gd name="T49" fmla="*/ 200 h 326"/>
                <a:gd name="T50" fmla="*/ 624 w 700"/>
                <a:gd name="T51" fmla="*/ 175 h 326"/>
                <a:gd name="T52" fmla="*/ 673 w 700"/>
                <a:gd name="T53" fmla="*/ 150 h 326"/>
                <a:gd name="T54" fmla="*/ 699 w 700"/>
                <a:gd name="T55" fmla="*/ 125 h 326"/>
                <a:gd name="T56" fmla="*/ 649 w 700"/>
                <a:gd name="T57" fmla="*/ 50 h 326"/>
                <a:gd name="T58" fmla="*/ 573 w 700"/>
                <a:gd name="T59"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0" h="326">
                  <a:moveTo>
                    <a:pt x="573" y="25"/>
                  </a:moveTo>
                  <a:lnTo>
                    <a:pt x="573" y="25"/>
                  </a:lnTo>
                  <a:cubicBezTo>
                    <a:pt x="548" y="0"/>
                    <a:pt x="499" y="0"/>
                    <a:pt x="499" y="0"/>
                  </a:cubicBezTo>
                  <a:cubicBezTo>
                    <a:pt x="499" y="0"/>
                    <a:pt x="473" y="25"/>
                    <a:pt x="473" y="50"/>
                  </a:cubicBezTo>
                  <a:cubicBezTo>
                    <a:pt x="473" y="50"/>
                    <a:pt x="424" y="50"/>
                    <a:pt x="398" y="50"/>
                  </a:cubicBezTo>
                  <a:cubicBezTo>
                    <a:pt x="398" y="75"/>
                    <a:pt x="348" y="75"/>
                    <a:pt x="348" y="100"/>
                  </a:cubicBezTo>
                  <a:cubicBezTo>
                    <a:pt x="348" y="100"/>
                    <a:pt x="299" y="100"/>
                    <a:pt x="299" y="150"/>
                  </a:cubicBezTo>
                  <a:cubicBezTo>
                    <a:pt x="324" y="200"/>
                    <a:pt x="273" y="175"/>
                    <a:pt x="273" y="175"/>
                  </a:cubicBezTo>
                  <a:cubicBezTo>
                    <a:pt x="248" y="175"/>
                    <a:pt x="199" y="175"/>
                    <a:pt x="173" y="200"/>
                  </a:cubicBezTo>
                  <a:cubicBezTo>
                    <a:pt x="148" y="200"/>
                    <a:pt x="125" y="200"/>
                    <a:pt x="125" y="200"/>
                  </a:cubicBezTo>
                  <a:cubicBezTo>
                    <a:pt x="100" y="200"/>
                    <a:pt x="74" y="175"/>
                    <a:pt x="74" y="200"/>
                  </a:cubicBezTo>
                  <a:cubicBezTo>
                    <a:pt x="49" y="225"/>
                    <a:pt x="25" y="200"/>
                    <a:pt x="0" y="200"/>
                  </a:cubicBezTo>
                  <a:cubicBezTo>
                    <a:pt x="0" y="200"/>
                    <a:pt x="0" y="225"/>
                    <a:pt x="0" y="250"/>
                  </a:cubicBezTo>
                  <a:cubicBezTo>
                    <a:pt x="0" y="250"/>
                    <a:pt x="25" y="275"/>
                    <a:pt x="49" y="275"/>
                  </a:cubicBezTo>
                  <a:cubicBezTo>
                    <a:pt x="74" y="250"/>
                    <a:pt x="100" y="275"/>
                    <a:pt x="100" y="275"/>
                  </a:cubicBezTo>
                  <a:cubicBezTo>
                    <a:pt x="125" y="300"/>
                    <a:pt x="148" y="275"/>
                    <a:pt x="173" y="250"/>
                  </a:cubicBezTo>
                  <a:cubicBezTo>
                    <a:pt x="173" y="250"/>
                    <a:pt x="224" y="250"/>
                    <a:pt x="248" y="250"/>
                  </a:cubicBezTo>
                  <a:cubicBezTo>
                    <a:pt x="248" y="250"/>
                    <a:pt x="248" y="275"/>
                    <a:pt x="248" y="300"/>
                  </a:cubicBezTo>
                  <a:cubicBezTo>
                    <a:pt x="273" y="300"/>
                    <a:pt x="299" y="300"/>
                    <a:pt x="348" y="300"/>
                  </a:cubicBezTo>
                  <a:cubicBezTo>
                    <a:pt x="373" y="300"/>
                    <a:pt x="424" y="325"/>
                    <a:pt x="448" y="325"/>
                  </a:cubicBezTo>
                  <a:cubicBezTo>
                    <a:pt x="473" y="325"/>
                    <a:pt x="499" y="300"/>
                    <a:pt x="524" y="300"/>
                  </a:cubicBezTo>
                  <a:cubicBezTo>
                    <a:pt x="573" y="300"/>
                    <a:pt x="573" y="275"/>
                    <a:pt x="599" y="275"/>
                  </a:cubicBezTo>
                  <a:lnTo>
                    <a:pt x="599" y="275"/>
                  </a:lnTo>
                  <a:cubicBezTo>
                    <a:pt x="599" y="250"/>
                    <a:pt x="599" y="250"/>
                    <a:pt x="599" y="250"/>
                  </a:cubicBezTo>
                  <a:cubicBezTo>
                    <a:pt x="624" y="250"/>
                    <a:pt x="624" y="225"/>
                    <a:pt x="624" y="200"/>
                  </a:cubicBezTo>
                  <a:lnTo>
                    <a:pt x="624" y="175"/>
                  </a:lnTo>
                  <a:cubicBezTo>
                    <a:pt x="649" y="175"/>
                    <a:pt x="673" y="175"/>
                    <a:pt x="673" y="150"/>
                  </a:cubicBezTo>
                  <a:cubicBezTo>
                    <a:pt x="673" y="125"/>
                    <a:pt x="673" y="125"/>
                    <a:pt x="699" y="125"/>
                  </a:cubicBezTo>
                  <a:cubicBezTo>
                    <a:pt x="673" y="100"/>
                    <a:pt x="649" y="50"/>
                    <a:pt x="649" y="50"/>
                  </a:cubicBezTo>
                  <a:cubicBezTo>
                    <a:pt x="649" y="50"/>
                    <a:pt x="599" y="50"/>
                    <a:pt x="573" y="25"/>
                  </a:cubicBezTo>
                </a:path>
              </a:pathLst>
            </a:custGeom>
            <a:solidFill>
              <a:srgbClr val="000C47"/>
            </a:solidFill>
            <a:ln w="317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8" name="Freeform 83">
              <a:extLst>
                <a:ext uri="{FF2B5EF4-FFF2-40B4-BE49-F238E27FC236}">
                  <a16:creationId xmlns:a16="http://schemas.microsoft.com/office/drawing/2014/main" id="{87AAE7C2-D5E7-50D0-2BA6-21710D2F6BC0}"/>
                </a:ext>
              </a:extLst>
            </p:cNvPr>
            <p:cNvSpPr>
              <a:spLocks noChangeArrowheads="1"/>
            </p:cNvSpPr>
            <p:nvPr/>
          </p:nvSpPr>
          <p:spPr bwMode="auto">
            <a:xfrm>
              <a:off x="6232956" y="3773648"/>
              <a:ext cx="427903" cy="478895"/>
            </a:xfrm>
            <a:custGeom>
              <a:avLst/>
              <a:gdLst>
                <a:gd name="T0" fmla="*/ 125 w 851"/>
                <a:gd name="T1" fmla="*/ 250 h 951"/>
                <a:gd name="T2" fmla="*/ 125 w 851"/>
                <a:gd name="T3" fmla="*/ 250 h 951"/>
                <a:gd name="T4" fmla="*/ 76 w 851"/>
                <a:gd name="T5" fmla="*/ 300 h 951"/>
                <a:gd name="T6" fmla="*/ 100 w 851"/>
                <a:gd name="T7" fmla="*/ 350 h 951"/>
                <a:gd name="T8" fmla="*/ 76 w 851"/>
                <a:gd name="T9" fmla="*/ 374 h 951"/>
                <a:gd name="T10" fmla="*/ 25 w 851"/>
                <a:gd name="T11" fmla="*/ 400 h 951"/>
                <a:gd name="T12" fmla="*/ 25 w 851"/>
                <a:gd name="T13" fmla="*/ 450 h 951"/>
                <a:gd name="T14" fmla="*/ 0 w 851"/>
                <a:gd name="T15" fmla="*/ 525 h 951"/>
                <a:gd name="T16" fmla="*/ 25 w 851"/>
                <a:gd name="T17" fmla="*/ 575 h 951"/>
                <a:gd name="T18" fmla="*/ 25 w 851"/>
                <a:gd name="T19" fmla="*/ 599 h 951"/>
                <a:gd name="T20" fmla="*/ 51 w 851"/>
                <a:gd name="T21" fmla="*/ 675 h 951"/>
                <a:gd name="T22" fmla="*/ 76 w 851"/>
                <a:gd name="T23" fmla="*/ 699 h 951"/>
                <a:gd name="T24" fmla="*/ 125 w 851"/>
                <a:gd name="T25" fmla="*/ 725 h 951"/>
                <a:gd name="T26" fmla="*/ 176 w 851"/>
                <a:gd name="T27" fmla="*/ 750 h 951"/>
                <a:gd name="T28" fmla="*/ 200 w 851"/>
                <a:gd name="T29" fmla="*/ 775 h 951"/>
                <a:gd name="T30" fmla="*/ 151 w 851"/>
                <a:gd name="T31" fmla="*/ 850 h 951"/>
                <a:gd name="T32" fmla="*/ 151 w 851"/>
                <a:gd name="T33" fmla="*/ 900 h 951"/>
                <a:gd name="T34" fmla="*/ 225 w 851"/>
                <a:gd name="T35" fmla="*/ 900 h 951"/>
                <a:gd name="T36" fmla="*/ 300 w 851"/>
                <a:gd name="T37" fmla="*/ 900 h 951"/>
                <a:gd name="T38" fmla="*/ 351 w 851"/>
                <a:gd name="T39" fmla="*/ 925 h 951"/>
                <a:gd name="T40" fmla="*/ 351 w 851"/>
                <a:gd name="T41" fmla="*/ 925 h 951"/>
                <a:gd name="T42" fmla="*/ 425 w 851"/>
                <a:gd name="T43" fmla="*/ 925 h 951"/>
                <a:gd name="T44" fmla="*/ 476 w 851"/>
                <a:gd name="T45" fmla="*/ 925 h 951"/>
                <a:gd name="T46" fmla="*/ 524 w 851"/>
                <a:gd name="T47" fmla="*/ 925 h 951"/>
                <a:gd name="T48" fmla="*/ 624 w 851"/>
                <a:gd name="T49" fmla="*/ 900 h 951"/>
                <a:gd name="T50" fmla="*/ 650 w 851"/>
                <a:gd name="T51" fmla="*/ 875 h 951"/>
                <a:gd name="T52" fmla="*/ 699 w 851"/>
                <a:gd name="T53" fmla="*/ 825 h 951"/>
                <a:gd name="T54" fmla="*/ 749 w 851"/>
                <a:gd name="T55" fmla="*/ 775 h 951"/>
                <a:gd name="T56" fmla="*/ 650 w 851"/>
                <a:gd name="T57" fmla="*/ 699 h 951"/>
                <a:gd name="T58" fmla="*/ 624 w 851"/>
                <a:gd name="T59" fmla="*/ 625 h 951"/>
                <a:gd name="T60" fmla="*/ 599 w 851"/>
                <a:gd name="T61" fmla="*/ 575 h 951"/>
                <a:gd name="T62" fmla="*/ 699 w 851"/>
                <a:gd name="T63" fmla="*/ 525 h 951"/>
                <a:gd name="T64" fmla="*/ 775 w 851"/>
                <a:gd name="T65" fmla="*/ 500 h 951"/>
                <a:gd name="T66" fmla="*/ 824 w 851"/>
                <a:gd name="T67" fmla="*/ 500 h 951"/>
                <a:gd name="T68" fmla="*/ 850 w 851"/>
                <a:gd name="T69" fmla="*/ 450 h 951"/>
                <a:gd name="T70" fmla="*/ 824 w 851"/>
                <a:gd name="T71" fmla="*/ 374 h 951"/>
                <a:gd name="T72" fmla="*/ 799 w 851"/>
                <a:gd name="T73" fmla="*/ 325 h 951"/>
                <a:gd name="T74" fmla="*/ 775 w 851"/>
                <a:gd name="T75" fmla="*/ 274 h 951"/>
                <a:gd name="T76" fmla="*/ 775 w 851"/>
                <a:gd name="T77" fmla="*/ 225 h 951"/>
                <a:gd name="T78" fmla="*/ 775 w 851"/>
                <a:gd name="T79" fmla="*/ 125 h 951"/>
                <a:gd name="T80" fmla="*/ 775 w 851"/>
                <a:gd name="T81" fmla="*/ 125 h 951"/>
                <a:gd name="T82" fmla="*/ 775 w 851"/>
                <a:gd name="T83" fmla="*/ 125 h 951"/>
                <a:gd name="T84" fmla="*/ 724 w 851"/>
                <a:gd name="T85" fmla="*/ 74 h 951"/>
                <a:gd name="T86" fmla="*/ 724 w 851"/>
                <a:gd name="T87" fmla="*/ 25 h 951"/>
                <a:gd name="T88" fmla="*/ 650 w 851"/>
                <a:gd name="T89" fmla="*/ 50 h 951"/>
                <a:gd name="T90" fmla="*/ 524 w 851"/>
                <a:gd name="T91" fmla="*/ 100 h 951"/>
                <a:gd name="T92" fmla="*/ 476 w 851"/>
                <a:gd name="T93" fmla="*/ 74 h 951"/>
                <a:gd name="T94" fmla="*/ 451 w 851"/>
                <a:gd name="T95" fmla="*/ 50 h 951"/>
                <a:gd name="T96" fmla="*/ 376 w 851"/>
                <a:gd name="T97" fmla="*/ 25 h 951"/>
                <a:gd name="T98" fmla="*/ 376 w 851"/>
                <a:gd name="T99" fmla="*/ 0 h 951"/>
                <a:gd name="T100" fmla="*/ 351 w 851"/>
                <a:gd name="T101" fmla="*/ 0 h 951"/>
                <a:gd name="T102" fmla="*/ 251 w 851"/>
                <a:gd name="T103" fmla="*/ 0 h 951"/>
                <a:gd name="T104" fmla="*/ 276 w 851"/>
                <a:gd name="T105" fmla="*/ 50 h 951"/>
                <a:gd name="T106" fmla="*/ 300 w 851"/>
                <a:gd name="T107" fmla="*/ 125 h 951"/>
                <a:gd name="T108" fmla="*/ 251 w 851"/>
                <a:gd name="T109" fmla="*/ 150 h 951"/>
                <a:gd name="T110" fmla="*/ 200 w 851"/>
                <a:gd name="T111" fmla="*/ 150 h 951"/>
                <a:gd name="T112" fmla="*/ 125 w 851"/>
                <a:gd name="T113" fmla="*/ 150 h 951"/>
                <a:gd name="T114" fmla="*/ 125 w 851"/>
                <a:gd name="T115" fmla="*/ 174 h 951"/>
                <a:gd name="T116" fmla="*/ 125 w 851"/>
                <a:gd name="T117" fmla="*/ 250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1" h="951">
                  <a:moveTo>
                    <a:pt x="125" y="250"/>
                  </a:moveTo>
                  <a:lnTo>
                    <a:pt x="125" y="250"/>
                  </a:lnTo>
                  <a:cubicBezTo>
                    <a:pt x="100" y="274"/>
                    <a:pt x="76" y="274"/>
                    <a:pt x="76" y="300"/>
                  </a:cubicBezTo>
                  <a:cubicBezTo>
                    <a:pt x="76" y="300"/>
                    <a:pt x="100" y="325"/>
                    <a:pt x="100" y="350"/>
                  </a:cubicBezTo>
                  <a:cubicBezTo>
                    <a:pt x="100" y="350"/>
                    <a:pt x="76" y="350"/>
                    <a:pt x="76" y="374"/>
                  </a:cubicBezTo>
                  <a:cubicBezTo>
                    <a:pt x="76" y="400"/>
                    <a:pt x="51" y="400"/>
                    <a:pt x="25" y="400"/>
                  </a:cubicBezTo>
                  <a:cubicBezTo>
                    <a:pt x="25" y="400"/>
                    <a:pt x="25" y="425"/>
                    <a:pt x="25" y="450"/>
                  </a:cubicBezTo>
                  <a:cubicBezTo>
                    <a:pt x="25" y="450"/>
                    <a:pt x="25" y="500"/>
                    <a:pt x="0" y="525"/>
                  </a:cubicBezTo>
                  <a:cubicBezTo>
                    <a:pt x="0" y="525"/>
                    <a:pt x="51" y="550"/>
                    <a:pt x="25" y="575"/>
                  </a:cubicBezTo>
                  <a:cubicBezTo>
                    <a:pt x="25" y="575"/>
                    <a:pt x="0" y="599"/>
                    <a:pt x="25" y="599"/>
                  </a:cubicBezTo>
                  <a:cubicBezTo>
                    <a:pt x="25" y="625"/>
                    <a:pt x="51" y="625"/>
                    <a:pt x="51" y="675"/>
                  </a:cubicBezTo>
                  <a:cubicBezTo>
                    <a:pt x="51" y="699"/>
                    <a:pt x="76" y="699"/>
                    <a:pt x="76" y="699"/>
                  </a:cubicBezTo>
                  <a:cubicBezTo>
                    <a:pt x="76" y="725"/>
                    <a:pt x="100" y="725"/>
                    <a:pt x="125" y="725"/>
                  </a:cubicBezTo>
                  <a:cubicBezTo>
                    <a:pt x="151" y="725"/>
                    <a:pt x="176" y="750"/>
                    <a:pt x="176" y="750"/>
                  </a:cubicBezTo>
                  <a:cubicBezTo>
                    <a:pt x="200" y="750"/>
                    <a:pt x="225" y="750"/>
                    <a:pt x="200" y="775"/>
                  </a:cubicBezTo>
                  <a:cubicBezTo>
                    <a:pt x="176" y="800"/>
                    <a:pt x="176" y="825"/>
                    <a:pt x="151" y="850"/>
                  </a:cubicBezTo>
                  <a:cubicBezTo>
                    <a:pt x="151" y="875"/>
                    <a:pt x="151" y="900"/>
                    <a:pt x="151" y="900"/>
                  </a:cubicBezTo>
                  <a:cubicBezTo>
                    <a:pt x="176" y="900"/>
                    <a:pt x="225" y="900"/>
                    <a:pt x="225" y="900"/>
                  </a:cubicBezTo>
                  <a:cubicBezTo>
                    <a:pt x="251" y="900"/>
                    <a:pt x="276" y="900"/>
                    <a:pt x="300" y="900"/>
                  </a:cubicBezTo>
                  <a:cubicBezTo>
                    <a:pt x="300" y="900"/>
                    <a:pt x="325" y="925"/>
                    <a:pt x="351" y="925"/>
                  </a:cubicBezTo>
                  <a:lnTo>
                    <a:pt x="351" y="925"/>
                  </a:lnTo>
                  <a:cubicBezTo>
                    <a:pt x="376" y="925"/>
                    <a:pt x="400" y="950"/>
                    <a:pt x="425" y="925"/>
                  </a:cubicBezTo>
                  <a:cubicBezTo>
                    <a:pt x="425" y="900"/>
                    <a:pt x="451" y="925"/>
                    <a:pt x="476" y="925"/>
                  </a:cubicBezTo>
                  <a:cubicBezTo>
                    <a:pt x="476" y="925"/>
                    <a:pt x="499" y="925"/>
                    <a:pt x="524" y="925"/>
                  </a:cubicBezTo>
                  <a:cubicBezTo>
                    <a:pt x="550" y="900"/>
                    <a:pt x="599" y="900"/>
                    <a:pt x="624" y="900"/>
                  </a:cubicBezTo>
                  <a:cubicBezTo>
                    <a:pt x="624" y="900"/>
                    <a:pt x="675" y="925"/>
                    <a:pt x="650" y="875"/>
                  </a:cubicBezTo>
                  <a:cubicBezTo>
                    <a:pt x="650" y="825"/>
                    <a:pt x="699" y="825"/>
                    <a:pt x="699" y="825"/>
                  </a:cubicBezTo>
                  <a:cubicBezTo>
                    <a:pt x="699" y="800"/>
                    <a:pt x="749" y="775"/>
                    <a:pt x="749" y="775"/>
                  </a:cubicBezTo>
                  <a:cubicBezTo>
                    <a:pt x="749" y="750"/>
                    <a:pt x="675" y="725"/>
                    <a:pt x="650" y="699"/>
                  </a:cubicBezTo>
                  <a:cubicBezTo>
                    <a:pt x="624" y="675"/>
                    <a:pt x="624" y="650"/>
                    <a:pt x="624" y="625"/>
                  </a:cubicBezTo>
                  <a:cubicBezTo>
                    <a:pt x="599" y="599"/>
                    <a:pt x="575" y="575"/>
                    <a:pt x="599" y="575"/>
                  </a:cubicBezTo>
                  <a:cubicBezTo>
                    <a:pt x="650" y="575"/>
                    <a:pt x="675" y="550"/>
                    <a:pt x="699" y="525"/>
                  </a:cubicBezTo>
                  <a:cubicBezTo>
                    <a:pt x="724" y="500"/>
                    <a:pt x="775" y="500"/>
                    <a:pt x="775" y="500"/>
                  </a:cubicBezTo>
                  <a:cubicBezTo>
                    <a:pt x="799" y="475"/>
                    <a:pt x="824" y="500"/>
                    <a:pt x="824" y="500"/>
                  </a:cubicBezTo>
                  <a:cubicBezTo>
                    <a:pt x="850" y="475"/>
                    <a:pt x="850" y="450"/>
                    <a:pt x="850" y="450"/>
                  </a:cubicBezTo>
                  <a:cubicBezTo>
                    <a:pt x="824" y="425"/>
                    <a:pt x="824" y="400"/>
                    <a:pt x="824" y="374"/>
                  </a:cubicBezTo>
                  <a:cubicBezTo>
                    <a:pt x="824" y="325"/>
                    <a:pt x="799" y="325"/>
                    <a:pt x="799" y="325"/>
                  </a:cubicBezTo>
                  <a:cubicBezTo>
                    <a:pt x="799" y="300"/>
                    <a:pt x="799" y="274"/>
                    <a:pt x="775" y="274"/>
                  </a:cubicBezTo>
                  <a:cubicBezTo>
                    <a:pt x="775" y="274"/>
                    <a:pt x="749" y="250"/>
                    <a:pt x="775" y="225"/>
                  </a:cubicBezTo>
                  <a:cubicBezTo>
                    <a:pt x="799" y="200"/>
                    <a:pt x="775" y="150"/>
                    <a:pt x="775" y="125"/>
                  </a:cubicBezTo>
                  <a:lnTo>
                    <a:pt x="775" y="125"/>
                  </a:lnTo>
                  <a:lnTo>
                    <a:pt x="775" y="125"/>
                  </a:lnTo>
                  <a:cubicBezTo>
                    <a:pt x="775" y="100"/>
                    <a:pt x="749" y="74"/>
                    <a:pt x="724" y="74"/>
                  </a:cubicBezTo>
                  <a:cubicBezTo>
                    <a:pt x="675" y="74"/>
                    <a:pt x="724" y="50"/>
                    <a:pt x="724" y="25"/>
                  </a:cubicBezTo>
                  <a:cubicBezTo>
                    <a:pt x="699" y="0"/>
                    <a:pt x="675" y="50"/>
                    <a:pt x="650" y="50"/>
                  </a:cubicBezTo>
                  <a:cubicBezTo>
                    <a:pt x="599" y="50"/>
                    <a:pt x="575" y="100"/>
                    <a:pt x="524" y="100"/>
                  </a:cubicBezTo>
                  <a:cubicBezTo>
                    <a:pt x="499" y="125"/>
                    <a:pt x="476" y="100"/>
                    <a:pt x="476" y="74"/>
                  </a:cubicBezTo>
                  <a:cubicBezTo>
                    <a:pt x="499" y="50"/>
                    <a:pt x="476" y="50"/>
                    <a:pt x="451" y="50"/>
                  </a:cubicBezTo>
                  <a:cubicBezTo>
                    <a:pt x="425" y="74"/>
                    <a:pt x="376" y="50"/>
                    <a:pt x="376" y="25"/>
                  </a:cubicBezTo>
                  <a:lnTo>
                    <a:pt x="376" y="0"/>
                  </a:lnTo>
                  <a:cubicBezTo>
                    <a:pt x="351" y="0"/>
                    <a:pt x="351" y="0"/>
                    <a:pt x="351" y="0"/>
                  </a:cubicBezTo>
                  <a:cubicBezTo>
                    <a:pt x="325" y="0"/>
                    <a:pt x="300" y="0"/>
                    <a:pt x="251" y="0"/>
                  </a:cubicBezTo>
                  <a:cubicBezTo>
                    <a:pt x="276" y="0"/>
                    <a:pt x="276" y="25"/>
                    <a:pt x="276" y="50"/>
                  </a:cubicBezTo>
                  <a:cubicBezTo>
                    <a:pt x="251" y="74"/>
                    <a:pt x="276" y="74"/>
                    <a:pt x="300" y="125"/>
                  </a:cubicBezTo>
                  <a:cubicBezTo>
                    <a:pt x="325" y="150"/>
                    <a:pt x="251" y="125"/>
                    <a:pt x="251" y="150"/>
                  </a:cubicBezTo>
                  <a:cubicBezTo>
                    <a:pt x="251" y="174"/>
                    <a:pt x="200" y="150"/>
                    <a:pt x="200" y="150"/>
                  </a:cubicBezTo>
                  <a:cubicBezTo>
                    <a:pt x="176" y="150"/>
                    <a:pt x="125" y="150"/>
                    <a:pt x="125" y="150"/>
                  </a:cubicBezTo>
                  <a:cubicBezTo>
                    <a:pt x="125" y="174"/>
                    <a:pt x="125" y="174"/>
                    <a:pt x="125" y="174"/>
                  </a:cubicBezTo>
                  <a:cubicBezTo>
                    <a:pt x="125" y="200"/>
                    <a:pt x="125" y="225"/>
                    <a:pt x="125" y="250"/>
                  </a:cubicBezTo>
                </a:path>
              </a:pathLst>
            </a:custGeom>
            <a:solidFill>
              <a:srgbClr val="000C47"/>
            </a:solidFill>
            <a:ln w="317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89" name="Freeform 125">
              <a:extLst>
                <a:ext uri="{FF2B5EF4-FFF2-40B4-BE49-F238E27FC236}">
                  <a16:creationId xmlns:a16="http://schemas.microsoft.com/office/drawing/2014/main" id="{093B4904-30BB-0D12-E901-5F3E7E11F9B2}"/>
                </a:ext>
              </a:extLst>
            </p:cNvPr>
            <p:cNvSpPr>
              <a:spLocks noChangeArrowheads="1"/>
            </p:cNvSpPr>
            <p:nvPr/>
          </p:nvSpPr>
          <p:spPr bwMode="auto">
            <a:xfrm>
              <a:off x="5505744" y="4465387"/>
              <a:ext cx="605271" cy="427901"/>
            </a:xfrm>
            <a:custGeom>
              <a:avLst/>
              <a:gdLst>
                <a:gd name="T0" fmla="*/ 1201 w 1202"/>
                <a:gd name="T1" fmla="*/ 150 h 851"/>
                <a:gd name="T2" fmla="*/ 1201 w 1202"/>
                <a:gd name="T3" fmla="*/ 150 h 851"/>
                <a:gd name="T4" fmla="*/ 1101 w 1202"/>
                <a:gd name="T5" fmla="*/ 150 h 851"/>
                <a:gd name="T6" fmla="*/ 975 w 1202"/>
                <a:gd name="T7" fmla="*/ 125 h 851"/>
                <a:gd name="T8" fmla="*/ 950 w 1202"/>
                <a:gd name="T9" fmla="*/ 100 h 851"/>
                <a:gd name="T10" fmla="*/ 875 w 1202"/>
                <a:gd name="T11" fmla="*/ 100 h 851"/>
                <a:gd name="T12" fmla="*/ 775 w 1202"/>
                <a:gd name="T13" fmla="*/ 75 h 851"/>
                <a:gd name="T14" fmla="*/ 725 w 1202"/>
                <a:gd name="T15" fmla="*/ 50 h 851"/>
                <a:gd name="T16" fmla="*/ 550 w 1202"/>
                <a:gd name="T17" fmla="*/ 25 h 851"/>
                <a:gd name="T18" fmla="*/ 250 w 1202"/>
                <a:gd name="T19" fmla="*/ 25 h 851"/>
                <a:gd name="T20" fmla="*/ 125 w 1202"/>
                <a:gd name="T21" fmla="*/ 0 h 851"/>
                <a:gd name="T22" fmla="*/ 50 w 1202"/>
                <a:gd name="T23" fmla="*/ 50 h 851"/>
                <a:gd name="T24" fmla="*/ 50 w 1202"/>
                <a:gd name="T25" fmla="*/ 100 h 851"/>
                <a:gd name="T26" fmla="*/ 50 w 1202"/>
                <a:gd name="T27" fmla="*/ 200 h 851"/>
                <a:gd name="T28" fmla="*/ 75 w 1202"/>
                <a:gd name="T29" fmla="*/ 175 h 851"/>
                <a:gd name="T30" fmla="*/ 125 w 1202"/>
                <a:gd name="T31" fmla="*/ 200 h 851"/>
                <a:gd name="T32" fmla="*/ 175 w 1202"/>
                <a:gd name="T33" fmla="*/ 200 h 851"/>
                <a:gd name="T34" fmla="*/ 200 w 1202"/>
                <a:gd name="T35" fmla="*/ 200 h 851"/>
                <a:gd name="T36" fmla="*/ 275 w 1202"/>
                <a:gd name="T37" fmla="*/ 225 h 851"/>
                <a:gd name="T38" fmla="*/ 300 w 1202"/>
                <a:gd name="T39" fmla="*/ 250 h 851"/>
                <a:gd name="T40" fmla="*/ 225 w 1202"/>
                <a:gd name="T41" fmla="*/ 300 h 851"/>
                <a:gd name="T42" fmla="*/ 225 w 1202"/>
                <a:gd name="T43" fmla="*/ 400 h 851"/>
                <a:gd name="T44" fmla="*/ 225 w 1202"/>
                <a:gd name="T45" fmla="*/ 450 h 851"/>
                <a:gd name="T46" fmla="*/ 200 w 1202"/>
                <a:gd name="T47" fmla="*/ 500 h 851"/>
                <a:gd name="T48" fmla="*/ 225 w 1202"/>
                <a:gd name="T49" fmla="*/ 550 h 851"/>
                <a:gd name="T50" fmla="*/ 200 w 1202"/>
                <a:gd name="T51" fmla="*/ 600 h 851"/>
                <a:gd name="T52" fmla="*/ 225 w 1202"/>
                <a:gd name="T53" fmla="*/ 650 h 851"/>
                <a:gd name="T54" fmla="*/ 175 w 1202"/>
                <a:gd name="T55" fmla="*/ 700 h 851"/>
                <a:gd name="T56" fmla="*/ 200 w 1202"/>
                <a:gd name="T57" fmla="*/ 725 h 851"/>
                <a:gd name="T58" fmla="*/ 250 w 1202"/>
                <a:gd name="T59" fmla="*/ 725 h 851"/>
                <a:gd name="T60" fmla="*/ 350 w 1202"/>
                <a:gd name="T61" fmla="*/ 850 h 851"/>
                <a:gd name="T62" fmla="*/ 375 w 1202"/>
                <a:gd name="T63" fmla="*/ 825 h 851"/>
                <a:gd name="T64" fmla="*/ 425 w 1202"/>
                <a:gd name="T65" fmla="*/ 800 h 851"/>
                <a:gd name="T66" fmla="*/ 525 w 1202"/>
                <a:gd name="T67" fmla="*/ 775 h 851"/>
                <a:gd name="T68" fmla="*/ 650 w 1202"/>
                <a:gd name="T69" fmla="*/ 775 h 851"/>
                <a:gd name="T70" fmla="*/ 700 w 1202"/>
                <a:gd name="T71" fmla="*/ 750 h 851"/>
                <a:gd name="T72" fmla="*/ 775 w 1202"/>
                <a:gd name="T73" fmla="*/ 700 h 851"/>
                <a:gd name="T74" fmla="*/ 825 w 1202"/>
                <a:gd name="T75" fmla="*/ 625 h 851"/>
                <a:gd name="T76" fmla="*/ 875 w 1202"/>
                <a:gd name="T77" fmla="*/ 550 h 851"/>
                <a:gd name="T78" fmla="*/ 900 w 1202"/>
                <a:gd name="T79" fmla="*/ 425 h 851"/>
                <a:gd name="T80" fmla="*/ 975 w 1202"/>
                <a:gd name="T81" fmla="*/ 325 h 851"/>
                <a:gd name="T82" fmla="*/ 1050 w 1202"/>
                <a:gd name="T83" fmla="*/ 275 h 851"/>
                <a:gd name="T84" fmla="*/ 1150 w 1202"/>
                <a:gd name="T85" fmla="*/ 225 h 851"/>
                <a:gd name="T86" fmla="*/ 1201 w 1202"/>
                <a:gd name="T87" fmla="*/ 150 h 851"/>
                <a:gd name="T88" fmla="*/ 1201 w 1202"/>
                <a:gd name="T89" fmla="*/ 450 h 851"/>
                <a:gd name="T90" fmla="*/ 1201 w 1202"/>
                <a:gd name="T91" fmla="*/ 450 h 851"/>
                <a:gd name="T92" fmla="*/ 1125 w 1202"/>
                <a:gd name="T93" fmla="*/ 475 h 851"/>
                <a:gd name="T94" fmla="*/ 1201 w 1202"/>
                <a:gd name="T9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851">
                  <a:moveTo>
                    <a:pt x="1201" y="150"/>
                  </a:moveTo>
                  <a:lnTo>
                    <a:pt x="1201" y="150"/>
                  </a:lnTo>
                  <a:cubicBezTo>
                    <a:pt x="1150" y="150"/>
                    <a:pt x="1125" y="150"/>
                    <a:pt x="1101" y="150"/>
                  </a:cubicBezTo>
                  <a:cubicBezTo>
                    <a:pt x="1075" y="125"/>
                    <a:pt x="1001" y="125"/>
                    <a:pt x="975" y="125"/>
                  </a:cubicBezTo>
                  <a:cubicBezTo>
                    <a:pt x="975" y="100"/>
                    <a:pt x="950" y="75"/>
                    <a:pt x="950" y="100"/>
                  </a:cubicBezTo>
                  <a:cubicBezTo>
                    <a:pt x="950" y="125"/>
                    <a:pt x="900" y="125"/>
                    <a:pt x="875" y="100"/>
                  </a:cubicBezTo>
                  <a:cubicBezTo>
                    <a:pt x="850" y="100"/>
                    <a:pt x="801" y="75"/>
                    <a:pt x="775" y="75"/>
                  </a:cubicBezTo>
                  <a:cubicBezTo>
                    <a:pt x="775" y="50"/>
                    <a:pt x="750" y="50"/>
                    <a:pt x="725" y="50"/>
                  </a:cubicBezTo>
                  <a:cubicBezTo>
                    <a:pt x="700" y="50"/>
                    <a:pt x="625" y="25"/>
                    <a:pt x="550" y="25"/>
                  </a:cubicBezTo>
                  <a:cubicBezTo>
                    <a:pt x="500" y="25"/>
                    <a:pt x="325" y="25"/>
                    <a:pt x="250" y="25"/>
                  </a:cubicBezTo>
                  <a:cubicBezTo>
                    <a:pt x="175" y="25"/>
                    <a:pt x="175" y="0"/>
                    <a:pt x="125" y="0"/>
                  </a:cubicBezTo>
                  <a:cubicBezTo>
                    <a:pt x="100" y="0"/>
                    <a:pt x="125" y="25"/>
                    <a:pt x="50" y="50"/>
                  </a:cubicBezTo>
                  <a:cubicBezTo>
                    <a:pt x="0" y="50"/>
                    <a:pt x="0" y="75"/>
                    <a:pt x="50" y="100"/>
                  </a:cubicBezTo>
                  <a:cubicBezTo>
                    <a:pt x="50" y="125"/>
                    <a:pt x="50" y="150"/>
                    <a:pt x="50" y="200"/>
                  </a:cubicBezTo>
                  <a:cubicBezTo>
                    <a:pt x="75" y="200"/>
                    <a:pt x="75" y="200"/>
                    <a:pt x="75" y="175"/>
                  </a:cubicBezTo>
                  <a:cubicBezTo>
                    <a:pt x="100" y="175"/>
                    <a:pt x="125" y="175"/>
                    <a:pt x="125" y="200"/>
                  </a:cubicBezTo>
                  <a:cubicBezTo>
                    <a:pt x="125" y="200"/>
                    <a:pt x="150" y="200"/>
                    <a:pt x="175" y="200"/>
                  </a:cubicBezTo>
                  <a:cubicBezTo>
                    <a:pt x="200" y="200"/>
                    <a:pt x="175" y="225"/>
                    <a:pt x="200" y="200"/>
                  </a:cubicBezTo>
                  <a:cubicBezTo>
                    <a:pt x="225" y="175"/>
                    <a:pt x="275" y="200"/>
                    <a:pt x="275" y="225"/>
                  </a:cubicBezTo>
                  <a:cubicBezTo>
                    <a:pt x="275" y="225"/>
                    <a:pt x="325" y="225"/>
                    <a:pt x="300" y="250"/>
                  </a:cubicBezTo>
                  <a:cubicBezTo>
                    <a:pt x="250" y="275"/>
                    <a:pt x="225" y="275"/>
                    <a:pt x="225" y="300"/>
                  </a:cubicBezTo>
                  <a:cubicBezTo>
                    <a:pt x="225" y="325"/>
                    <a:pt x="250" y="375"/>
                    <a:pt x="225" y="400"/>
                  </a:cubicBezTo>
                  <a:cubicBezTo>
                    <a:pt x="200" y="425"/>
                    <a:pt x="250" y="450"/>
                    <a:pt x="225" y="450"/>
                  </a:cubicBezTo>
                  <a:cubicBezTo>
                    <a:pt x="200" y="450"/>
                    <a:pt x="175" y="475"/>
                    <a:pt x="200" y="500"/>
                  </a:cubicBezTo>
                  <a:cubicBezTo>
                    <a:pt x="225" y="525"/>
                    <a:pt x="250" y="550"/>
                    <a:pt x="225" y="550"/>
                  </a:cubicBezTo>
                  <a:cubicBezTo>
                    <a:pt x="200" y="550"/>
                    <a:pt x="200" y="575"/>
                    <a:pt x="200" y="600"/>
                  </a:cubicBezTo>
                  <a:cubicBezTo>
                    <a:pt x="200" y="600"/>
                    <a:pt x="250" y="625"/>
                    <a:pt x="225" y="650"/>
                  </a:cubicBezTo>
                  <a:cubicBezTo>
                    <a:pt x="175" y="650"/>
                    <a:pt x="175" y="675"/>
                    <a:pt x="175" y="700"/>
                  </a:cubicBezTo>
                  <a:cubicBezTo>
                    <a:pt x="175" y="700"/>
                    <a:pt x="175" y="725"/>
                    <a:pt x="200" y="725"/>
                  </a:cubicBezTo>
                  <a:cubicBezTo>
                    <a:pt x="200" y="725"/>
                    <a:pt x="225" y="725"/>
                    <a:pt x="250" y="725"/>
                  </a:cubicBezTo>
                  <a:cubicBezTo>
                    <a:pt x="275" y="750"/>
                    <a:pt x="300" y="850"/>
                    <a:pt x="350" y="850"/>
                  </a:cubicBezTo>
                  <a:cubicBezTo>
                    <a:pt x="375" y="850"/>
                    <a:pt x="375" y="825"/>
                    <a:pt x="375" y="825"/>
                  </a:cubicBezTo>
                  <a:cubicBezTo>
                    <a:pt x="400" y="800"/>
                    <a:pt x="425" y="800"/>
                    <a:pt x="425" y="800"/>
                  </a:cubicBezTo>
                  <a:cubicBezTo>
                    <a:pt x="450" y="800"/>
                    <a:pt x="475" y="775"/>
                    <a:pt x="525" y="775"/>
                  </a:cubicBezTo>
                  <a:cubicBezTo>
                    <a:pt x="575" y="775"/>
                    <a:pt x="601" y="775"/>
                    <a:pt x="650" y="775"/>
                  </a:cubicBezTo>
                  <a:cubicBezTo>
                    <a:pt x="675" y="775"/>
                    <a:pt x="700" y="775"/>
                    <a:pt x="700" y="750"/>
                  </a:cubicBezTo>
                  <a:cubicBezTo>
                    <a:pt x="725" y="725"/>
                    <a:pt x="750" y="700"/>
                    <a:pt x="775" y="700"/>
                  </a:cubicBezTo>
                  <a:cubicBezTo>
                    <a:pt x="825" y="675"/>
                    <a:pt x="825" y="650"/>
                    <a:pt x="825" y="625"/>
                  </a:cubicBezTo>
                  <a:cubicBezTo>
                    <a:pt x="825" y="600"/>
                    <a:pt x="875" y="575"/>
                    <a:pt x="875" y="550"/>
                  </a:cubicBezTo>
                  <a:cubicBezTo>
                    <a:pt x="900" y="525"/>
                    <a:pt x="850" y="475"/>
                    <a:pt x="900" y="425"/>
                  </a:cubicBezTo>
                  <a:cubicBezTo>
                    <a:pt x="925" y="350"/>
                    <a:pt x="975" y="350"/>
                    <a:pt x="975" y="325"/>
                  </a:cubicBezTo>
                  <a:cubicBezTo>
                    <a:pt x="975" y="300"/>
                    <a:pt x="1001" y="275"/>
                    <a:pt x="1050" y="275"/>
                  </a:cubicBezTo>
                  <a:cubicBezTo>
                    <a:pt x="1101" y="275"/>
                    <a:pt x="1125" y="250"/>
                    <a:pt x="1150" y="225"/>
                  </a:cubicBezTo>
                  <a:cubicBezTo>
                    <a:pt x="1201" y="200"/>
                    <a:pt x="1201" y="175"/>
                    <a:pt x="1201" y="150"/>
                  </a:cubicBezTo>
                  <a:close/>
                  <a:moveTo>
                    <a:pt x="1201" y="450"/>
                  </a:moveTo>
                  <a:lnTo>
                    <a:pt x="1201" y="450"/>
                  </a:lnTo>
                  <a:cubicBezTo>
                    <a:pt x="1201" y="400"/>
                    <a:pt x="1101" y="450"/>
                    <a:pt x="1125" y="475"/>
                  </a:cubicBezTo>
                  <a:cubicBezTo>
                    <a:pt x="1150" y="500"/>
                    <a:pt x="1201" y="500"/>
                    <a:pt x="1201" y="450"/>
                  </a:cubicBezTo>
                  <a:close/>
                </a:path>
              </a:pathLst>
            </a:custGeom>
            <a:solidFill>
              <a:srgbClr val="000C47"/>
            </a:solidFill>
            <a:ln w="317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90" name="Freeform 132">
              <a:extLst>
                <a:ext uri="{FF2B5EF4-FFF2-40B4-BE49-F238E27FC236}">
                  <a16:creationId xmlns:a16="http://schemas.microsoft.com/office/drawing/2014/main" id="{3C19BC6F-A7D0-C02D-1C2C-8F28F0CAC43D}"/>
                </a:ext>
              </a:extLst>
            </p:cNvPr>
            <p:cNvSpPr>
              <a:spLocks noChangeArrowheads="1"/>
            </p:cNvSpPr>
            <p:nvPr/>
          </p:nvSpPr>
          <p:spPr bwMode="auto">
            <a:xfrm>
              <a:off x="5567829" y="3359051"/>
              <a:ext cx="465593" cy="729431"/>
            </a:xfrm>
            <a:custGeom>
              <a:avLst/>
              <a:gdLst>
                <a:gd name="T0" fmla="*/ 175 w 926"/>
                <a:gd name="T1" fmla="*/ 776 h 1452"/>
                <a:gd name="T2" fmla="*/ 25 w 926"/>
                <a:gd name="T3" fmla="*/ 851 h 1452"/>
                <a:gd name="T4" fmla="*/ 75 w 926"/>
                <a:gd name="T5" fmla="*/ 926 h 1452"/>
                <a:gd name="T6" fmla="*/ 150 w 926"/>
                <a:gd name="T7" fmla="*/ 926 h 1452"/>
                <a:gd name="T8" fmla="*/ 175 w 926"/>
                <a:gd name="T9" fmla="*/ 776 h 1452"/>
                <a:gd name="T10" fmla="*/ 925 w 926"/>
                <a:gd name="T11" fmla="*/ 1126 h 1452"/>
                <a:gd name="T12" fmla="*/ 800 w 926"/>
                <a:gd name="T13" fmla="*/ 1076 h 1452"/>
                <a:gd name="T14" fmla="*/ 750 w 926"/>
                <a:gd name="T15" fmla="*/ 976 h 1452"/>
                <a:gd name="T16" fmla="*/ 625 w 926"/>
                <a:gd name="T17" fmla="*/ 751 h 1452"/>
                <a:gd name="T18" fmla="*/ 476 w 926"/>
                <a:gd name="T19" fmla="*/ 676 h 1452"/>
                <a:gd name="T20" fmla="*/ 575 w 926"/>
                <a:gd name="T21" fmla="*/ 451 h 1452"/>
                <a:gd name="T22" fmla="*/ 375 w 926"/>
                <a:gd name="T23" fmla="*/ 426 h 1452"/>
                <a:gd name="T24" fmla="*/ 450 w 926"/>
                <a:gd name="T25" fmla="*/ 276 h 1452"/>
                <a:gd name="T26" fmla="*/ 325 w 926"/>
                <a:gd name="T27" fmla="*/ 326 h 1452"/>
                <a:gd name="T28" fmla="*/ 225 w 926"/>
                <a:gd name="T29" fmla="*/ 451 h 1452"/>
                <a:gd name="T30" fmla="*/ 125 w 926"/>
                <a:gd name="T31" fmla="*/ 476 h 1452"/>
                <a:gd name="T32" fmla="*/ 175 w 926"/>
                <a:gd name="T33" fmla="*/ 600 h 1452"/>
                <a:gd name="T34" fmla="*/ 150 w 926"/>
                <a:gd name="T35" fmla="*/ 700 h 1452"/>
                <a:gd name="T36" fmla="*/ 250 w 926"/>
                <a:gd name="T37" fmla="*/ 726 h 1452"/>
                <a:gd name="T38" fmla="*/ 300 w 926"/>
                <a:gd name="T39" fmla="*/ 726 h 1452"/>
                <a:gd name="T40" fmla="*/ 400 w 926"/>
                <a:gd name="T41" fmla="*/ 800 h 1452"/>
                <a:gd name="T42" fmla="*/ 450 w 926"/>
                <a:gd name="T43" fmla="*/ 900 h 1452"/>
                <a:gd name="T44" fmla="*/ 476 w 926"/>
                <a:gd name="T45" fmla="*/ 1026 h 1452"/>
                <a:gd name="T46" fmla="*/ 350 w 926"/>
                <a:gd name="T47" fmla="*/ 1026 h 1452"/>
                <a:gd name="T48" fmla="*/ 375 w 926"/>
                <a:gd name="T49" fmla="*/ 1126 h 1452"/>
                <a:gd name="T50" fmla="*/ 325 w 926"/>
                <a:gd name="T51" fmla="*/ 1226 h 1452"/>
                <a:gd name="T52" fmla="*/ 476 w 926"/>
                <a:gd name="T53" fmla="*/ 1251 h 1452"/>
                <a:gd name="T54" fmla="*/ 375 w 926"/>
                <a:gd name="T55" fmla="*/ 1301 h 1452"/>
                <a:gd name="T56" fmla="*/ 325 w 926"/>
                <a:gd name="T57" fmla="*/ 1401 h 1452"/>
                <a:gd name="T58" fmla="*/ 425 w 926"/>
                <a:gd name="T59" fmla="*/ 1376 h 1452"/>
                <a:gd name="T60" fmla="*/ 575 w 926"/>
                <a:gd name="T61" fmla="*/ 1351 h 1452"/>
                <a:gd name="T62" fmla="*/ 750 w 926"/>
                <a:gd name="T63" fmla="*/ 1351 h 1452"/>
                <a:gd name="T64" fmla="*/ 850 w 926"/>
                <a:gd name="T65" fmla="*/ 1276 h 1452"/>
                <a:gd name="T66" fmla="*/ 925 w 926"/>
                <a:gd name="T67" fmla="*/ 1126 h 1452"/>
                <a:gd name="T68" fmla="*/ 100 w 926"/>
                <a:gd name="T69" fmla="*/ 426 h 1452"/>
                <a:gd name="T70" fmla="*/ 100 w 926"/>
                <a:gd name="T71" fmla="*/ 426 h 1452"/>
                <a:gd name="T72" fmla="*/ 625 w 926"/>
                <a:gd name="T73" fmla="*/ 125 h 1452"/>
                <a:gd name="T74" fmla="*/ 625 w 926"/>
                <a:gd name="T75" fmla="*/ 12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6" h="1452">
                  <a:moveTo>
                    <a:pt x="175" y="776"/>
                  </a:moveTo>
                  <a:lnTo>
                    <a:pt x="175" y="776"/>
                  </a:lnTo>
                  <a:cubicBezTo>
                    <a:pt x="150" y="751"/>
                    <a:pt x="100" y="800"/>
                    <a:pt x="50" y="800"/>
                  </a:cubicBezTo>
                  <a:cubicBezTo>
                    <a:pt x="50" y="826"/>
                    <a:pt x="50" y="851"/>
                    <a:pt x="25" y="851"/>
                  </a:cubicBezTo>
                  <a:lnTo>
                    <a:pt x="0" y="900"/>
                  </a:lnTo>
                  <a:cubicBezTo>
                    <a:pt x="25" y="900"/>
                    <a:pt x="75" y="951"/>
                    <a:pt x="75" y="926"/>
                  </a:cubicBezTo>
                  <a:cubicBezTo>
                    <a:pt x="75" y="900"/>
                    <a:pt x="75" y="851"/>
                    <a:pt x="125" y="900"/>
                  </a:cubicBezTo>
                  <a:lnTo>
                    <a:pt x="150" y="926"/>
                  </a:lnTo>
                  <a:cubicBezTo>
                    <a:pt x="150" y="900"/>
                    <a:pt x="200" y="900"/>
                    <a:pt x="225" y="876"/>
                  </a:cubicBezTo>
                  <a:cubicBezTo>
                    <a:pt x="250" y="851"/>
                    <a:pt x="200" y="826"/>
                    <a:pt x="175" y="776"/>
                  </a:cubicBezTo>
                  <a:close/>
                  <a:moveTo>
                    <a:pt x="925" y="1126"/>
                  </a:moveTo>
                  <a:lnTo>
                    <a:pt x="925" y="1126"/>
                  </a:lnTo>
                  <a:cubicBezTo>
                    <a:pt x="925" y="1076"/>
                    <a:pt x="850" y="1051"/>
                    <a:pt x="825" y="1076"/>
                  </a:cubicBezTo>
                  <a:cubicBezTo>
                    <a:pt x="825" y="1100"/>
                    <a:pt x="800" y="1100"/>
                    <a:pt x="800" y="1076"/>
                  </a:cubicBezTo>
                  <a:cubicBezTo>
                    <a:pt x="775" y="1051"/>
                    <a:pt x="800" y="1026"/>
                    <a:pt x="775" y="1026"/>
                  </a:cubicBezTo>
                  <a:lnTo>
                    <a:pt x="750" y="976"/>
                  </a:lnTo>
                  <a:cubicBezTo>
                    <a:pt x="750" y="951"/>
                    <a:pt x="725" y="876"/>
                    <a:pt x="676" y="851"/>
                  </a:cubicBezTo>
                  <a:cubicBezTo>
                    <a:pt x="650" y="851"/>
                    <a:pt x="625" y="776"/>
                    <a:pt x="625" y="751"/>
                  </a:cubicBezTo>
                  <a:cubicBezTo>
                    <a:pt x="625" y="700"/>
                    <a:pt x="575" y="726"/>
                    <a:pt x="550" y="700"/>
                  </a:cubicBezTo>
                  <a:cubicBezTo>
                    <a:pt x="525" y="651"/>
                    <a:pt x="500" y="676"/>
                    <a:pt x="476" y="676"/>
                  </a:cubicBezTo>
                  <a:cubicBezTo>
                    <a:pt x="450" y="676"/>
                    <a:pt x="476" y="651"/>
                    <a:pt x="500" y="626"/>
                  </a:cubicBezTo>
                  <a:cubicBezTo>
                    <a:pt x="550" y="600"/>
                    <a:pt x="575" y="476"/>
                    <a:pt x="575" y="451"/>
                  </a:cubicBezTo>
                  <a:cubicBezTo>
                    <a:pt x="575" y="426"/>
                    <a:pt x="425" y="426"/>
                    <a:pt x="400" y="451"/>
                  </a:cubicBezTo>
                  <a:cubicBezTo>
                    <a:pt x="375" y="451"/>
                    <a:pt x="350" y="426"/>
                    <a:pt x="375" y="426"/>
                  </a:cubicBezTo>
                  <a:cubicBezTo>
                    <a:pt x="400" y="400"/>
                    <a:pt x="450" y="351"/>
                    <a:pt x="450" y="326"/>
                  </a:cubicBezTo>
                  <a:cubicBezTo>
                    <a:pt x="450" y="326"/>
                    <a:pt x="476" y="300"/>
                    <a:pt x="450" y="276"/>
                  </a:cubicBezTo>
                  <a:cubicBezTo>
                    <a:pt x="450" y="251"/>
                    <a:pt x="425" y="300"/>
                    <a:pt x="425" y="326"/>
                  </a:cubicBezTo>
                  <a:cubicBezTo>
                    <a:pt x="400" y="326"/>
                    <a:pt x="350" y="326"/>
                    <a:pt x="325" y="326"/>
                  </a:cubicBezTo>
                  <a:cubicBezTo>
                    <a:pt x="275" y="300"/>
                    <a:pt x="250" y="376"/>
                    <a:pt x="250" y="400"/>
                  </a:cubicBezTo>
                  <a:cubicBezTo>
                    <a:pt x="250" y="426"/>
                    <a:pt x="200" y="451"/>
                    <a:pt x="225" y="451"/>
                  </a:cubicBezTo>
                  <a:cubicBezTo>
                    <a:pt x="225" y="476"/>
                    <a:pt x="200" y="500"/>
                    <a:pt x="200" y="500"/>
                  </a:cubicBezTo>
                  <a:cubicBezTo>
                    <a:pt x="175" y="476"/>
                    <a:pt x="175" y="451"/>
                    <a:pt x="125" y="476"/>
                  </a:cubicBezTo>
                  <a:cubicBezTo>
                    <a:pt x="100" y="500"/>
                    <a:pt x="175" y="526"/>
                    <a:pt x="200" y="526"/>
                  </a:cubicBezTo>
                  <a:cubicBezTo>
                    <a:pt x="250" y="526"/>
                    <a:pt x="175" y="551"/>
                    <a:pt x="175" y="600"/>
                  </a:cubicBezTo>
                  <a:cubicBezTo>
                    <a:pt x="175" y="626"/>
                    <a:pt x="225" y="626"/>
                    <a:pt x="225" y="651"/>
                  </a:cubicBezTo>
                  <a:cubicBezTo>
                    <a:pt x="225" y="676"/>
                    <a:pt x="150" y="676"/>
                    <a:pt x="150" y="700"/>
                  </a:cubicBezTo>
                  <a:cubicBezTo>
                    <a:pt x="150" y="726"/>
                    <a:pt x="200" y="700"/>
                    <a:pt x="200" y="676"/>
                  </a:cubicBezTo>
                  <a:cubicBezTo>
                    <a:pt x="225" y="676"/>
                    <a:pt x="200" y="751"/>
                    <a:pt x="250" y="726"/>
                  </a:cubicBezTo>
                  <a:cubicBezTo>
                    <a:pt x="300" y="726"/>
                    <a:pt x="275" y="651"/>
                    <a:pt x="300" y="651"/>
                  </a:cubicBezTo>
                  <a:cubicBezTo>
                    <a:pt x="325" y="676"/>
                    <a:pt x="300" y="700"/>
                    <a:pt x="300" y="726"/>
                  </a:cubicBezTo>
                  <a:cubicBezTo>
                    <a:pt x="325" y="751"/>
                    <a:pt x="275" y="800"/>
                    <a:pt x="275" y="826"/>
                  </a:cubicBezTo>
                  <a:cubicBezTo>
                    <a:pt x="275" y="851"/>
                    <a:pt x="375" y="851"/>
                    <a:pt x="400" y="800"/>
                  </a:cubicBezTo>
                  <a:cubicBezTo>
                    <a:pt x="450" y="776"/>
                    <a:pt x="450" y="800"/>
                    <a:pt x="425" y="826"/>
                  </a:cubicBezTo>
                  <a:cubicBezTo>
                    <a:pt x="425" y="851"/>
                    <a:pt x="425" y="876"/>
                    <a:pt x="450" y="900"/>
                  </a:cubicBezTo>
                  <a:cubicBezTo>
                    <a:pt x="476" y="900"/>
                    <a:pt x="500" y="900"/>
                    <a:pt x="476" y="926"/>
                  </a:cubicBezTo>
                  <a:cubicBezTo>
                    <a:pt x="476" y="951"/>
                    <a:pt x="476" y="1000"/>
                    <a:pt x="476" y="1026"/>
                  </a:cubicBezTo>
                  <a:cubicBezTo>
                    <a:pt x="450" y="1026"/>
                    <a:pt x="375" y="1026"/>
                    <a:pt x="375" y="1026"/>
                  </a:cubicBezTo>
                  <a:cubicBezTo>
                    <a:pt x="375" y="1000"/>
                    <a:pt x="325" y="1026"/>
                    <a:pt x="350" y="1026"/>
                  </a:cubicBezTo>
                  <a:cubicBezTo>
                    <a:pt x="350" y="1051"/>
                    <a:pt x="300" y="1076"/>
                    <a:pt x="325" y="1100"/>
                  </a:cubicBezTo>
                  <a:cubicBezTo>
                    <a:pt x="325" y="1100"/>
                    <a:pt x="375" y="1100"/>
                    <a:pt x="375" y="1126"/>
                  </a:cubicBezTo>
                  <a:cubicBezTo>
                    <a:pt x="375" y="1151"/>
                    <a:pt x="325" y="1176"/>
                    <a:pt x="275" y="1200"/>
                  </a:cubicBezTo>
                  <a:cubicBezTo>
                    <a:pt x="225" y="1200"/>
                    <a:pt x="300" y="1251"/>
                    <a:pt x="325" y="1226"/>
                  </a:cubicBezTo>
                  <a:cubicBezTo>
                    <a:pt x="350" y="1200"/>
                    <a:pt x="325" y="1251"/>
                    <a:pt x="375" y="1251"/>
                  </a:cubicBezTo>
                  <a:cubicBezTo>
                    <a:pt x="400" y="1251"/>
                    <a:pt x="425" y="1276"/>
                    <a:pt x="476" y="1251"/>
                  </a:cubicBezTo>
                  <a:cubicBezTo>
                    <a:pt x="500" y="1251"/>
                    <a:pt x="500" y="1251"/>
                    <a:pt x="476" y="1276"/>
                  </a:cubicBezTo>
                  <a:cubicBezTo>
                    <a:pt x="450" y="1301"/>
                    <a:pt x="400" y="1276"/>
                    <a:pt x="375" y="1301"/>
                  </a:cubicBezTo>
                  <a:cubicBezTo>
                    <a:pt x="350" y="1301"/>
                    <a:pt x="225" y="1425"/>
                    <a:pt x="250" y="1451"/>
                  </a:cubicBezTo>
                  <a:cubicBezTo>
                    <a:pt x="275" y="1451"/>
                    <a:pt x="275" y="1425"/>
                    <a:pt x="325" y="1401"/>
                  </a:cubicBezTo>
                  <a:cubicBezTo>
                    <a:pt x="375" y="1376"/>
                    <a:pt x="375" y="1425"/>
                    <a:pt x="400" y="1425"/>
                  </a:cubicBezTo>
                  <a:cubicBezTo>
                    <a:pt x="425" y="1425"/>
                    <a:pt x="425" y="1376"/>
                    <a:pt x="425" y="1376"/>
                  </a:cubicBezTo>
                  <a:cubicBezTo>
                    <a:pt x="450" y="1376"/>
                    <a:pt x="476" y="1351"/>
                    <a:pt x="500" y="1376"/>
                  </a:cubicBezTo>
                  <a:cubicBezTo>
                    <a:pt x="525" y="1376"/>
                    <a:pt x="550" y="1351"/>
                    <a:pt x="575" y="1351"/>
                  </a:cubicBezTo>
                  <a:cubicBezTo>
                    <a:pt x="600" y="1326"/>
                    <a:pt x="650" y="1376"/>
                    <a:pt x="650" y="1351"/>
                  </a:cubicBezTo>
                  <a:cubicBezTo>
                    <a:pt x="676" y="1351"/>
                    <a:pt x="725" y="1351"/>
                    <a:pt x="750" y="1351"/>
                  </a:cubicBezTo>
                  <a:cubicBezTo>
                    <a:pt x="800" y="1351"/>
                    <a:pt x="876" y="1301"/>
                    <a:pt x="900" y="1301"/>
                  </a:cubicBezTo>
                  <a:cubicBezTo>
                    <a:pt x="900" y="1276"/>
                    <a:pt x="876" y="1276"/>
                    <a:pt x="850" y="1276"/>
                  </a:cubicBezTo>
                  <a:cubicBezTo>
                    <a:pt x="825" y="1276"/>
                    <a:pt x="825" y="1251"/>
                    <a:pt x="850" y="1226"/>
                  </a:cubicBezTo>
                  <a:cubicBezTo>
                    <a:pt x="876" y="1176"/>
                    <a:pt x="925" y="1176"/>
                    <a:pt x="925" y="1126"/>
                  </a:cubicBezTo>
                  <a:close/>
                  <a:moveTo>
                    <a:pt x="100" y="426"/>
                  </a:moveTo>
                  <a:lnTo>
                    <a:pt x="100" y="426"/>
                  </a:lnTo>
                  <a:cubicBezTo>
                    <a:pt x="125" y="426"/>
                    <a:pt x="175" y="351"/>
                    <a:pt x="150" y="351"/>
                  </a:cubicBezTo>
                  <a:cubicBezTo>
                    <a:pt x="150" y="326"/>
                    <a:pt x="75" y="426"/>
                    <a:pt x="100" y="426"/>
                  </a:cubicBezTo>
                  <a:close/>
                  <a:moveTo>
                    <a:pt x="625" y="125"/>
                  </a:moveTo>
                  <a:lnTo>
                    <a:pt x="625" y="125"/>
                  </a:lnTo>
                  <a:cubicBezTo>
                    <a:pt x="650" y="100"/>
                    <a:pt x="676" y="0"/>
                    <a:pt x="650" y="26"/>
                  </a:cubicBezTo>
                  <a:cubicBezTo>
                    <a:pt x="625" y="26"/>
                    <a:pt x="625" y="125"/>
                    <a:pt x="625" y="125"/>
                  </a:cubicBezTo>
                  <a:close/>
                </a:path>
              </a:pathLst>
            </a:custGeom>
            <a:solidFill>
              <a:srgbClr val="000C47"/>
            </a:solidFill>
            <a:ln w="317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91" name="Freeform 174">
              <a:extLst>
                <a:ext uri="{FF2B5EF4-FFF2-40B4-BE49-F238E27FC236}">
                  <a16:creationId xmlns:a16="http://schemas.microsoft.com/office/drawing/2014/main" id="{773F7A3D-0FC5-02D1-5F99-B7806D1ECF89}"/>
                </a:ext>
              </a:extLst>
            </p:cNvPr>
            <p:cNvSpPr>
              <a:spLocks noChangeArrowheads="1"/>
            </p:cNvSpPr>
            <p:nvPr/>
          </p:nvSpPr>
          <p:spPr bwMode="auto">
            <a:xfrm>
              <a:off x="6261078" y="4259559"/>
              <a:ext cx="552062" cy="591969"/>
            </a:xfrm>
            <a:custGeom>
              <a:avLst/>
              <a:gdLst>
                <a:gd name="T0" fmla="*/ 748 w 1100"/>
                <a:gd name="T1" fmla="*/ 1025 h 1176"/>
                <a:gd name="T2" fmla="*/ 573 w 1100"/>
                <a:gd name="T3" fmla="*/ 1050 h 1176"/>
                <a:gd name="T4" fmla="*/ 773 w 1100"/>
                <a:gd name="T5" fmla="*/ 1175 h 1176"/>
                <a:gd name="T6" fmla="*/ 824 w 1100"/>
                <a:gd name="T7" fmla="*/ 1025 h 1176"/>
                <a:gd name="T8" fmla="*/ 225 w 1100"/>
                <a:gd name="T9" fmla="*/ 700 h 1176"/>
                <a:gd name="T10" fmla="*/ 149 w 1100"/>
                <a:gd name="T11" fmla="*/ 725 h 1176"/>
                <a:gd name="T12" fmla="*/ 225 w 1100"/>
                <a:gd name="T13" fmla="*/ 925 h 1176"/>
                <a:gd name="T14" fmla="*/ 300 w 1100"/>
                <a:gd name="T15" fmla="*/ 750 h 1176"/>
                <a:gd name="T16" fmla="*/ 899 w 1100"/>
                <a:gd name="T17" fmla="*/ 650 h 1176"/>
                <a:gd name="T18" fmla="*/ 824 w 1100"/>
                <a:gd name="T19" fmla="*/ 600 h 1176"/>
                <a:gd name="T20" fmla="*/ 548 w 1100"/>
                <a:gd name="T21" fmla="*/ 325 h 1176"/>
                <a:gd name="T22" fmla="*/ 599 w 1100"/>
                <a:gd name="T23" fmla="*/ 175 h 1176"/>
                <a:gd name="T24" fmla="*/ 548 w 1100"/>
                <a:gd name="T25" fmla="*/ 50 h 1176"/>
                <a:gd name="T26" fmla="*/ 473 w 1100"/>
                <a:gd name="T27" fmla="*/ 0 h 1176"/>
                <a:gd name="T28" fmla="*/ 400 w 1100"/>
                <a:gd name="T29" fmla="*/ 25 h 1176"/>
                <a:gd name="T30" fmla="*/ 349 w 1100"/>
                <a:gd name="T31" fmla="*/ 50 h 1176"/>
                <a:gd name="T32" fmla="*/ 300 w 1100"/>
                <a:gd name="T33" fmla="*/ 75 h 1176"/>
                <a:gd name="T34" fmla="*/ 225 w 1100"/>
                <a:gd name="T35" fmla="*/ 125 h 1176"/>
                <a:gd name="T36" fmla="*/ 125 w 1100"/>
                <a:gd name="T37" fmla="*/ 150 h 1176"/>
                <a:gd name="T38" fmla="*/ 49 w 1100"/>
                <a:gd name="T39" fmla="*/ 200 h 1176"/>
                <a:gd name="T40" fmla="*/ 25 w 1100"/>
                <a:gd name="T41" fmla="*/ 250 h 1176"/>
                <a:gd name="T42" fmla="*/ 74 w 1100"/>
                <a:gd name="T43" fmla="*/ 350 h 1176"/>
                <a:gd name="T44" fmla="*/ 100 w 1100"/>
                <a:gd name="T45" fmla="*/ 400 h 1176"/>
                <a:gd name="T46" fmla="*/ 225 w 1100"/>
                <a:gd name="T47" fmla="*/ 325 h 1176"/>
                <a:gd name="T48" fmla="*/ 374 w 1100"/>
                <a:gd name="T49" fmla="*/ 425 h 1176"/>
                <a:gd name="T50" fmla="*/ 599 w 1100"/>
                <a:gd name="T51" fmla="*/ 650 h 1176"/>
                <a:gd name="T52" fmla="*/ 773 w 1100"/>
                <a:gd name="T53" fmla="*/ 750 h 1176"/>
                <a:gd name="T54" fmla="*/ 873 w 1100"/>
                <a:gd name="T55" fmla="*/ 850 h 1176"/>
                <a:gd name="T56" fmla="*/ 873 w 1100"/>
                <a:gd name="T57" fmla="*/ 1025 h 1176"/>
                <a:gd name="T58" fmla="*/ 973 w 1100"/>
                <a:gd name="T59" fmla="*/ 900 h 1176"/>
                <a:gd name="T60" fmla="*/ 1024 w 1100"/>
                <a:gd name="T61" fmla="*/ 800 h 1176"/>
                <a:gd name="T62" fmla="*/ 899 w 1100"/>
                <a:gd name="T63" fmla="*/ 65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76">
                  <a:moveTo>
                    <a:pt x="748" y="1025"/>
                  </a:moveTo>
                  <a:lnTo>
                    <a:pt x="748" y="1025"/>
                  </a:lnTo>
                  <a:cubicBezTo>
                    <a:pt x="698" y="1025"/>
                    <a:pt x="673" y="1025"/>
                    <a:pt x="648" y="1025"/>
                  </a:cubicBezTo>
                  <a:cubicBezTo>
                    <a:pt x="624" y="1000"/>
                    <a:pt x="548" y="1025"/>
                    <a:pt x="573" y="1050"/>
                  </a:cubicBezTo>
                  <a:cubicBezTo>
                    <a:pt x="573" y="1075"/>
                    <a:pt x="599" y="1100"/>
                    <a:pt x="673" y="1100"/>
                  </a:cubicBezTo>
                  <a:cubicBezTo>
                    <a:pt x="724" y="1125"/>
                    <a:pt x="748" y="1175"/>
                    <a:pt x="773" y="1175"/>
                  </a:cubicBezTo>
                  <a:cubicBezTo>
                    <a:pt x="799" y="1175"/>
                    <a:pt x="799" y="1150"/>
                    <a:pt x="799" y="1125"/>
                  </a:cubicBezTo>
                  <a:cubicBezTo>
                    <a:pt x="799" y="1075"/>
                    <a:pt x="824" y="1025"/>
                    <a:pt x="824" y="1025"/>
                  </a:cubicBezTo>
                  <a:cubicBezTo>
                    <a:pt x="848" y="1025"/>
                    <a:pt x="824" y="1000"/>
                    <a:pt x="748" y="1025"/>
                  </a:cubicBezTo>
                  <a:close/>
                  <a:moveTo>
                    <a:pt x="225" y="700"/>
                  </a:moveTo>
                  <a:lnTo>
                    <a:pt x="225" y="700"/>
                  </a:lnTo>
                  <a:cubicBezTo>
                    <a:pt x="200" y="725"/>
                    <a:pt x="174" y="700"/>
                    <a:pt x="149" y="725"/>
                  </a:cubicBezTo>
                  <a:cubicBezTo>
                    <a:pt x="149" y="750"/>
                    <a:pt x="200" y="800"/>
                    <a:pt x="200" y="850"/>
                  </a:cubicBezTo>
                  <a:cubicBezTo>
                    <a:pt x="174" y="900"/>
                    <a:pt x="200" y="975"/>
                    <a:pt x="225" y="925"/>
                  </a:cubicBezTo>
                  <a:cubicBezTo>
                    <a:pt x="249" y="900"/>
                    <a:pt x="274" y="925"/>
                    <a:pt x="300" y="900"/>
                  </a:cubicBezTo>
                  <a:cubicBezTo>
                    <a:pt x="325" y="875"/>
                    <a:pt x="300" y="775"/>
                    <a:pt x="300" y="750"/>
                  </a:cubicBezTo>
                  <a:cubicBezTo>
                    <a:pt x="325" y="700"/>
                    <a:pt x="249" y="675"/>
                    <a:pt x="225" y="700"/>
                  </a:cubicBezTo>
                  <a:close/>
                  <a:moveTo>
                    <a:pt x="899" y="650"/>
                  </a:moveTo>
                  <a:lnTo>
                    <a:pt x="899" y="650"/>
                  </a:lnTo>
                  <a:cubicBezTo>
                    <a:pt x="873" y="650"/>
                    <a:pt x="899" y="600"/>
                    <a:pt x="824" y="600"/>
                  </a:cubicBezTo>
                  <a:cubicBezTo>
                    <a:pt x="773" y="600"/>
                    <a:pt x="698" y="525"/>
                    <a:pt x="698" y="450"/>
                  </a:cubicBezTo>
                  <a:cubicBezTo>
                    <a:pt x="673" y="375"/>
                    <a:pt x="573" y="375"/>
                    <a:pt x="548" y="325"/>
                  </a:cubicBezTo>
                  <a:cubicBezTo>
                    <a:pt x="524" y="275"/>
                    <a:pt x="573" y="275"/>
                    <a:pt x="548" y="225"/>
                  </a:cubicBezTo>
                  <a:cubicBezTo>
                    <a:pt x="548" y="200"/>
                    <a:pt x="573" y="175"/>
                    <a:pt x="599" y="175"/>
                  </a:cubicBezTo>
                  <a:cubicBezTo>
                    <a:pt x="599" y="125"/>
                    <a:pt x="599" y="75"/>
                    <a:pt x="599" y="50"/>
                  </a:cubicBezTo>
                  <a:cubicBezTo>
                    <a:pt x="573" y="50"/>
                    <a:pt x="573" y="50"/>
                    <a:pt x="548" y="50"/>
                  </a:cubicBezTo>
                  <a:cubicBezTo>
                    <a:pt x="548" y="25"/>
                    <a:pt x="548" y="0"/>
                    <a:pt x="548" y="0"/>
                  </a:cubicBezTo>
                  <a:cubicBezTo>
                    <a:pt x="524" y="0"/>
                    <a:pt x="473" y="0"/>
                    <a:pt x="473" y="0"/>
                  </a:cubicBezTo>
                  <a:cubicBezTo>
                    <a:pt x="448" y="25"/>
                    <a:pt x="425" y="50"/>
                    <a:pt x="400" y="25"/>
                  </a:cubicBezTo>
                  <a:lnTo>
                    <a:pt x="400" y="25"/>
                  </a:lnTo>
                  <a:cubicBezTo>
                    <a:pt x="374" y="50"/>
                    <a:pt x="374" y="50"/>
                    <a:pt x="374" y="50"/>
                  </a:cubicBezTo>
                  <a:cubicBezTo>
                    <a:pt x="374" y="50"/>
                    <a:pt x="374" y="50"/>
                    <a:pt x="349" y="50"/>
                  </a:cubicBezTo>
                  <a:cubicBezTo>
                    <a:pt x="349" y="50"/>
                    <a:pt x="325" y="50"/>
                    <a:pt x="325" y="75"/>
                  </a:cubicBezTo>
                  <a:cubicBezTo>
                    <a:pt x="325" y="100"/>
                    <a:pt x="300" y="75"/>
                    <a:pt x="300" y="75"/>
                  </a:cubicBezTo>
                  <a:cubicBezTo>
                    <a:pt x="274" y="75"/>
                    <a:pt x="249" y="75"/>
                    <a:pt x="249" y="100"/>
                  </a:cubicBezTo>
                  <a:cubicBezTo>
                    <a:pt x="249" y="125"/>
                    <a:pt x="249" y="150"/>
                    <a:pt x="225" y="125"/>
                  </a:cubicBezTo>
                  <a:cubicBezTo>
                    <a:pt x="200" y="125"/>
                    <a:pt x="174" y="75"/>
                    <a:pt x="174" y="75"/>
                  </a:cubicBezTo>
                  <a:cubicBezTo>
                    <a:pt x="174" y="75"/>
                    <a:pt x="149" y="150"/>
                    <a:pt x="125" y="150"/>
                  </a:cubicBezTo>
                  <a:cubicBezTo>
                    <a:pt x="125" y="150"/>
                    <a:pt x="74" y="150"/>
                    <a:pt x="49" y="150"/>
                  </a:cubicBezTo>
                  <a:cubicBezTo>
                    <a:pt x="49" y="175"/>
                    <a:pt x="49" y="175"/>
                    <a:pt x="49" y="200"/>
                  </a:cubicBezTo>
                  <a:cubicBezTo>
                    <a:pt x="74" y="200"/>
                    <a:pt x="49" y="225"/>
                    <a:pt x="49" y="225"/>
                  </a:cubicBezTo>
                  <a:cubicBezTo>
                    <a:pt x="25" y="225"/>
                    <a:pt x="0" y="225"/>
                    <a:pt x="25" y="250"/>
                  </a:cubicBezTo>
                  <a:cubicBezTo>
                    <a:pt x="49" y="275"/>
                    <a:pt x="74" y="275"/>
                    <a:pt x="49" y="300"/>
                  </a:cubicBezTo>
                  <a:cubicBezTo>
                    <a:pt x="25" y="325"/>
                    <a:pt x="49" y="350"/>
                    <a:pt x="74" y="350"/>
                  </a:cubicBezTo>
                  <a:cubicBezTo>
                    <a:pt x="100" y="350"/>
                    <a:pt x="125" y="350"/>
                    <a:pt x="125" y="350"/>
                  </a:cubicBezTo>
                  <a:cubicBezTo>
                    <a:pt x="100" y="375"/>
                    <a:pt x="100" y="375"/>
                    <a:pt x="100" y="400"/>
                  </a:cubicBezTo>
                  <a:cubicBezTo>
                    <a:pt x="125" y="375"/>
                    <a:pt x="125" y="375"/>
                    <a:pt x="149" y="375"/>
                  </a:cubicBezTo>
                  <a:cubicBezTo>
                    <a:pt x="174" y="350"/>
                    <a:pt x="174" y="325"/>
                    <a:pt x="225" y="325"/>
                  </a:cubicBezTo>
                  <a:cubicBezTo>
                    <a:pt x="274" y="300"/>
                    <a:pt x="325" y="350"/>
                    <a:pt x="349" y="375"/>
                  </a:cubicBezTo>
                  <a:cubicBezTo>
                    <a:pt x="374" y="400"/>
                    <a:pt x="374" y="400"/>
                    <a:pt x="374" y="425"/>
                  </a:cubicBezTo>
                  <a:cubicBezTo>
                    <a:pt x="374" y="450"/>
                    <a:pt x="400" y="500"/>
                    <a:pt x="473" y="550"/>
                  </a:cubicBezTo>
                  <a:cubicBezTo>
                    <a:pt x="524" y="600"/>
                    <a:pt x="548" y="625"/>
                    <a:pt x="599" y="650"/>
                  </a:cubicBezTo>
                  <a:cubicBezTo>
                    <a:pt x="624" y="675"/>
                    <a:pt x="673" y="675"/>
                    <a:pt x="673" y="700"/>
                  </a:cubicBezTo>
                  <a:cubicBezTo>
                    <a:pt x="698" y="725"/>
                    <a:pt x="724" y="725"/>
                    <a:pt x="773" y="750"/>
                  </a:cubicBezTo>
                  <a:cubicBezTo>
                    <a:pt x="799" y="775"/>
                    <a:pt x="799" y="800"/>
                    <a:pt x="824" y="800"/>
                  </a:cubicBezTo>
                  <a:cubicBezTo>
                    <a:pt x="873" y="800"/>
                    <a:pt x="848" y="825"/>
                    <a:pt x="873" y="850"/>
                  </a:cubicBezTo>
                  <a:cubicBezTo>
                    <a:pt x="873" y="875"/>
                    <a:pt x="899" y="925"/>
                    <a:pt x="873" y="950"/>
                  </a:cubicBezTo>
                  <a:cubicBezTo>
                    <a:pt x="848" y="1000"/>
                    <a:pt x="848" y="1025"/>
                    <a:pt x="873" y="1025"/>
                  </a:cubicBezTo>
                  <a:cubicBezTo>
                    <a:pt x="873" y="1025"/>
                    <a:pt x="924" y="975"/>
                    <a:pt x="924" y="950"/>
                  </a:cubicBezTo>
                  <a:cubicBezTo>
                    <a:pt x="924" y="925"/>
                    <a:pt x="949" y="925"/>
                    <a:pt x="973" y="900"/>
                  </a:cubicBezTo>
                  <a:cubicBezTo>
                    <a:pt x="999" y="875"/>
                    <a:pt x="949" y="875"/>
                    <a:pt x="924" y="825"/>
                  </a:cubicBezTo>
                  <a:cubicBezTo>
                    <a:pt x="924" y="800"/>
                    <a:pt x="973" y="750"/>
                    <a:pt x="1024" y="800"/>
                  </a:cubicBezTo>
                  <a:cubicBezTo>
                    <a:pt x="1073" y="825"/>
                    <a:pt x="1099" y="850"/>
                    <a:pt x="1099" y="800"/>
                  </a:cubicBezTo>
                  <a:cubicBezTo>
                    <a:pt x="1099" y="750"/>
                    <a:pt x="949" y="675"/>
                    <a:pt x="899" y="650"/>
                  </a:cubicBezTo>
                  <a:close/>
                </a:path>
              </a:pathLst>
            </a:custGeom>
            <a:solidFill>
              <a:srgbClr val="39A3B5">
                <a:lumMod val="75000"/>
              </a:srgbClr>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92" name="Freeform 174">
              <a:extLst>
                <a:ext uri="{FF2B5EF4-FFF2-40B4-BE49-F238E27FC236}">
                  <a16:creationId xmlns:a16="http://schemas.microsoft.com/office/drawing/2014/main" id="{F2C2D104-B28C-7647-8BB4-86B2C2F84719}"/>
                </a:ext>
              </a:extLst>
            </p:cNvPr>
            <p:cNvSpPr>
              <a:spLocks noChangeArrowheads="1"/>
            </p:cNvSpPr>
            <p:nvPr/>
          </p:nvSpPr>
          <p:spPr bwMode="auto">
            <a:xfrm>
              <a:off x="6259563" y="4263632"/>
              <a:ext cx="552062" cy="591969"/>
            </a:xfrm>
            <a:custGeom>
              <a:avLst/>
              <a:gdLst>
                <a:gd name="T0" fmla="*/ 748 w 1100"/>
                <a:gd name="T1" fmla="*/ 1025 h 1176"/>
                <a:gd name="T2" fmla="*/ 573 w 1100"/>
                <a:gd name="T3" fmla="*/ 1050 h 1176"/>
                <a:gd name="T4" fmla="*/ 773 w 1100"/>
                <a:gd name="T5" fmla="*/ 1175 h 1176"/>
                <a:gd name="T6" fmla="*/ 824 w 1100"/>
                <a:gd name="T7" fmla="*/ 1025 h 1176"/>
                <a:gd name="T8" fmla="*/ 225 w 1100"/>
                <a:gd name="T9" fmla="*/ 700 h 1176"/>
                <a:gd name="T10" fmla="*/ 149 w 1100"/>
                <a:gd name="T11" fmla="*/ 725 h 1176"/>
                <a:gd name="T12" fmla="*/ 225 w 1100"/>
                <a:gd name="T13" fmla="*/ 925 h 1176"/>
                <a:gd name="T14" fmla="*/ 300 w 1100"/>
                <a:gd name="T15" fmla="*/ 750 h 1176"/>
                <a:gd name="T16" fmla="*/ 899 w 1100"/>
                <a:gd name="T17" fmla="*/ 650 h 1176"/>
                <a:gd name="T18" fmla="*/ 824 w 1100"/>
                <a:gd name="T19" fmla="*/ 600 h 1176"/>
                <a:gd name="T20" fmla="*/ 548 w 1100"/>
                <a:gd name="T21" fmla="*/ 325 h 1176"/>
                <a:gd name="T22" fmla="*/ 599 w 1100"/>
                <a:gd name="T23" fmla="*/ 175 h 1176"/>
                <a:gd name="T24" fmla="*/ 548 w 1100"/>
                <a:gd name="T25" fmla="*/ 50 h 1176"/>
                <a:gd name="T26" fmla="*/ 473 w 1100"/>
                <a:gd name="T27" fmla="*/ 0 h 1176"/>
                <a:gd name="T28" fmla="*/ 400 w 1100"/>
                <a:gd name="T29" fmla="*/ 25 h 1176"/>
                <a:gd name="T30" fmla="*/ 349 w 1100"/>
                <a:gd name="T31" fmla="*/ 50 h 1176"/>
                <a:gd name="T32" fmla="*/ 300 w 1100"/>
                <a:gd name="T33" fmla="*/ 75 h 1176"/>
                <a:gd name="T34" fmla="*/ 225 w 1100"/>
                <a:gd name="T35" fmla="*/ 125 h 1176"/>
                <a:gd name="T36" fmla="*/ 125 w 1100"/>
                <a:gd name="T37" fmla="*/ 150 h 1176"/>
                <a:gd name="T38" fmla="*/ 49 w 1100"/>
                <a:gd name="T39" fmla="*/ 200 h 1176"/>
                <a:gd name="T40" fmla="*/ 25 w 1100"/>
                <a:gd name="T41" fmla="*/ 250 h 1176"/>
                <a:gd name="T42" fmla="*/ 74 w 1100"/>
                <a:gd name="T43" fmla="*/ 350 h 1176"/>
                <a:gd name="T44" fmla="*/ 100 w 1100"/>
                <a:gd name="T45" fmla="*/ 400 h 1176"/>
                <a:gd name="T46" fmla="*/ 225 w 1100"/>
                <a:gd name="T47" fmla="*/ 325 h 1176"/>
                <a:gd name="T48" fmla="*/ 374 w 1100"/>
                <a:gd name="T49" fmla="*/ 425 h 1176"/>
                <a:gd name="T50" fmla="*/ 599 w 1100"/>
                <a:gd name="T51" fmla="*/ 650 h 1176"/>
                <a:gd name="T52" fmla="*/ 773 w 1100"/>
                <a:gd name="T53" fmla="*/ 750 h 1176"/>
                <a:gd name="T54" fmla="*/ 873 w 1100"/>
                <a:gd name="T55" fmla="*/ 850 h 1176"/>
                <a:gd name="T56" fmla="*/ 873 w 1100"/>
                <a:gd name="T57" fmla="*/ 1025 h 1176"/>
                <a:gd name="T58" fmla="*/ 973 w 1100"/>
                <a:gd name="T59" fmla="*/ 900 h 1176"/>
                <a:gd name="T60" fmla="*/ 1024 w 1100"/>
                <a:gd name="T61" fmla="*/ 800 h 1176"/>
                <a:gd name="T62" fmla="*/ 899 w 1100"/>
                <a:gd name="T63" fmla="*/ 65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76">
                  <a:moveTo>
                    <a:pt x="748" y="1025"/>
                  </a:moveTo>
                  <a:lnTo>
                    <a:pt x="748" y="1025"/>
                  </a:lnTo>
                  <a:cubicBezTo>
                    <a:pt x="698" y="1025"/>
                    <a:pt x="673" y="1025"/>
                    <a:pt x="648" y="1025"/>
                  </a:cubicBezTo>
                  <a:cubicBezTo>
                    <a:pt x="624" y="1000"/>
                    <a:pt x="548" y="1025"/>
                    <a:pt x="573" y="1050"/>
                  </a:cubicBezTo>
                  <a:cubicBezTo>
                    <a:pt x="573" y="1075"/>
                    <a:pt x="599" y="1100"/>
                    <a:pt x="673" y="1100"/>
                  </a:cubicBezTo>
                  <a:cubicBezTo>
                    <a:pt x="724" y="1125"/>
                    <a:pt x="748" y="1175"/>
                    <a:pt x="773" y="1175"/>
                  </a:cubicBezTo>
                  <a:cubicBezTo>
                    <a:pt x="799" y="1175"/>
                    <a:pt x="799" y="1150"/>
                    <a:pt x="799" y="1125"/>
                  </a:cubicBezTo>
                  <a:cubicBezTo>
                    <a:pt x="799" y="1075"/>
                    <a:pt x="824" y="1025"/>
                    <a:pt x="824" y="1025"/>
                  </a:cubicBezTo>
                  <a:cubicBezTo>
                    <a:pt x="848" y="1025"/>
                    <a:pt x="824" y="1000"/>
                    <a:pt x="748" y="1025"/>
                  </a:cubicBezTo>
                  <a:close/>
                  <a:moveTo>
                    <a:pt x="225" y="700"/>
                  </a:moveTo>
                  <a:lnTo>
                    <a:pt x="225" y="700"/>
                  </a:lnTo>
                  <a:cubicBezTo>
                    <a:pt x="200" y="725"/>
                    <a:pt x="174" y="700"/>
                    <a:pt x="149" y="725"/>
                  </a:cubicBezTo>
                  <a:cubicBezTo>
                    <a:pt x="149" y="750"/>
                    <a:pt x="200" y="800"/>
                    <a:pt x="200" y="850"/>
                  </a:cubicBezTo>
                  <a:cubicBezTo>
                    <a:pt x="174" y="900"/>
                    <a:pt x="200" y="975"/>
                    <a:pt x="225" y="925"/>
                  </a:cubicBezTo>
                  <a:cubicBezTo>
                    <a:pt x="249" y="900"/>
                    <a:pt x="274" y="925"/>
                    <a:pt x="300" y="900"/>
                  </a:cubicBezTo>
                  <a:cubicBezTo>
                    <a:pt x="325" y="875"/>
                    <a:pt x="300" y="775"/>
                    <a:pt x="300" y="750"/>
                  </a:cubicBezTo>
                  <a:cubicBezTo>
                    <a:pt x="325" y="700"/>
                    <a:pt x="249" y="675"/>
                    <a:pt x="225" y="700"/>
                  </a:cubicBezTo>
                  <a:close/>
                  <a:moveTo>
                    <a:pt x="899" y="650"/>
                  </a:moveTo>
                  <a:lnTo>
                    <a:pt x="899" y="650"/>
                  </a:lnTo>
                  <a:cubicBezTo>
                    <a:pt x="873" y="650"/>
                    <a:pt x="899" y="600"/>
                    <a:pt x="824" y="600"/>
                  </a:cubicBezTo>
                  <a:cubicBezTo>
                    <a:pt x="773" y="600"/>
                    <a:pt x="698" y="525"/>
                    <a:pt x="698" y="450"/>
                  </a:cubicBezTo>
                  <a:cubicBezTo>
                    <a:pt x="673" y="375"/>
                    <a:pt x="573" y="375"/>
                    <a:pt x="548" y="325"/>
                  </a:cubicBezTo>
                  <a:cubicBezTo>
                    <a:pt x="524" y="275"/>
                    <a:pt x="573" y="275"/>
                    <a:pt x="548" y="225"/>
                  </a:cubicBezTo>
                  <a:cubicBezTo>
                    <a:pt x="548" y="200"/>
                    <a:pt x="573" y="175"/>
                    <a:pt x="599" y="175"/>
                  </a:cubicBezTo>
                  <a:cubicBezTo>
                    <a:pt x="599" y="125"/>
                    <a:pt x="599" y="75"/>
                    <a:pt x="599" y="50"/>
                  </a:cubicBezTo>
                  <a:cubicBezTo>
                    <a:pt x="573" y="50"/>
                    <a:pt x="573" y="50"/>
                    <a:pt x="548" y="50"/>
                  </a:cubicBezTo>
                  <a:cubicBezTo>
                    <a:pt x="548" y="25"/>
                    <a:pt x="548" y="0"/>
                    <a:pt x="548" y="0"/>
                  </a:cubicBezTo>
                  <a:cubicBezTo>
                    <a:pt x="524" y="0"/>
                    <a:pt x="473" y="0"/>
                    <a:pt x="473" y="0"/>
                  </a:cubicBezTo>
                  <a:cubicBezTo>
                    <a:pt x="448" y="25"/>
                    <a:pt x="425" y="50"/>
                    <a:pt x="400" y="25"/>
                  </a:cubicBezTo>
                  <a:lnTo>
                    <a:pt x="400" y="25"/>
                  </a:lnTo>
                  <a:cubicBezTo>
                    <a:pt x="374" y="50"/>
                    <a:pt x="374" y="50"/>
                    <a:pt x="374" y="50"/>
                  </a:cubicBezTo>
                  <a:cubicBezTo>
                    <a:pt x="374" y="50"/>
                    <a:pt x="374" y="50"/>
                    <a:pt x="349" y="50"/>
                  </a:cubicBezTo>
                  <a:cubicBezTo>
                    <a:pt x="349" y="50"/>
                    <a:pt x="325" y="50"/>
                    <a:pt x="325" y="75"/>
                  </a:cubicBezTo>
                  <a:cubicBezTo>
                    <a:pt x="325" y="100"/>
                    <a:pt x="300" y="75"/>
                    <a:pt x="300" y="75"/>
                  </a:cubicBezTo>
                  <a:cubicBezTo>
                    <a:pt x="274" y="75"/>
                    <a:pt x="249" y="75"/>
                    <a:pt x="249" y="100"/>
                  </a:cubicBezTo>
                  <a:cubicBezTo>
                    <a:pt x="249" y="125"/>
                    <a:pt x="249" y="150"/>
                    <a:pt x="225" y="125"/>
                  </a:cubicBezTo>
                  <a:cubicBezTo>
                    <a:pt x="200" y="125"/>
                    <a:pt x="174" y="75"/>
                    <a:pt x="174" y="75"/>
                  </a:cubicBezTo>
                  <a:cubicBezTo>
                    <a:pt x="174" y="75"/>
                    <a:pt x="149" y="150"/>
                    <a:pt x="125" y="150"/>
                  </a:cubicBezTo>
                  <a:cubicBezTo>
                    <a:pt x="125" y="150"/>
                    <a:pt x="74" y="150"/>
                    <a:pt x="49" y="150"/>
                  </a:cubicBezTo>
                  <a:cubicBezTo>
                    <a:pt x="49" y="175"/>
                    <a:pt x="49" y="175"/>
                    <a:pt x="49" y="200"/>
                  </a:cubicBezTo>
                  <a:cubicBezTo>
                    <a:pt x="74" y="200"/>
                    <a:pt x="49" y="225"/>
                    <a:pt x="49" y="225"/>
                  </a:cubicBezTo>
                  <a:cubicBezTo>
                    <a:pt x="25" y="225"/>
                    <a:pt x="0" y="225"/>
                    <a:pt x="25" y="250"/>
                  </a:cubicBezTo>
                  <a:cubicBezTo>
                    <a:pt x="49" y="275"/>
                    <a:pt x="74" y="275"/>
                    <a:pt x="49" y="300"/>
                  </a:cubicBezTo>
                  <a:cubicBezTo>
                    <a:pt x="25" y="325"/>
                    <a:pt x="49" y="350"/>
                    <a:pt x="74" y="350"/>
                  </a:cubicBezTo>
                  <a:cubicBezTo>
                    <a:pt x="100" y="350"/>
                    <a:pt x="125" y="350"/>
                    <a:pt x="125" y="350"/>
                  </a:cubicBezTo>
                  <a:cubicBezTo>
                    <a:pt x="100" y="375"/>
                    <a:pt x="100" y="375"/>
                    <a:pt x="100" y="400"/>
                  </a:cubicBezTo>
                  <a:cubicBezTo>
                    <a:pt x="125" y="375"/>
                    <a:pt x="125" y="375"/>
                    <a:pt x="149" y="375"/>
                  </a:cubicBezTo>
                  <a:cubicBezTo>
                    <a:pt x="174" y="350"/>
                    <a:pt x="174" y="325"/>
                    <a:pt x="225" y="325"/>
                  </a:cubicBezTo>
                  <a:cubicBezTo>
                    <a:pt x="274" y="300"/>
                    <a:pt x="325" y="350"/>
                    <a:pt x="349" y="375"/>
                  </a:cubicBezTo>
                  <a:cubicBezTo>
                    <a:pt x="374" y="400"/>
                    <a:pt x="374" y="400"/>
                    <a:pt x="374" y="425"/>
                  </a:cubicBezTo>
                  <a:cubicBezTo>
                    <a:pt x="374" y="450"/>
                    <a:pt x="400" y="500"/>
                    <a:pt x="473" y="550"/>
                  </a:cubicBezTo>
                  <a:cubicBezTo>
                    <a:pt x="524" y="600"/>
                    <a:pt x="548" y="625"/>
                    <a:pt x="599" y="650"/>
                  </a:cubicBezTo>
                  <a:cubicBezTo>
                    <a:pt x="624" y="675"/>
                    <a:pt x="673" y="675"/>
                    <a:pt x="673" y="700"/>
                  </a:cubicBezTo>
                  <a:cubicBezTo>
                    <a:pt x="698" y="725"/>
                    <a:pt x="724" y="725"/>
                    <a:pt x="773" y="750"/>
                  </a:cubicBezTo>
                  <a:cubicBezTo>
                    <a:pt x="799" y="775"/>
                    <a:pt x="799" y="800"/>
                    <a:pt x="824" y="800"/>
                  </a:cubicBezTo>
                  <a:cubicBezTo>
                    <a:pt x="873" y="800"/>
                    <a:pt x="848" y="825"/>
                    <a:pt x="873" y="850"/>
                  </a:cubicBezTo>
                  <a:cubicBezTo>
                    <a:pt x="873" y="875"/>
                    <a:pt x="899" y="925"/>
                    <a:pt x="873" y="950"/>
                  </a:cubicBezTo>
                  <a:cubicBezTo>
                    <a:pt x="848" y="1000"/>
                    <a:pt x="848" y="1025"/>
                    <a:pt x="873" y="1025"/>
                  </a:cubicBezTo>
                  <a:cubicBezTo>
                    <a:pt x="873" y="1025"/>
                    <a:pt x="924" y="975"/>
                    <a:pt x="924" y="950"/>
                  </a:cubicBezTo>
                  <a:cubicBezTo>
                    <a:pt x="924" y="925"/>
                    <a:pt x="949" y="925"/>
                    <a:pt x="973" y="900"/>
                  </a:cubicBezTo>
                  <a:cubicBezTo>
                    <a:pt x="999" y="875"/>
                    <a:pt x="949" y="875"/>
                    <a:pt x="924" y="825"/>
                  </a:cubicBezTo>
                  <a:cubicBezTo>
                    <a:pt x="924" y="800"/>
                    <a:pt x="973" y="750"/>
                    <a:pt x="1024" y="800"/>
                  </a:cubicBezTo>
                  <a:cubicBezTo>
                    <a:pt x="1073" y="825"/>
                    <a:pt x="1099" y="850"/>
                    <a:pt x="1099" y="800"/>
                  </a:cubicBezTo>
                  <a:cubicBezTo>
                    <a:pt x="1099" y="750"/>
                    <a:pt x="949" y="675"/>
                    <a:pt x="899" y="650"/>
                  </a:cubicBezTo>
                  <a:close/>
                </a:path>
              </a:pathLst>
            </a:custGeom>
            <a:solidFill>
              <a:srgbClr val="000C47"/>
            </a:solidFill>
            <a:ln w="317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93" name="Freeform 205">
              <a:extLst>
                <a:ext uri="{FF2B5EF4-FFF2-40B4-BE49-F238E27FC236}">
                  <a16:creationId xmlns:a16="http://schemas.microsoft.com/office/drawing/2014/main" id="{189F3D0C-408E-6C69-34AC-DCCFBD267BAB}"/>
                </a:ext>
              </a:extLst>
            </p:cNvPr>
            <p:cNvSpPr>
              <a:spLocks noChangeArrowheads="1"/>
            </p:cNvSpPr>
            <p:nvPr/>
          </p:nvSpPr>
          <p:spPr bwMode="auto">
            <a:xfrm>
              <a:off x="6331676" y="3566848"/>
              <a:ext cx="226144" cy="215059"/>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rgbClr val="2B7A88"/>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grpSp>
      <p:cxnSp>
        <p:nvCxnSpPr>
          <p:cNvPr id="196" name="Straight Connector 195">
            <a:extLst>
              <a:ext uri="{FF2B5EF4-FFF2-40B4-BE49-F238E27FC236}">
                <a16:creationId xmlns:a16="http://schemas.microsoft.com/office/drawing/2014/main" id="{DB9A289A-9EC8-65E1-F46A-5C22CFD632F0}"/>
              </a:ext>
            </a:extLst>
          </p:cNvPr>
          <p:cNvCxnSpPr>
            <a:cxnSpLocks/>
          </p:cNvCxnSpPr>
          <p:nvPr/>
        </p:nvCxnSpPr>
        <p:spPr>
          <a:xfrm>
            <a:off x="372293" y="4619863"/>
            <a:ext cx="273401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D274E533-CD49-D81D-78C1-9C430A3CB3B4}"/>
              </a:ext>
            </a:extLst>
          </p:cNvPr>
          <p:cNvSpPr txBox="1"/>
          <p:nvPr/>
        </p:nvSpPr>
        <p:spPr>
          <a:xfrm>
            <a:off x="372293" y="4383475"/>
            <a:ext cx="503343"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Spain</a:t>
            </a:r>
          </a:p>
        </p:txBody>
      </p:sp>
      <p:cxnSp>
        <p:nvCxnSpPr>
          <p:cNvPr id="198" name="Straight Connector 197">
            <a:extLst>
              <a:ext uri="{FF2B5EF4-FFF2-40B4-BE49-F238E27FC236}">
                <a16:creationId xmlns:a16="http://schemas.microsoft.com/office/drawing/2014/main" id="{4F150D3A-6060-5E03-7439-946E384AA1AE}"/>
              </a:ext>
            </a:extLst>
          </p:cNvPr>
          <p:cNvCxnSpPr>
            <a:cxnSpLocks/>
          </p:cNvCxnSpPr>
          <p:nvPr/>
        </p:nvCxnSpPr>
        <p:spPr>
          <a:xfrm>
            <a:off x="7923553" y="6099078"/>
            <a:ext cx="3983343" cy="8648"/>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5FEBAFAD-8A06-E7FC-EB7E-CD520076BC3C}"/>
              </a:ext>
            </a:extLst>
          </p:cNvPr>
          <p:cNvSpPr txBox="1"/>
          <p:nvPr/>
        </p:nvSpPr>
        <p:spPr>
          <a:xfrm>
            <a:off x="11315973" y="5855807"/>
            <a:ext cx="641586"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Greece</a:t>
            </a:r>
          </a:p>
        </p:txBody>
      </p:sp>
      <p:cxnSp>
        <p:nvCxnSpPr>
          <p:cNvPr id="200" name="Straight Connector 199">
            <a:extLst>
              <a:ext uri="{FF2B5EF4-FFF2-40B4-BE49-F238E27FC236}">
                <a16:creationId xmlns:a16="http://schemas.microsoft.com/office/drawing/2014/main" id="{9ED3A330-68BC-2295-F648-1490E92B3BFC}"/>
              </a:ext>
            </a:extLst>
          </p:cNvPr>
          <p:cNvCxnSpPr>
            <a:cxnSpLocks/>
          </p:cNvCxnSpPr>
          <p:nvPr/>
        </p:nvCxnSpPr>
        <p:spPr>
          <a:xfrm flipV="1">
            <a:off x="7203315" y="2888215"/>
            <a:ext cx="1915810" cy="137116"/>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4A392AA6-0983-9FD0-B19B-EA50C4A57E59}"/>
              </a:ext>
            </a:extLst>
          </p:cNvPr>
          <p:cNvSpPr txBox="1"/>
          <p:nvPr/>
        </p:nvSpPr>
        <p:spPr>
          <a:xfrm>
            <a:off x="11120814" y="2656774"/>
            <a:ext cx="663002"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Estonia</a:t>
            </a:r>
          </a:p>
        </p:txBody>
      </p:sp>
      <p:sp>
        <p:nvSpPr>
          <p:cNvPr id="202" name="Content Placeholder 4">
            <a:extLst>
              <a:ext uri="{FF2B5EF4-FFF2-40B4-BE49-F238E27FC236}">
                <a16:creationId xmlns:a16="http://schemas.microsoft.com/office/drawing/2014/main" id="{09683B9F-F67F-9EBE-3857-5C5F0211BF0A}"/>
              </a:ext>
            </a:extLst>
          </p:cNvPr>
          <p:cNvSpPr txBox="1">
            <a:spLocks/>
          </p:cNvSpPr>
          <p:nvPr/>
        </p:nvSpPr>
        <p:spPr>
          <a:xfrm>
            <a:off x="6681088" y="410461"/>
            <a:ext cx="5535649" cy="664168"/>
          </a:xfrm>
          <a:prstGeom prst="rect">
            <a:avLst/>
          </a:prstGeom>
        </p:spPr>
        <p:txBody>
          <a:bodyPr>
            <a:normAutofit fontScale="92500" lnSpcReduction="10000"/>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a:lnSpc>
                <a:spcPct val="100000"/>
              </a:lnSpc>
              <a:spcBef>
                <a:spcPts val="0"/>
              </a:spcBef>
              <a:spcAft>
                <a:spcPts val="600"/>
              </a:spcAft>
              <a:defRPr/>
            </a:pPr>
            <a:r>
              <a:rPr lang="en-US" sz="1050">
                <a:solidFill>
                  <a:schemeClr val="bg1"/>
                </a:solidFill>
                <a:latin typeface="+mj-lt"/>
                <a:hlinkClick r:id="rId2">
                  <a:extLst>
                    <a:ext uri="{A12FA001-AC4F-418D-AE19-62706E023703}">
                      <ahyp:hlinkClr xmlns:ahyp="http://schemas.microsoft.com/office/drawing/2018/hyperlinkcolor" val="tx"/>
                    </a:ext>
                  </a:extLst>
                </a:hlinkClick>
              </a:rPr>
              <a:t>2023: EU broadcasters signed MoU for 5G Broadcast for collaboration</a:t>
            </a:r>
            <a:endParaRPr lang="en-US" sz="1050">
              <a:solidFill>
                <a:schemeClr val="bg1"/>
              </a:solidFill>
              <a:latin typeface="+mj-lt"/>
            </a:endParaRPr>
          </a:p>
          <a:p>
            <a:pPr>
              <a:lnSpc>
                <a:spcPct val="100000"/>
              </a:lnSpc>
              <a:spcBef>
                <a:spcPts val="0"/>
              </a:spcBef>
              <a:spcAft>
                <a:spcPts val="600"/>
              </a:spcAft>
              <a:defRPr/>
            </a:pPr>
            <a:r>
              <a:rPr lang="en-US" sz="1050">
                <a:solidFill>
                  <a:schemeClr val="bg1"/>
                </a:solidFill>
                <a:latin typeface="+mj-lt"/>
                <a:hlinkClick r:id="rId3">
                  <a:extLst>
                    <a:ext uri="{A12FA001-AC4F-418D-AE19-62706E023703}">
                      <ahyp:hlinkClr xmlns:ahyp="http://schemas.microsoft.com/office/drawing/2018/hyperlinkcolor" val="tx"/>
                    </a:ext>
                  </a:extLst>
                </a:hlinkClick>
              </a:rPr>
              <a:t>2024: European 5G Broadcast Handset Taskforce released 5G Broadcast receiver profile for Europe</a:t>
            </a:r>
            <a:endParaRPr lang="en-US" sz="1050">
              <a:solidFill>
                <a:schemeClr val="bg1"/>
              </a:solidFill>
              <a:latin typeface="+mj-lt"/>
            </a:endParaRPr>
          </a:p>
          <a:p>
            <a:pPr marL="0" indent="0">
              <a:lnSpc>
                <a:spcPct val="100000"/>
              </a:lnSpc>
              <a:spcBef>
                <a:spcPts val="0"/>
              </a:spcBef>
              <a:spcAft>
                <a:spcPts val="600"/>
              </a:spcAft>
              <a:buFont typeface="Arial" panose="020B0604020202020204" pitchFamily="34" charset="0"/>
              <a:buNone/>
              <a:defRPr/>
            </a:pPr>
            <a:endParaRPr lang="en-US" sz="900">
              <a:solidFill>
                <a:schemeClr val="bg1"/>
              </a:solidFill>
            </a:endParaRPr>
          </a:p>
        </p:txBody>
      </p:sp>
      <p:pic>
        <p:nvPicPr>
          <p:cNvPr id="204" name="Picture 203">
            <a:extLst>
              <a:ext uri="{FF2B5EF4-FFF2-40B4-BE49-F238E27FC236}">
                <a16:creationId xmlns:a16="http://schemas.microsoft.com/office/drawing/2014/main" id="{5C52EFE2-7434-1434-648D-BB2EFC12E992}"/>
              </a:ext>
            </a:extLst>
          </p:cNvPr>
          <p:cNvPicPr>
            <a:picLocks noChangeAspect="1"/>
          </p:cNvPicPr>
          <p:nvPr/>
        </p:nvPicPr>
        <p:blipFill>
          <a:blip r:embed="rId4"/>
          <a:stretch>
            <a:fillRect/>
          </a:stretch>
        </p:blipFill>
        <p:spPr>
          <a:xfrm>
            <a:off x="1666446" y="5777286"/>
            <a:ext cx="693664" cy="587851"/>
          </a:xfrm>
          <a:prstGeom prst="rect">
            <a:avLst/>
          </a:prstGeom>
        </p:spPr>
      </p:pic>
      <p:sp>
        <p:nvSpPr>
          <p:cNvPr id="205" name="TextBox 204">
            <a:extLst>
              <a:ext uri="{FF2B5EF4-FFF2-40B4-BE49-F238E27FC236}">
                <a16:creationId xmlns:a16="http://schemas.microsoft.com/office/drawing/2014/main" id="{FECDDBA3-8A00-A347-21B1-5B85874B1B37}"/>
              </a:ext>
            </a:extLst>
          </p:cNvPr>
          <p:cNvSpPr txBox="1"/>
          <p:nvPr/>
        </p:nvSpPr>
        <p:spPr>
          <a:xfrm>
            <a:off x="1451609" y="6484233"/>
            <a:ext cx="1108260" cy="206851"/>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18</a:t>
            </a:r>
            <a:r>
              <a:rPr lang="en-US" sz="700">
                <a:solidFill>
                  <a:srgbClr val="000000"/>
                </a:solidFill>
                <a:latin typeface="Aptos" panose="020B0004020202020204" pitchFamily="34" charset="0"/>
                <a:cs typeface="Microsoft Sans Serif" panose="020B0604020202020204" pitchFamily="34" charset="0"/>
              </a:rPr>
              <a:t>: First field trial in </a:t>
            </a:r>
            <a:r>
              <a:rPr lang="en-US" sz="700" err="1">
                <a:solidFill>
                  <a:srgbClr val="000000"/>
                </a:solidFill>
                <a:latin typeface="Aptos" panose="020B0004020202020204" pitchFamily="34" charset="0"/>
                <a:cs typeface="Microsoft Sans Serif" panose="020B0604020202020204" pitchFamily="34" charset="0"/>
              </a:rPr>
              <a:t>Aosta</a:t>
            </a:r>
            <a:r>
              <a:rPr lang="en-US" sz="700">
                <a:solidFill>
                  <a:srgbClr val="000000"/>
                </a:solidFill>
                <a:latin typeface="Aptos" panose="020B0004020202020204" pitchFamily="34" charset="0"/>
                <a:cs typeface="Microsoft Sans Serif" panose="020B0604020202020204" pitchFamily="34" charset="0"/>
              </a:rPr>
              <a:t> during Europe championship</a:t>
            </a:r>
          </a:p>
        </p:txBody>
      </p:sp>
      <p:pic>
        <p:nvPicPr>
          <p:cNvPr id="211" name="Picture 210">
            <a:extLst>
              <a:ext uri="{FF2B5EF4-FFF2-40B4-BE49-F238E27FC236}">
                <a16:creationId xmlns:a16="http://schemas.microsoft.com/office/drawing/2014/main" id="{4CF3656F-7FF7-499B-F491-B276CBDF3294}"/>
              </a:ext>
            </a:extLst>
          </p:cNvPr>
          <p:cNvPicPr>
            <a:picLocks noChangeAspect="1"/>
          </p:cNvPicPr>
          <p:nvPr/>
        </p:nvPicPr>
        <p:blipFill>
          <a:blip r:embed="rId5"/>
          <a:stretch>
            <a:fillRect/>
          </a:stretch>
        </p:blipFill>
        <p:spPr>
          <a:xfrm>
            <a:off x="3033086" y="5724048"/>
            <a:ext cx="505585" cy="725969"/>
          </a:xfrm>
          <a:prstGeom prst="rect">
            <a:avLst/>
          </a:prstGeom>
        </p:spPr>
      </p:pic>
      <p:pic>
        <p:nvPicPr>
          <p:cNvPr id="213" name="Picture 212">
            <a:extLst>
              <a:ext uri="{FF2B5EF4-FFF2-40B4-BE49-F238E27FC236}">
                <a16:creationId xmlns:a16="http://schemas.microsoft.com/office/drawing/2014/main" id="{6E10F0FC-60EB-BC9E-C829-04BC8436D172}"/>
              </a:ext>
            </a:extLst>
          </p:cNvPr>
          <p:cNvPicPr>
            <a:picLocks noChangeAspect="1"/>
          </p:cNvPicPr>
          <p:nvPr/>
        </p:nvPicPr>
        <p:blipFill>
          <a:blip r:embed="rId6"/>
          <a:stretch>
            <a:fillRect/>
          </a:stretch>
        </p:blipFill>
        <p:spPr>
          <a:xfrm>
            <a:off x="4032715" y="5769464"/>
            <a:ext cx="807601" cy="676524"/>
          </a:xfrm>
          <a:prstGeom prst="rect">
            <a:avLst/>
          </a:prstGeom>
        </p:spPr>
      </p:pic>
      <p:sp>
        <p:nvSpPr>
          <p:cNvPr id="214" name="TextBox 213">
            <a:extLst>
              <a:ext uri="{FF2B5EF4-FFF2-40B4-BE49-F238E27FC236}">
                <a16:creationId xmlns:a16="http://schemas.microsoft.com/office/drawing/2014/main" id="{9DE6985C-46EE-83C7-4B78-51297F25D139}"/>
              </a:ext>
            </a:extLst>
          </p:cNvPr>
          <p:cNvSpPr txBox="1"/>
          <p:nvPr/>
        </p:nvSpPr>
        <p:spPr>
          <a:xfrm>
            <a:off x="2817768" y="6511457"/>
            <a:ext cx="1108260" cy="206851"/>
          </a:xfrm>
          <a:prstGeom prst="rect">
            <a:avLst/>
          </a:prstGeom>
        </p:spPr>
        <p:txBody>
          <a:bodyPr wrap="square" lIns="0" tIns="0" rIns="0" bIns="0" rtlCol="0">
            <a:spAutoFit/>
          </a:bodyPr>
          <a:lstStyle/>
          <a:p>
            <a:pPr>
              <a:lnSpc>
                <a:spcPct val="96000"/>
              </a:lnSpc>
            </a:pPr>
            <a:r>
              <a:rPr lang="en-US" sz="700" b="1">
                <a:solidFill>
                  <a:srgbClr val="000000"/>
                </a:solidFill>
                <a:latin typeface="Aptos" panose="020B0004020202020204" pitchFamily="34" charset="0"/>
                <a:cs typeface="Microsoft Sans Serif" panose="020B0604020202020204" pitchFamily="34" charset="0"/>
              </a:rPr>
              <a:t>2022</a:t>
            </a:r>
            <a:r>
              <a:rPr lang="en-US" sz="700">
                <a:solidFill>
                  <a:srgbClr val="000000"/>
                </a:solidFill>
                <a:latin typeface="Aptos" panose="020B0004020202020204" pitchFamily="34" charset="0"/>
                <a:cs typeface="Microsoft Sans Serif" panose="020B0604020202020204" pitchFamily="34" charset="0"/>
              </a:rPr>
              <a:t>: Demo on phones during Eurovision contest</a:t>
            </a:r>
          </a:p>
        </p:txBody>
      </p:sp>
      <p:sp>
        <p:nvSpPr>
          <p:cNvPr id="215" name="TextBox 214">
            <a:extLst>
              <a:ext uri="{FF2B5EF4-FFF2-40B4-BE49-F238E27FC236}">
                <a16:creationId xmlns:a16="http://schemas.microsoft.com/office/drawing/2014/main" id="{97C64530-AA26-796F-C3A5-55198F5B9954}"/>
              </a:ext>
            </a:extLst>
          </p:cNvPr>
          <p:cNvSpPr txBox="1"/>
          <p:nvPr/>
        </p:nvSpPr>
        <p:spPr>
          <a:xfrm>
            <a:off x="4099502" y="6529278"/>
            <a:ext cx="845319" cy="206851"/>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3</a:t>
            </a:r>
            <a:r>
              <a:rPr lang="en-US" sz="700">
                <a:solidFill>
                  <a:srgbClr val="000000"/>
                </a:solidFill>
                <a:latin typeface="Aptos" panose="020B0004020202020204" pitchFamily="34" charset="0"/>
                <a:cs typeface="Microsoft Sans Serif" panose="020B0604020202020204" pitchFamily="34" charset="0"/>
              </a:rPr>
              <a:t>: Test bed and field trials</a:t>
            </a:r>
          </a:p>
        </p:txBody>
      </p:sp>
      <p:pic>
        <p:nvPicPr>
          <p:cNvPr id="217" name="Picture 216">
            <a:extLst>
              <a:ext uri="{FF2B5EF4-FFF2-40B4-BE49-F238E27FC236}">
                <a16:creationId xmlns:a16="http://schemas.microsoft.com/office/drawing/2014/main" id="{2B18D19B-705C-A652-F6E6-4D420B788D11}"/>
              </a:ext>
            </a:extLst>
          </p:cNvPr>
          <p:cNvPicPr>
            <a:picLocks noChangeAspect="1"/>
          </p:cNvPicPr>
          <p:nvPr/>
        </p:nvPicPr>
        <p:blipFill>
          <a:blip r:embed="rId7"/>
          <a:stretch>
            <a:fillRect/>
          </a:stretch>
        </p:blipFill>
        <p:spPr>
          <a:xfrm>
            <a:off x="5297602" y="5250654"/>
            <a:ext cx="860238" cy="1296940"/>
          </a:xfrm>
          <a:prstGeom prst="rect">
            <a:avLst/>
          </a:prstGeom>
        </p:spPr>
      </p:pic>
      <p:sp>
        <p:nvSpPr>
          <p:cNvPr id="218" name="TextBox 217">
            <a:extLst>
              <a:ext uri="{FF2B5EF4-FFF2-40B4-BE49-F238E27FC236}">
                <a16:creationId xmlns:a16="http://schemas.microsoft.com/office/drawing/2014/main" id="{AD28693B-3259-F87D-0F09-2690B933BFA5}"/>
              </a:ext>
            </a:extLst>
          </p:cNvPr>
          <p:cNvSpPr txBox="1"/>
          <p:nvPr/>
        </p:nvSpPr>
        <p:spPr>
          <a:xfrm>
            <a:off x="5132067" y="6565240"/>
            <a:ext cx="1461184" cy="206851"/>
          </a:xfrm>
          <a:prstGeom prst="rect">
            <a:avLst/>
          </a:prstGeom>
        </p:spPr>
        <p:txBody>
          <a:bodyPr wrap="square" lIns="0" tIns="0" rIns="0" bIns="0" rtlCol="0">
            <a:spAutoFit/>
          </a:bodyPr>
          <a:lstStyle/>
          <a:p>
            <a:pPr algn="l">
              <a:lnSpc>
                <a:spcPct val="96000"/>
              </a:lnSpc>
            </a:pPr>
            <a:r>
              <a:rPr lang="en-US" sz="700" b="1" dirty="0">
                <a:solidFill>
                  <a:srgbClr val="000000"/>
                </a:solidFill>
                <a:highlight>
                  <a:srgbClr val="FFFF00"/>
                </a:highlight>
                <a:latin typeface="Aptos" panose="020B0004020202020204" pitchFamily="34" charset="0"/>
                <a:cs typeface="Microsoft Sans Serif" panose="020B0604020202020204" pitchFamily="34" charset="0"/>
              </a:rPr>
              <a:t>2024-2025</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Pre-commercial phase with live signal in 5 major cities</a:t>
            </a:r>
          </a:p>
        </p:txBody>
      </p:sp>
      <p:sp>
        <p:nvSpPr>
          <p:cNvPr id="221" name="TextBox 220">
            <a:extLst>
              <a:ext uri="{FF2B5EF4-FFF2-40B4-BE49-F238E27FC236}">
                <a16:creationId xmlns:a16="http://schemas.microsoft.com/office/drawing/2014/main" id="{622EDFAF-B25D-FBC3-9EF5-62B72CCCA230}"/>
              </a:ext>
            </a:extLst>
          </p:cNvPr>
          <p:cNvSpPr txBox="1"/>
          <p:nvPr/>
        </p:nvSpPr>
        <p:spPr>
          <a:xfrm>
            <a:off x="108373" y="3057417"/>
            <a:ext cx="1592267" cy="206851"/>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4</a:t>
            </a:r>
            <a:r>
              <a:rPr lang="en-US" sz="700">
                <a:solidFill>
                  <a:srgbClr val="000000"/>
                </a:solidFill>
                <a:latin typeface="Aptos" panose="020B0004020202020204" pitchFamily="34" charset="0"/>
                <a:cs typeface="Microsoft Sans Serif" panose="020B0604020202020204" pitchFamily="34" charset="0"/>
              </a:rPr>
              <a:t>: </a:t>
            </a:r>
            <a:r>
              <a:rPr lang="en-US" sz="700">
                <a:solidFill>
                  <a:srgbClr val="000000"/>
                </a:solidFill>
                <a:latin typeface="Aptos" panose="020B0004020202020204" pitchFamily="34" charset="0"/>
                <a:cs typeface="Microsoft Sans Serif" panose="020B0604020202020204" pitchFamily="34" charset="0"/>
                <a:hlinkClick r:id="rId8"/>
              </a:rPr>
              <a:t>large scale trial by TDF </a:t>
            </a:r>
            <a:r>
              <a:rPr lang="en-US" sz="700">
                <a:solidFill>
                  <a:srgbClr val="000000"/>
                </a:solidFill>
                <a:latin typeface="Aptos" panose="020B0004020202020204" pitchFamily="34" charset="0"/>
                <a:cs typeface="Microsoft Sans Serif" panose="020B0604020202020204" pitchFamily="34" charset="0"/>
              </a:rPr>
              <a:t>during Olympics using Xiaomi phones</a:t>
            </a:r>
          </a:p>
        </p:txBody>
      </p:sp>
      <p:pic>
        <p:nvPicPr>
          <p:cNvPr id="223" name="Picture 222">
            <a:extLst>
              <a:ext uri="{FF2B5EF4-FFF2-40B4-BE49-F238E27FC236}">
                <a16:creationId xmlns:a16="http://schemas.microsoft.com/office/drawing/2014/main" id="{F5A9D3FB-56E6-2EAB-61FD-EE509F46D3D2}"/>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20000"/>
                    </a14:imgEffect>
                  </a14:imgLayer>
                </a14:imgProps>
              </a:ext>
            </a:extLst>
          </a:blip>
          <a:stretch>
            <a:fillRect/>
          </a:stretch>
        </p:blipFill>
        <p:spPr>
          <a:xfrm>
            <a:off x="45220" y="3389747"/>
            <a:ext cx="956178" cy="696626"/>
          </a:xfrm>
          <a:prstGeom prst="rect">
            <a:avLst/>
          </a:prstGeom>
        </p:spPr>
      </p:pic>
      <p:sp>
        <p:nvSpPr>
          <p:cNvPr id="227" name="TextBox 226">
            <a:extLst>
              <a:ext uri="{FF2B5EF4-FFF2-40B4-BE49-F238E27FC236}">
                <a16:creationId xmlns:a16="http://schemas.microsoft.com/office/drawing/2014/main" id="{EA40D7F6-6B72-E5F1-F3A2-1DF87BF3C8F1}"/>
              </a:ext>
            </a:extLst>
          </p:cNvPr>
          <p:cNvSpPr txBox="1"/>
          <p:nvPr/>
        </p:nvSpPr>
        <p:spPr>
          <a:xfrm>
            <a:off x="1873153" y="3076764"/>
            <a:ext cx="1226377" cy="310278"/>
          </a:xfrm>
          <a:prstGeom prst="rect">
            <a:avLst/>
          </a:prstGeom>
        </p:spPr>
        <p:txBody>
          <a:bodyPr wrap="square" lIns="0" tIns="0" rIns="0" bIns="0" rtlCol="0">
            <a:spAutoFit/>
          </a:bodyPr>
          <a:lstStyle/>
          <a:p>
            <a:pPr algn="l">
              <a:lnSpc>
                <a:spcPct val="96000"/>
              </a:lnSpc>
            </a:pPr>
            <a:r>
              <a:rPr lang="en-US" sz="700" b="1" dirty="0">
                <a:solidFill>
                  <a:srgbClr val="000000"/>
                </a:solidFill>
                <a:highlight>
                  <a:srgbClr val="FFFF00"/>
                </a:highlight>
                <a:latin typeface="Aptos" panose="020B0004020202020204" pitchFamily="34" charset="0"/>
                <a:cs typeface="Microsoft Sans Serif" panose="020B0604020202020204" pitchFamily="34" charset="0"/>
              </a:rPr>
              <a:t>2025</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Additional tests for hybrid tests, interactivity, signal optimizations</a:t>
            </a:r>
          </a:p>
        </p:txBody>
      </p:sp>
      <p:pic>
        <p:nvPicPr>
          <p:cNvPr id="229" name="Picture 228">
            <a:extLst>
              <a:ext uri="{FF2B5EF4-FFF2-40B4-BE49-F238E27FC236}">
                <a16:creationId xmlns:a16="http://schemas.microsoft.com/office/drawing/2014/main" id="{D94496C4-DBDD-15BD-1DE4-11AE2118FB4A}"/>
              </a:ext>
            </a:extLst>
          </p:cNvPr>
          <p:cNvPicPr>
            <a:picLocks noChangeAspect="1"/>
          </p:cNvPicPr>
          <p:nvPr/>
        </p:nvPicPr>
        <p:blipFill>
          <a:blip r:embed="rId11"/>
          <a:stretch>
            <a:fillRect/>
          </a:stretch>
        </p:blipFill>
        <p:spPr>
          <a:xfrm>
            <a:off x="1935893" y="3397854"/>
            <a:ext cx="1129105" cy="767898"/>
          </a:xfrm>
          <a:prstGeom prst="rect">
            <a:avLst/>
          </a:prstGeom>
        </p:spPr>
      </p:pic>
      <p:pic>
        <p:nvPicPr>
          <p:cNvPr id="235" name="Picture 234">
            <a:extLst>
              <a:ext uri="{FF2B5EF4-FFF2-40B4-BE49-F238E27FC236}">
                <a16:creationId xmlns:a16="http://schemas.microsoft.com/office/drawing/2014/main" id="{5CE0D99F-976B-EA9E-C1C6-2F707D999BA0}"/>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20000"/>
                    </a14:imgEffect>
                  </a14:imgLayer>
                </a14:imgProps>
              </a:ext>
            </a:extLst>
          </a:blip>
          <a:stretch>
            <a:fillRect/>
          </a:stretch>
        </p:blipFill>
        <p:spPr>
          <a:xfrm>
            <a:off x="1032476" y="3286012"/>
            <a:ext cx="760609" cy="861602"/>
          </a:xfrm>
          <a:prstGeom prst="rect">
            <a:avLst/>
          </a:prstGeom>
        </p:spPr>
      </p:pic>
      <p:sp>
        <p:nvSpPr>
          <p:cNvPr id="236" name="TextBox 235">
            <a:extLst>
              <a:ext uri="{FF2B5EF4-FFF2-40B4-BE49-F238E27FC236}">
                <a16:creationId xmlns:a16="http://schemas.microsoft.com/office/drawing/2014/main" id="{D5EA83FF-B77D-0ACC-6FF7-D82E6717C171}"/>
              </a:ext>
            </a:extLst>
          </p:cNvPr>
          <p:cNvSpPr txBox="1"/>
          <p:nvPr/>
        </p:nvSpPr>
        <p:spPr>
          <a:xfrm>
            <a:off x="2720707" y="1808964"/>
            <a:ext cx="939387" cy="620554"/>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2</a:t>
            </a:r>
            <a:r>
              <a:rPr lang="en-US" sz="700">
                <a:solidFill>
                  <a:srgbClr val="000000"/>
                </a:solidFill>
                <a:latin typeface="Aptos" panose="020B0004020202020204" pitchFamily="34" charset="0"/>
                <a:cs typeface="Microsoft Sans Serif" panose="020B0604020202020204" pitchFamily="34" charset="0"/>
              </a:rPr>
              <a:t>: </a:t>
            </a:r>
            <a:r>
              <a:rPr lang="en-US" sz="700">
                <a:solidFill>
                  <a:srgbClr val="000000"/>
                </a:solidFill>
                <a:latin typeface="Aptos" panose="020B0004020202020204" pitchFamily="34" charset="0"/>
                <a:cs typeface="Microsoft Sans Serif" panose="020B0604020202020204" pitchFamily="34" charset="0"/>
                <a:hlinkClick r:id="rId14"/>
              </a:rPr>
              <a:t>5G VISTA </a:t>
            </a:r>
            <a:r>
              <a:rPr lang="en-US" sz="700">
                <a:solidFill>
                  <a:srgbClr val="000000"/>
                </a:solidFill>
                <a:latin typeface="Aptos" panose="020B0004020202020204" pitchFamily="34" charset="0"/>
                <a:cs typeface="Microsoft Sans Serif" panose="020B0604020202020204" pitchFamily="34" charset="0"/>
              </a:rPr>
              <a:t>project to study how 5G Broadcast could enable multi-angle HD streams with interactivity in stadiums</a:t>
            </a:r>
          </a:p>
        </p:txBody>
      </p:sp>
      <p:pic>
        <p:nvPicPr>
          <p:cNvPr id="238" name="Picture 237">
            <a:extLst>
              <a:ext uri="{FF2B5EF4-FFF2-40B4-BE49-F238E27FC236}">
                <a16:creationId xmlns:a16="http://schemas.microsoft.com/office/drawing/2014/main" id="{3105A78B-F744-BE0B-31B1-0F7985209661}"/>
              </a:ext>
            </a:extLst>
          </p:cNvPr>
          <p:cNvPicPr>
            <a:picLocks noChangeAspect="1"/>
          </p:cNvPicPr>
          <p:nvPr/>
        </p:nvPicPr>
        <p:blipFill>
          <a:blip r:embed="rId15"/>
          <a:stretch>
            <a:fillRect/>
          </a:stretch>
        </p:blipFill>
        <p:spPr>
          <a:xfrm>
            <a:off x="426077" y="1661130"/>
            <a:ext cx="711928" cy="852643"/>
          </a:xfrm>
          <a:prstGeom prst="rect">
            <a:avLst/>
          </a:prstGeom>
        </p:spPr>
      </p:pic>
      <p:pic>
        <p:nvPicPr>
          <p:cNvPr id="240" name="Picture 239">
            <a:extLst>
              <a:ext uri="{FF2B5EF4-FFF2-40B4-BE49-F238E27FC236}">
                <a16:creationId xmlns:a16="http://schemas.microsoft.com/office/drawing/2014/main" id="{10D108F6-B233-E5F4-AAD5-027F6431CD81}"/>
              </a:ext>
            </a:extLst>
          </p:cNvPr>
          <p:cNvPicPr>
            <a:picLocks noChangeAspect="1"/>
          </p:cNvPicPr>
          <p:nvPr/>
        </p:nvPicPr>
        <p:blipFill>
          <a:blip r:embed="rId16"/>
          <a:stretch>
            <a:fillRect/>
          </a:stretch>
        </p:blipFill>
        <p:spPr>
          <a:xfrm>
            <a:off x="1319020" y="1684096"/>
            <a:ext cx="1255721" cy="852644"/>
          </a:xfrm>
          <a:prstGeom prst="rect">
            <a:avLst/>
          </a:prstGeom>
        </p:spPr>
      </p:pic>
      <p:cxnSp>
        <p:nvCxnSpPr>
          <p:cNvPr id="241" name="Straight Connector 240">
            <a:extLst>
              <a:ext uri="{FF2B5EF4-FFF2-40B4-BE49-F238E27FC236}">
                <a16:creationId xmlns:a16="http://schemas.microsoft.com/office/drawing/2014/main" id="{A3886025-21F8-8254-AFBA-3C04EE97E428}"/>
              </a:ext>
            </a:extLst>
          </p:cNvPr>
          <p:cNvCxnSpPr>
            <a:cxnSpLocks/>
          </p:cNvCxnSpPr>
          <p:nvPr/>
        </p:nvCxnSpPr>
        <p:spPr>
          <a:xfrm>
            <a:off x="6930123" y="4939719"/>
            <a:ext cx="993430" cy="1159359"/>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840AFD60-B5B0-0575-640B-65652EFFBDDD}"/>
              </a:ext>
            </a:extLst>
          </p:cNvPr>
          <p:cNvCxnSpPr>
            <a:cxnSpLocks/>
            <a:stCxn id="159" idx="11"/>
          </p:cNvCxnSpPr>
          <p:nvPr/>
        </p:nvCxnSpPr>
        <p:spPr>
          <a:xfrm>
            <a:off x="6397967" y="4091111"/>
            <a:ext cx="2160862" cy="607401"/>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60498EF-B64F-27E1-6506-14316DAAE2F2}"/>
              </a:ext>
            </a:extLst>
          </p:cNvPr>
          <p:cNvCxnSpPr>
            <a:cxnSpLocks/>
          </p:cNvCxnSpPr>
          <p:nvPr/>
        </p:nvCxnSpPr>
        <p:spPr>
          <a:xfrm flipV="1">
            <a:off x="6603685" y="3845712"/>
            <a:ext cx="2244071" cy="6683"/>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A8021CF-A42F-4E9F-57C9-65A72A396B89}"/>
              </a:ext>
            </a:extLst>
          </p:cNvPr>
          <p:cNvCxnSpPr>
            <a:cxnSpLocks/>
          </p:cNvCxnSpPr>
          <p:nvPr/>
        </p:nvCxnSpPr>
        <p:spPr>
          <a:xfrm>
            <a:off x="3738651" y="1537776"/>
            <a:ext cx="1154280" cy="1407504"/>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FCF16392-8687-9BD5-90FD-BFEF3DCE4519}"/>
              </a:ext>
            </a:extLst>
          </p:cNvPr>
          <p:cNvCxnSpPr>
            <a:cxnSpLocks/>
          </p:cNvCxnSpPr>
          <p:nvPr/>
        </p:nvCxnSpPr>
        <p:spPr>
          <a:xfrm>
            <a:off x="3341710" y="3025377"/>
            <a:ext cx="1478673" cy="976909"/>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225" name="Picture 224">
            <a:extLst>
              <a:ext uri="{FF2B5EF4-FFF2-40B4-BE49-F238E27FC236}">
                <a16:creationId xmlns:a16="http://schemas.microsoft.com/office/drawing/2014/main" id="{5489BE27-BD61-3F36-28B4-AE59B14C1046}"/>
              </a:ext>
            </a:extLst>
          </p:cNvPr>
          <p:cNvPicPr>
            <a:picLocks noChangeAspect="1"/>
          </p:cNvPicPr>
          <p:nvPr/>
        </p:nvPicPr>
        <p:blipFill>
          <a:blip r:embed="rId17"/>
          <a:stretch>
            <a:fillRect/>
          </a:stretch>
        </p:blipFill>
        <p:spPr>
          <a:xfrm>
            <a:off x="3186347" y="3121990"/>
            <a:ext cx="1150597" cy="767898"/>
          </a:xfrm>
          <a:prstGeom prst="rect">
            <a:avLst/>
          </a:prstGeom>
        </p:spPr>
      </p:pic>
      <p:sp>
        <p:nvSpPr>
          <p:cNvPr id="226" name="TextBox 225">
            <a:extLst>
              <a:ext uri="{FF2B5EF4-FFF2-40B4-BE49-F238E27FC236}">
                <a16:creationId xmlns:a16="http://schemas.microsoft.com/office/drawing/2014/main" id="{590DD297-8DE7-DD27-3281-39C0F1F8A3A0}"/>
              </a:ext>
            </a:extLst>
          </p:cNvPr>
          <p:cNvSpPr txBox="1"/>
          <p:nvPr/>
        </p:nvSpPr>
        <p:spPr>
          <a:xfrm>
            <a:off x="3211850" y="3964727"/>
            <a:ext cx="1115723" cy="206851"/>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8</a:t>
            </a:r>
            <a:r>
              <a:rPr lang="en-US" sz="700">
                <a:solidFill>
                  <a:srgbClr val="000000"/>
                </a:solidFill>
                <a:latin typeface="Aptos" panose="020B0004020202020204" pitchFamily="34" charset="0"/>
                <a:cs typeface="Microsoft Sans Serif" panose="020B0604020202020204" pitchFamily="34" charset="0"/>
              </a:rPr>
              <a:t>: TDF considering rolling out 5G Broadcast</a:t>
            </a:r>
          </a:p>
        </p:txBody>
      </p:sp>
      <p:sp>
        <p:nvSpPr>
          <p:cNvPr id="264" name="TextBox 263">
            <a:extLst>
              <a:ext uri="{FF2B5EF4-FFF2-40B4-BE49-F238E27FC236}">
                <a16:creationId xmlns:a16="http://schemas.microsoft.com/office/drawing/2014/main" id="{5927134D-7FBA-64AD-48CE-58EF736E3CAE}"/>
              </a:ext>
            </a:extLst>
          </p:cNvPr>
          <p:cNvSpPr txBox="1"/>
          <p:nvPr/>
        </p:nvSpPr>
        <p:spPr>
          <a:xfrm>
            <a:off x="10435469" y="1561238"/>
            <a:ext cx="1471428" cy="310278"/>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4</a:t>
            </a:r>
            <a:r>
              <a:rPr lang="en-US" sz="700">
                <a:solidFill>
                  <a:srgbClr val="000000"/>
                </a:solidFill>
                <a:latin typeface="Aptos" panose="020B0004020202020204" pitchFamily="34" charset="0"/>
                <a:cs typeface="Microsoft Sans Serif" panose="020B0604020202020204" pitchFamily="34" charset="0"/>
              </a:rPr>
              <a:t>: Live signal in 5 cities for advanced tests using Xiaomi phones and Qualcomm reference designs</a:t>
            </a:r>
          </a:p>
        </p:txBody>
      </p:sp>
      <p:pic>
        <p:nvPicPr>
          <p:cNvPr id="266" name="Picture 265">
            <a:extLst>
              <a:ext uri="{FF2B5EF4-FFF2-40B4-BE49-F238E27FC236}">
                <a16:creationId xmlns:a16="http://schemas.microsoft.com/office/drawing/2014/main" id="{77C10A9E-E3F0-534C-54EC-377166D94490}"/>
              </a:ext>
            </a:extLst>
          </p:cNvPr>
          <p:cNvPicPr>
            <a:picLocks noChangeAspect="1"/>
          </p:cNvPicPr>
          <p:nvPr/>
        </p:nvPicPr>
        <p:blipFill>
          <a:blip r:embed="rId18"/>
          <a:stretch>
            <a:fillRect/>
          </a:stretch>
        </p:blipFill>
        <p:spPr>
          <a:xfrm>
            <a:off x="9119125" y="1519192"/>
            <a:ext cx="1142475" cy="1093480"/>
          </a:xfrm>
          <a:prstGeom prst="rect">
            <a:avLst/>
          </a:prstGeom>
        </p:spPr>
      </p:pic>
      <p:sp>
        <p:nvSpPr>
          <p:cNvPr id="268" name="TextBox 267">
            <a:extLst>
              <a:ext uri="{FF2B5EF4-FFF2-40B4-BE49-F238E27FC236}">
                <a16:creationId xmlns:a16="http://schemas.microsoft.com/office/drawing/2014/main" id="{044B4D93-0FA2-55D6-3B2B-DFBC5F68D2C3}"/>
              </a:ext>
            </a:extLst>
          </p:cNvPr>
          <p:cNvSpPr txBox="1"/>
          <p:nvPr/>
        </p:nvSpPr>
        <p:spPr>
          <a:xfrm>
            <a:off x="10457735" y="2061988"/>
            <a:ext cx="1471428" cy="206851"/>
          </a:xfrm>
          <a:prstGeom prst="rect">
            <a:avLst/>
          </a:prstGeom>
        </p:spPr>
        <p:txBody>
          <a:bodyPr wrap="square" lIns="0" tIns="0" rIns="0" bIns="0" rtlCol="0">
            <a:spAutoFit/>
          </a:bodyPr>
          <a:lstStyle/>
          <a:p>
            <a:pPr algn="l">
              <a:lnSpc>
                <a:spcPct val="96000"/>
              </a:lnSpc>
            </a:pPr>
            <a:r>
              <a:rPr lang="en-US" sz="700" b="1" dirty="0">
                <a:solidFill>
                  <a:srgbClr val="000000"/>
                </a:solidFill>
                <a:highlight>
                  <a:srgbClr val="FFFF00"/>
                </a:highlight>
                <a:latin typeface="Aptos" panose="020B0004020202020204" pitchFamily="34" charset="0"/>
                <a:cs typeface="Microsoft Sans Serif" panose="020B0604020202020204" pitchFamily="34" charset="0"/>
              </a:rPr>
              <a:t>2027</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a:t>
            </a:r>
            <a:r>
              <a:rPr lang="en-US" sz="700" dirty="0" err="1">
                <a:solidFill>
                  <a:srgbClr val="000000"/>
                </a:solidFill>
                <a:highlight>
                  <a:srgbClr val="FFFF00"/>
                </a:highlight>
                <a:latin typeface="Aptos" panose="020B0004020202020204" pitchFamily="34" charset="0"/>
                <a:cs typeface="Microsoft Sans Serif" panose="020B0604020202020204" pitchFamily="34" charset="0"/>
              </a:rPr>
              <a:t>MediaBroadcast</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is planning to </a:t>
            </a:r>
            <a:r>
              <a:rPr lang="en-US" sz="700" dirty="0">
                <a:solidFill>
                  <a:srgbClr val="000000"/>
                </a:solidFill>
                <a:highlight>
                  <a:srgbClr val="FFFF00"/>
                </a:highlight>
                <a:latin typeface="Aptos" panose="020B0004020202020204" pitchFamily="34" charset="0"/>
                <a:cs typeface="Microsoft Sans Serif" panose="020B0604020202020204" pitchFamily="34" charset="0"/>
                <a:hlinkClick r:id="rId19"/>
              </a:rPr>
              <a:t>start commercial service</a:t>
            </a:r>
            <a:endParaRPr lang="en-US" sz="700" dirty="0">
              <a:solidFill>
                <a:srgbClr val="000000"/>
              </a:solidFill>
              <a:highlight>
                <a:srgbClr val="FFFF00"/>
              </a:highlight>
              <a:latin typeface="Aptos" panose="020B0004020202020204" pitchFamily="34" charset="0"/>
              <a:cs typeface="Microsoft Sans Serif" panose="020B0604020202020204" pitchFamily="34" charset="0"/>
            </a:endParaRPr>
          </a:p>
        </p:txBody>
      </p:sp>
      <p:pic>
        <p:nvPicPr>
          <p:cNvPr id="270" name="Picture 269">
            <a:extLst>
              <a:ext uri="{FF2B5EF4-FFF2-40B4-BE49-F238E27FC236}">
                <a16:creationId xmlns:a16="http://schemas.microsoft.com/office/drawing/2014/main" id="{DF23E7FA-2A3D-15B3-BB14-E69A9882B0F6}"/>
              </a:ext>
            </a:extLst>
          </p:cNvPr>
          <p:cNvPicPr>
            <a:picLocks noChangeAspect="1"/>
          </p:cNvPicPr>
          <p:nvPr/>
        </p:nvPicPr>
        <p:blipFill>
          <a:blip r:embed="rId20"/>
          <a:stretch>
            <a:fillRect/>
          </a:stretch>
        </p:blipFill>
        <p:spPr>
          <a:xfrm>
            <a:off x="330748" y="4659223"/>
            <a:ext cx="1023632" cy="829397"/>
          </a:xfrm>
          <a:prstGeom prst="rect">
            <a:avLst/>
          </a:prstGeom>
        </p:spPr>
      </p:pic>
      <p:sp>
        <p:nvSpPr>
          <p:cNvPr id="273" name="TextBox 272">
            <a:extLst>
              <a:ext uri="{FF2B5EF4-FFF2-40B4-BE49-F238E27FC236}">
                <a16:creationId xmlns:a16="http://schemas.microsoft.com/office/drawing/2014/main" id="{B5146D3F-152B-9FBA-41E2-43AC40EEA4C5}"/>
              </a:ext>
            </a:extLst>
          </p:cNvPr>
          <p:cNvSpPr txBox="1"/>
          <p:nvPr/>
        </p:nvSpPr>
        <p:spPr>
          <a:xfrm>
            <a:off x="1401934" y="4797326"/>
            <a:ext cx="1730629" cy="413703"/>
          </a:xfrm>
          <a:prstGeom prst="rect">
            <a:avLst/>
          </a:prstGeom>
        </p:spPr>
        <p:txBody>
          <a:bodyPr wrap="square" lIns="0" tIns="0" rIns="0" bIns="0" rtlCol="0">
            <a:spAutoFit/>
          </a:bodyPr>
          <a:lstStyle/>
          <a:p>
            <a:pPr algn="l">
              <a:lnSpc>
                <a:spcPct val="96000"/>
              </a:lnSpc>
            </a:pPr>
            <a:r>
              <a:rPr lang="en-US" sz="700" b="1" dirty="0">
                <a:solidFill>
                  <a:srgbClr val="000000"/>
                </a:solidFill>
                <a:latin typeface="Aptos" panose="020B0004020202020204" pitchFamily="34" charset="0"/>
                <a:cs typeface="Microsoft Sans Serif" panose="020B0604020202020204" pitchFamily="34" charset="0"/>
              </a:rPr>
              <a:t>2022-2023</a:t>
            </a:r>
            <a:r>
              <a:rPr lang="en-US" sz="700" dirty="0">
                <a:solidFill>
                  <a:srgbClr val="000000"/>
                </a:solidFill>
                <a:latin typeface="Aptos" panose="020B0004020202020204" pitchFamily="34" charset="0"/>
                <a:cs typeface="Microsoft Sans Serif" panose="020B0604020202020204" pitchFamily="34" charset="0"/>
              </a:rPr>
              <a:t>: </a:t>
            </a:r>
            <a:r>
              <a:rPr lang="en-US" sz="700" dirty="0">
                <a:solidFill>
                  <a:srgbClr val="000000"/>
                </a:solidFill>
                <a:latin typeface="Aptos" panose="020B0004020202020204" pitchFamily="34" charset="0"/>
                <a:cs typeface="Microsoft Sans Serif" panose="020B0604020202020204" pitchFamily="34" charset="0"/>
                <a:hlinkClick r:id="rId21"/>
              </a:rPr>
              <a:t>5G Broadcast demonstrations at </a:t>
            </a:r>
            <a:r>
              <a:rPr lang="en-US" sz="700" dirty="0">
                <a:solidFill>
                  <a:srgbClr val="000000"/>
                </a:solidFill>
                <a:latin typeface="Aptos" panose="020B0004020202020204" pitchFamily="34" charset="0"/>
                <a:cs typeface="Microsoft Sans Serif" panose="020B0604020202020204" pitchFamily="34" charset="0"/>
              </a:rPr>
              <a:t>ISA and MWC shows with Cellnex Telecom</a:t>
            </a:r>
          </a:p>
          <a:p>
            <a:pPr algn="l">
              <a:lnSpc>
                <a:spcPct val="96000"/>
              </a:lnSpc>
            </a:pPr>
            <a:endParaRPr lang="en-US" sz="700" dirty="0">
              <a:solidFill>
                <a:srgbClr val="000000"/>
              </a:solidFill>
              <a:latin typeface="Aptos" panose="020B0004020202020204" pitchFamily="34" charset="0"/>
              <a:cs typeface="Microsoft Sans Serif" panose="020B0604020202020204" pitchFamily="34" charset="0"/>
            </a:endParaRPr>
          </a:p>
          <a:p>
            <a:pPr algn="l">
              <a:lnSpc>
                <a:spcPct val="96000"/>
              </a:lnSpc>
            </a:pPr>
            <a:r>
              <a:rPr lang="en-US" sz="700" b="1" dirty="0">
                <a:solidFill>
                  <a:srgbClr val="000000"/>
                </a:solidFill>
                <a:highlight>
                  <a:srgbClr val="FFFF00"/>
                </a:highlight>
                <a:latin typeface="Aptos" panose="020B0004020202020204" pitchFamily="34" charset="0"/>
                <a:cs typeface="Microsoft Sans Serif" panose="020B0604020202020204" pitchFamily="34" charset="0"/>
              </a:rPr>
              <a:t>2025</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5G Broadcast trial in Valencia</a:t>
            </a:r>
          </a:p>
        </p:txBody>
      </p:sp>
      <p:cxnSp>
        <p:nvCxnSpPr>
          <p:cNvPr id="274" name="Straight Connector 273">
            <a:extLst>
              <a:ext uri="{FF2B5EF4-FFF2-40B4-BE49-F238E27FC236}">
                <a16:creationId xmlns:a16="http://schemas.microsoft.com/office/drawing/2014/main" id="{B35C26DF-B962-5A6C-FDCE-15150ECFCE3F}"/>
              </a:ext>
            </a:extLst>
          </p:cNvPr>
          <p:cNvCxnSpPr>
            <a:cxnSpLocks/>
          </p:cNvCxnSpPr>
          <p:nvPr/>
        </p:nvCxnSpPr>
        <p:spPr>
          <a:xfrm flipV="1">
            <a:off x="3099530" y="4460523"/>
            <a:ext cx="1512589" cy="153323"/>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11BA78C3-8288-A434-E615-C832BB03149B}"/>
              </a:ext>
            </a:extLst>
          </p:cNvPr>
          <p:cNvSpPr txBox="1"/>
          <p:nvPr/>
        </p:nvSpPr>
        <p:spPr>
          <a:xfrm>
            <a:off x="10070353" y="3948883"/>
            <a:ext cx="1858809" cy="103426"/>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2</a:t>
            </a:r>
            <a:r>
              <a:rPr lang="en-US" sz="700">
                <a:solidFill>
                  <a:srgbClr val="000000"/>
                </a:solidFill>
                <a:latin typeface="Aptos" panose="020B0004020202020204" pitchFamily="34" charset="0"/>
                <a:cs typeface="Microsoft Sans Serif" panose="020B0604020202020204" pitchFamily="34" charset="0"/>
              </a:rPr>
              <a:t>: CRA ran 5G Broadcast tests in Prague</a:t>
            </a:r>
          </a:p>
        </p:txBody>
      </p:sp>
      <p:sp>
        <p:nvSpPr>
          <p:cNvPr id="295" name="TextBox 294">
            <a:extLst>
              <a:ext uri="{FF2B5EF4-FFF2-40B4-BE49-F238E27FC236}">
                <a16:creationId xmlns:a16="http://schemas.microsoft.com/office/drawing/2014/main" id="{12FB2237-06DB-B7A8-4D32-9EC37F8EFB19}"/>
              </a:ext>
            </a:extLst>
          </p:cNvPr>
          <p:cNvSpPr txBox="1"/>
          <p:nvPr/>
        </p:nvSpPr>
        <p:spPr>
          <a:xfrm>
            <a:off x="10071858" y="4095177"/>
            <a:ext cx="1922293" cy="103426"/>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4</a:t>
            </a:r>
            <a:r>
              <a:rPr lang="en-US" sz="700">
                <a:solidFill>
                  <a:srgbClr val="000000"/>
                </a:solidFill>
                <a:latin typeface="Aptos" panose="020B0004020202020204" pitchFamily="34" charset="0"/>
                <a:cs typeface="Microsoft Sans Serif" panose="020B0604020202020204" pitchFamily="34" charset="0"/>
              </a:rPr>
              <a:t>: CRA running new tests with SFN in two sites</a:t>
            </a:r>
          </a:p>
        </p:txBody>
      </p:sp>
      <p:pic>
        <p:nvPicPr>
          <p:cNvPr id="297" name="Picture 296">
            <a:extLst>
              <a:ext uri="{FF2B5EF4-FFF2-40B4-BE49-F238E27FC236}">
                <a16:creationId xmlns:a16="http://schemas.microsoft.com/office/drawing/2014/main" id="{6B43D433-AC06-F521-4D38-FCEDA65478FC}"/>
              </a:ext>
            </a:extLst>
          </p:cNvPr>
          <p:cNvPicPr>
            <a:picLocks noChangeAspect="1"/>
          </p:cNvPicPr>
          <p:nvPr/>
        </p:nvPicPr>
        <p:blipFill>
          <a:blip r:embed="rId22"/>
          <a:stretch>
            <a:fillRect/>
          </a:stretch>
        </p:blipFill>
        <p:spPr>
          <a:xfrm>
            <a:off x="8204160" y="3903886"/>
            <a:ext cx="1031134" cy="594665"/>
          </a:xfrm>
          <a:prstGeom prst="rect">
            <a:avLst/>
          </a:prstGeom>
        </p:spPr>
      </p:pic>
      <p:pic>
        <p:nvPicPr>
          <p:cNvPr id="299" name="Picture 298">
            <a:extLst>
              <a:ext uri="{FF2B5EF4-FFF2-40B4-BE49-F238E27FC236}">
                <a16:creationId xmlns:a16="http://schemas.microsoft.com/office/drawing/2014/main" id="{70E7F89D-9676-E862-5861-8F2B9C329E8C}"/>
              </a:ext>
            </a:extLst>
          </p:cNvPr>
          <p:cNvPicPr>
            <a:picLocks noChangeAspect="1"/>
          </p:cNvPicPr>
          <p:nvPr/>
        </p:nvPicPr>
        <p:blipFill>
          <a:blip r:embed="rId23"/>
          <a:stretch>
            <a:fillRect/>
          </a:stretch>
        </p:blipFill>
        <p:spPr>
          <a:xfrm>
            <a:off x="9042185" y="3913415"/>
            <a:ext cx="930965" cy="277788"/>
          </a:xfrm>
          <a:prstGeom prst="rect">
            <a:avLst/>
          </a:prstGeom>
        </p:spPr>
      </p:pic>
      <p:pic>
        <p:nvPicPr>
          <p:cNvPr id="301" name="Picture 300">
            <a:extLst>
              <a:ext uri="{FF2B5EF4-FFF2-40B4-BE49-F238E27FC236}">
                <a16:creationId xmlns:a16="http://schemas.microsoft.com/office/drawing/2014/main" id="{5BD78990-EC7D-84B0-8E50-97D9F2A69520}"/>
              </a:ext>
            </a:extLst>
          </p:cNvPr>
          <p:cNvPicPr>
            <a:picLocks noChangeAspect="1"/>
          </p:cNvPicPr>
          <p:nvPr/>
        </p:nvPicPr>
        <p:blipFill>
          <a:blip r:embed="rId24"/>
          <a:stretch>
            <a:fillRect/>
          </a:stretch>
        </p:blipFill>
        <p:spPr>
          <a:xfrm>
            <a:off x="10435468" y="4816287"/>
            <a:ext cx="1370693" cy="663647"/>
          </a:xfrm>
          <a:prstGeom prst="rect">
            <a:avLst/>
          </a:prstGeom>
        </p:spPr>
      </p:pic>
      <p:sp>
        <p:nvSpPr>
          <p:cNvPr id="302" name="TextBox 301">
            <a:extLst>
              <a:ext uri="{FF2B5EF4-FFF2-40B4-BE49-F238E27FC236}">
                <a16:creationId xmlns:a16="http://schemas.microsoft.com/office/drawing/2014/main" id="{D6D870FB-1526-01F0-D3B1-38EE2BD2322E}"/>
              </a:ext>
            </a:extLst>
          </p:cNvPr>
          <p:cNvSpPr txBox="1"/>
          <p:nvPr/>
        </p:nvSpPr>
        <p:spPr>
          <a:xfrm>
            <a:off x="10556759" y="5557904"/>
            <a:ext cx="1226377" cy="206851"/>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3</a:t>
            </a:r>
            <a:r>
              <a:rPr lang="en-US" sz="700">
                <a:solidFill>
                  <a:srgbClr val="000000"/>
                </a:solidFill>
                <a:latin typeface="Aptos" panose="020B0004020202020204" pitchFamily="34" charset="0"/>
                <a:cs typeface="Microsoft Sans Serif" panose="020B0604020202020204" pitchFamily="34" charset="0"/>
              </a:rPr>
              <a:t>: ORS used </a:t>
            </a:r>
            <a:r>
              <a:rPr lang="en-US" sz="700">
                <a:solidFill>
                  <a:srgbClr val="000000"/>
                </a:solidFill>
                <a:latin typeface="Aptos" panose="020B0004020202020204" pitchFamily="34" charset="0"/>
                <a:cs typeface="Microsoft Sans Serif" panose="020B0604020202020204" pitchFamily="34" charset="0"/>
                <a:hlinkClick r:id="rId25"/>
              </a:rPr>
              <a:t>5G Broadcast during MotoGP race </a:t>
            </a:r>
            <a:endParaRPr lang="en-US" sz="700">
              <a:solidFill>
                <a:srgbClr val="000000"/>
              </a:solidFill>
              <a:latin typeface="Aptos" panose="020B0004020202020204" pitchFamily="34" charset="0"/>
              <a:cs typeface="Microsoft Sans Serif" panose="020B0604020202020204" pitchFamily="34" charset="0"/>
            </a:endParaRPr>
          </a:p>
        </p:txBody>
      </p:sp>
      <p:sp>
        <p:nvSpPr>
          <p:cNvPr id="310" name="TextBox 309">
            <a:extLst>
              <a:ext uri="{FF2B5EF4-FFF2-40B4-BE49-F238E27FC236}">
                <a16:creationId xmlns:a16="http://schemas.microsoft.com/office/drawing/2014/main" id="{A4F75F76-84A6-C493-89E4-537AEA7A4F63}"/>
              </a:ext>
            </a:extLst>
          </p:cNvPr>
          <p:cNvSpPr txBox="1"/>
          <p:nvPr/>
        </p:nvSpPr>
        <p:spPr>
          <a:xfrm>
            <a:off x="8947730" y="5582723"/>
            <a:ext cx="1386756" cy="310278"/>
          </a:xfrm>
          <a:prstGeom prst="rect">
            <a:avLst/>
          </a:prstGeom>
        </p:spPr>
        <p:txBody>
          <a:bodyPr wrap="square" lIns="0" tIns="0" rIns="0" bIns="0" rtlCol="0">
            <a:spAutoFit/>
          </a:bodyPr>
          <a:lstStyle/>
          <a:p>
            <a:pPr algn="l">
              <a:lnSpc>
                <a:spcPct val="96000"/>
              </a:lnSpc>
            </a:pPr>
            <a:r>
              <a:rPr lang="en-US" sz="700" b="1">
                <a:solidFill>
                  <a:srgbClr val="000000"/>
                </a:solidFill>
                <a:latin typeface="Aptos" panose="020B0004020202020204" pitchFamily="34" charset="0"/>
                <a:cs typeface="Microsoft Sans Serif" panose="020B0604020202020204" pitchFamily="34" charset="0"/>
              </a:rPr>
              <a:t>2022</a:t>
            </a:r>
            <a:r>
              <a:rPr lang="en-US" sz="700">
                <a:solidFill>
                  <a:srgbClr val="000000"/>
                </a:solidFill>
                <a:latin typeface="Aptos" panose="020B0004020202020204" pitchFamily="34" charset="0"/>
                <a:cs typeface="Microsoft Sans Serif" panose="020B0604020202020204" pitchFamily="34" charset="0"/>
              </a:rPr>
              <a:t>: </a:t>
            </a:r>
            <a:r>
              <a:rPr lang="en-US" sz="700">
                <a:solidFill>
                  <a:srgbClr val="000000"/>
                </a:solidFill>
                <a:latin typeface="Aptos" panose="020B0004020202020204" pitchFamily="34" charset="0"/>
                <a:cs typeface="Microsoft Sans Serif" panose="020B0604020202020204" pitchFamily="34" charset="0"/>
                <a:hlinkClick r:id="rId26"/>
              </a:rPr>
              <a:t>Europe wide 5G broadcast trial delivering Eurovision in Italy, France, Germany, Austria</a:t>
            </a:r>
            <a:endParaRPr lang="en-US" sz="700">
              <a:solidFill>
                <a:srgbClr val="000000"/>
              </a:solidFill>
              <a:latin typeface="Aptos" panose="020B0004020202020204" pitchFamily="34" charset="0"/>
              <a:cs typeface="Microsoft Sans Serif" panose="020B0604020202020204" pitchFamily="34" charset="0"/>
            </a:endParaRPr>
          </a:p>
        </p:txBody>
      </p:sp>
      <p:pic>
        <p:nvPicPr>
          <p:cNvPr id="312" name="Picture 311">
            <a:extLst>
              <a:ext uri="{FF2B5EF4-FFF2-40B4-BE49-F238E27FC236}">
                <a16:creationId xmlns:a16="http://schemas.microsoft.com/office/drawing/2014/main" id="{DFA2FD37-D406-4061-BC6C-55A1BFF16387}"/>
              </a:ext>
            </a:extLst>
          </p:cNvPr>
          <p:cNvPicPr>
            <a:picLocks noChangeAspect="1"/>
          </p:cNvPicPr>
          <p:nvPr/>
        </p:nvPicPr>
        <p:blipFill>
          <a:blip r:embed="rId27"/>
          <a:stretch>
            <a:fillRect/>
          </a:stretch>
        </p:blipFill>
        <p:spPr>
          <a:xfrm>
            <a:off x="8847756" y="4789242"/>
            <a:ext cx="1387351" cy="776023"/>
          </a:xfrm>
          <a:prstGeom prst="rect">
            <a:avLst/>
          </a:prstGeom>
        </p:spPr>
      </p:pic>
      <p:sp>
        <p:nvSpPr>
          <p:cNvPr id="315" name="TextBox 314">
            <a:extLst>
              <a:ext uri="{FF2B5EF4-FFF2-40B4-BE49-F238E27FC236}">
                <a16:creationId xmlns:a16="http://schemas.microsoft.com/office/drawing/2014/main" id="{161A1C4A-8690-3A24-1894-A5C6CA864040}"/>
              </a:ext>
            </a:extLst>
          </p:cNvPr>
          <p:cNvSpPr txBox="1"/>
          <p:nvPr/>
        </p:nvSpPr>
        <p:spPr>
          <a:xfrm>
            <a:off x="9803876" y="2957753"/>
            <a:ext cx="2375016" cy="413703"/>
          </a:xfrm>
          <a:prstGeom prst="rect">
            <a:avLst/>
          </a:prstGeom>
        </p:spPr>
        <p:txBody>
          <a:bodyPr wrap="square" lIns="0" tIns="0" rIns="0" bIns="0" rtlCol="0">
            <a:spAutoFit/>
          </a:bodyPr>
          <a:lstStyle/>
          <a:p>
            <a:pPr algn="l">
              <a:lnSpc>
                <a:spcPct val="96000"/>
              </a:lnSpc>
            </a:pPr>
            <a:r>
              <a:rPr lang="en-US" sz="700" b="1" dirty="0">
                <a:solidFill>
                  <a:srgbClr val="000000"/>
                </a:solidFill>
                <a:latin typeface="Aptos" panose="020B0004020202020204" pitchFamily="34" charset="0"/>
                <a:cs typeface="Microsoft Sans Serif" panose="020B0604020202020204" pitchFamily="34" charset="0"/>
              </a:rPr>
              <a:t>2023</a:t>
            </a:r>
            <a:r>
              <a:rPr lang="en-US" sz="700" dirty="0">
                <a:solidFill>
                  <a:srgbClr val="000000"/>
                </a:solidFill>
                <a:latin typeface="Aptos" panose="020B0004020202020204" pitchFamily="34" charset="0"/>
                <a:cs typeface="Microsoft Sans Serif" panose="020B0604020202020204" pitchFamily="34" charset="0"/>
              </a:rPr>
              <a:t>: Tested </a:t>
            </a:r>
            <a:r>
              <a:rPr lang="en-US" sz="700" dirty="0">
                <a:solidFill>
                  <a:srgbClr val="000000"/>
                </a:solidFill>
                <a:latin typeface="Aptos" panose="020B0004020202020204" pitchFamily="34" charset="0"/>
                <a:cs typeface="Microsoft Sans Serif" panose="020B0604020202020204" pitchFamily="34" charset="0"/>
                <a:hlinkClick r:id="rId28"/>
              </a:rPr>
              <a:t>5G Broadcast at </a:t>
            </a:r>
            <a:r>
              <a:rPr lang="en-US" sz="700" dirty="0" err="1">
                <a:solidFill>
                  <a:srgbClr val="000000"/>
                </a:solidFill>
                <a:latin typeface="Aptos" panose="020B0004020202020204" pitchFamily="34" charset="0"/>
                <a:cs typeface="Microsoft Sans Serif" panose="020B0604020202020204" pitchFamily="34" charset="0"/>
                <a:hlinkClick r:id="rId28"/>
              </a:rPr>
              <a:t>Crevex</a:t>
            </a:r>
            <a:r>
              <a:rPr lang="en-US" sz="700" dirty="0">
                <a:solidFill>
                  <a:srgbClr val="000000"/>
                </a:solidFill>
                <a:latin typeface="Aptos" panose="020B0004020202020204" pitchFamily="34" charset="0"/>
                <a:cs typeface="Microsoft Sans Serif" panose="020B0604020202020204" pitchFamily="34" charset="0"/>
                <a:hlinkClick r:id="rId28"/>
              </a:rPr>
              <a:t> 2023</a:t>
            </a:r>
            <a:endParaRPr lang="en-US" sz="700" dirty="0">
              <a:solidFill>
                <a:srgbClr val="000000"/>
              </a:solidFill>
              <a:latin typeface="Aptos" panose="020B0004020202020204" pitchFamily="34" charset="0"/>
              <a:cs typeface="Microsoft Sans Serif" panose="020B0604020202020204" pitchFamily="34" charset="0"/>
            </a:endParaRPr>
          </a:p>
          <a:p>
            <a:pPr algn="l">
              <a:lnSpc>
                <a:spcPct val="96000"/>
              </a:lnSpc>
            </a:pPr>
            <a:endParaRPr lang="en-US" sz="700" dirty="0">
              <a:solidFill>
                <a:srgbClr val="000000"/>
              </a:solidFill>
              <a:latin typeface="Aptos" panose="020B0004020202020204" pitchFamily="34" charset="0"/>
              <a:cs typeface="Microsoft Sans Serif" panose="020B0604020202020204" pitchFamily="34" charset="0"/>
            </a:endParaRPr>
          </a:p>
          <a:p>
            <a:pPr algn="l">
              <a:lnSpc>
                <a:spcPct val="96000"/>
              </a:lnSpc>
            </a:pPr>
            <a:r>
              <a:rPr lang="en-US" sz="700" b="1" dirty="0">
                <a:solidFill>
                  <a:srgbClr val="000000"/>
                </a:solidFill>
                <a:highlight>
                  <a:srgbClr val="FFFF00"/>
                </a:highlight>
                <a:latin typeface="Aptos" panose="020B0004020202020204" pitchFamily="34" charset="0"/>
                <a:cs typeface="Microsoft Sans Serif" panose="020B0604020202020204" pitchFamily="34" charset="0"/>
              </a:rPr>
              <a:t>2025</a:t>
            </a:r>
            <a:r>
              <a:rPr lang="en-US" sz="700" dirty="0">
                <a:solidFill>
                  <a:srgbClr val="000000"/>
                </a:solidFill>
                <a:highlight>
                  <a:srgbClr val="FFFF00"/>
                </a:highlight>
                <a:latin typeface="Aptos" panose="020B0004020202020204" pitchFamily="34" charset="0"/>
                <a:cs typeface="Microsoft Sans Serif" panose="020B0604020202020204" pitchFamily="34" charset="0"/>
              </a:rPr>
              <a:t>: Further tests for alert functionality with integration to cell broadcast for news and critical updates</a:t>
            </a:r>
          </a:p>
        </p:txBody>
      </p:sp>
      <p:pic>
        <p:nvPicPr>
          <p:cNvPr id="317" name="Picture 316">
            <a:extLst>
              <a:ext uri="{FF2B5EF4-FFF2-40B4-BE49-F238E27FC236}">
                <a16:creationId xmlns:a16="http://schemas.microsoft.com/office/drawing/2014/main" id="{C54D219C-27A0-E093-33BA-EFDED4D68222}"/>
              </a:ext>
            </a:extLst>
          </p:cNvPr>
          <p:cNvPicPr>
            <a:picLocks noChangeAspect="1"/>
          </p:cNvPicPr>
          <p:nvPr/>
        </p:nvPicPr>
        <p:blipFill>
          <a:blip r:embed="rId29"/>
          <a:stretch>
            <a:fillRect/>
          </a:stretch>
        </p:blipFill>
        <p:spPr>
          <a:xfrm>
            <a:off x="8022734" y="2815299"/>
            <a:ext cx="608436" cy="934212"/>
          </a:xfrm>
          <a:prstGeom prst="rect">
            <a:avLst/>
          </a:prstGeom>
        </p:spPr>
      </p:pic>
      <p:cxnSp>
        <p:nvCxnSpPr>
          <p:cNvPr id="320" name="Straight Connector 319">
            <a:extLst>
              <a:ext uri="{FF2B5EF4-FFF2-40B4-BE49-F238E27FC236}">
                <a16:creationId xmlns:a16="http://schemas.microsoft.com/office/drawing/2014/main" id="{C5813774-361A-C72F-4DB7-02850EA2D53A}"/>
              </a:ext>
            </a:extLst>
          </p:cNvPr>
          <p:cNvCxnSpPr>
            <a:cxnSpLocks/>
          </p:cNvCxnSpPr>
          <p:nvPr/>
        </p:nvCxnSpPr>
        <p:spPr>
          <a:xfrm>
            <a:off x="9126499" y="2893592"/>
            <a:ext cx="268703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FF7CC732-3616-F7F8-D025-C5F30FB9B433}"/>
              </a:ext>
            </a:extLst>
          </p:cNvPr>
          <p:cNvCxnSpPr>
            <a:cxnSpLocks/>
            <a:stCxn id="188" idx="43"/>
          </p:cNvCxnSpPr>
          <p:nvPr/>
        </p:nvCxnSpPr>
        <p:spPr>
          <a:xfrm flipV="1">
            <a:off x="6207333" y="1433725"/>
            <a:ext cx="2041120" cy="1978917"/>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328" name="Picture 327">
            <a:extLst>
              <a:ext uri="{FF2B5EF4-FFF2-40B4-BE49-F238E27FC236}">
                <a16:creationId xmlns:a16="http://schemas.microsoft.com/office/drawing/2014/main" id="{1D544B89-168F-B0F0-D21D-2EDCEFF34244}"/>
              </a:ext>
            </a:extLst>
          </p:cNvPr>
          <p:cNvPicPr>
            <a:picLocks noChangeAspect="1"/>
          </p:cNvPicPr>
          <p:nvPr/>
        </p:nvPicPr>
        <p:blipFill>
          <a:blip r:embed="rId30"/>
          <a:stretch>
            <a:fillRect/>
          </a:stretch>
        </p:blipFill>
        <p:spPr>
          <a:xfrm>
            <a:off x="8672423" y="2778684"/>
            <a:ext cx="708898" cy="1036428"/>
          </a:xfrm>
          <a:prstGeom prst="rect">
            <a:avLst/>
          </a:prstGeom>
        </p:spPr>
      </p:pic>
      <p:sp>
        <p:nvSpPr>
          <p:cNvPr id="330" name="TextBox 329">
            <a:extLst>
              <a:ext uri="{FF2B5EF4-FFF2-40B4-BE49-F238E27FC236}">
                <a16:creationId xmlns:a16="http://schemas.microsoft.com/office/drawing/2014/main" id="{954B44D1-C48A-99E8-173C-F7AE5E9ED710}"/>
              </a:ext>
            </a:extLst>
          </p:cNvPr>
          <p:cNvSpPr txBox="1"/>
          <p:nvPr/>
        </p:nvSpPr>
        <p:spPr>
          <a:xfrm>
            <a:off x="10640960" y="6127981"/>
            <a:ext cx="1437881" cy="402611"/>
          </a:xfrm>
          <a:prstGeom prst="rect">
            <a:avLst/>
          </a:prstGeom>
          <a:noFill/>
        </p:spPr>
        <p:txBody>
          <a:bodyPr wrap="square">
            <a:spAutoFit/>
          </a:bodyPr>
          <a:lstStyle/>
          <a:p>
            <a:pPr>
              <a:lnSpc>
                <a:spcPct val="96000"/>
              </a:lnSpc>
            </a:pPr>
            <a:r>
              <a:rPr lang="en-US" sz="700" b="1">
                <a:solidFill>
                  <a:srgbClr val="000000"/>
                </a:solidFill>
                <a:latin typeface="Aptos" panose="020B0004020202020204" pitchFamily="34" charset="0"/>
                <a:cs typeface="Microsoft Sans Serif" panose="020B0604020202020204" pitchFamily="34" charset="0"/>
              </a:rPr>
              <a:t>2021-2023</a:t>
            </a:r>
            <a:r>
              <a:rPr lang="en-US" sz="700">
                <a:solidFill>
                  <a:srgbClr val="000000"/>
                </a:solidFill>
                <a:latin typeface="Aptos" panose="020B0004020202020204" pitchFamily="34" charset="0"/>
                <a:cs typeface="Microsoft Sans Serif" panose="020B0604020202020204" pitchFamily="34" charset="0"/>
              </a:rPr>
              <a:t>: Live TV/Radio with 5G BC Rel-14/16 , with 3MHz in Athens</a:t>
            </a:r>
          </a:p>
        </p:txBody>
      </p:sp>
      <p:pic>
        <p:nvPicPr>
          <p:cNvPr id="259" name="Picture 258">
            <a:extLst>
              <a:ext uri="{FF2B5EF4-FFF2-40B4-BE49-F238E27FC236}">
                <a16:creationId xmlns:a16="http://schemas.microsoft.com/office/drawing/2014/main" id="{51FFE215-4458-D636-68E7-E27D8B48B3E7}"/>
              </a:ext>
            </a:extLst>
          </p:cNvPr>
          <p:cNvPicPr>
            <a:picLocks noChangeAspect="1"/>
          </p:cNvPicPr>
          <p:nvPr/>
        </p:nvPicPr>
        <p:blipFill>
          <a:blip r:embed="rId31"/>
          <a:stretch>
            <a:fillRect/>
          </a:stretch>
        </p:blipFill>
        <p:spPr>
          <a:xfrm>
            <a:off x="7720049" y="1620790"/>
            <a:ext cx="1255610" cy="751476"/>
          </a:xfrm>
          <a:prstGeom prst="rect">
            <a:avLst/>
          </a:prstGeom>
        </p:spPr>
      </p:pic>
      <p:sp>
        <p:nvSpPr>
          <p:cNvPr id="4" name="Footer Placeholder 3">
            <a:extLst>
              <a:ext uri="{FF2B5EF4-FFF2-40B4-BE49-F238E27FC236}">
                <a16:creationId xmlns:a16="http://schemas.microsoft.com/office/drawing/2014/main" id="{ADB2BD74-4433-B70D-FBFE-851C93B59A61}"/>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344275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00DF2-5801-2A32-A3EC-00BD4856962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F295E5D2-29AE-723D-00BF-A3F1FE64D879}"/>
              </a:ext>
            </a:extLst>
          </p:cNvPr>
          <p:cNvSpPr/>
          <p:nvPr/>
        </p:nvSpPr>
        <p:spPr>
          <a:xfrm>
            <a:off x="0" y="-26152"/>
            <a:ext cx="12192000" cy="1149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Title 3">
            <a:extLst>
              <a:ext uri="{FF2B5EF4-FFF2-40B4-BE49-F238E27FC236}">
                <a16:creationId xmlns:a16="http://schemas.microsoft.com/office/drawing/2014/main" id="{B7D4A6F7-81BA-1911-BA4D-BE8BE8A79BE1}"/>
              </a:ext>
            </a:extLst>
          </p:cNvPr>
          <p:cNvSpPr txBox="1">
            <a:spLocks/>
          </p:cNvSpPr>
          <p:nvPr/>
        </p:nvSpPr>
        <p:spPr>
          <a:xfrm>
            <a:off x="293349" y="500265"/>
            <a:ext cx="11187112" cy="997694"/>
          </a:xfrm>
          <a:prstGeom prst="rect">
            <a:avLst/>
          </a:prstGeom>
        </p:spPr>
        <p:txBody>
          <a:bodyPr/>
          <a:lst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a:lstStyle>
          <a:p>
            <a:r>
              <a:rPr lang="en-US">
                <a:solidFill>
                  <a:schemeClr val="bg1"/>
                </a:solidFill>
              </a:rPr>
              <a:t>Trials and demonstrations - Asia</a:t>
            </a:r>
          </a:p>
        </p:txBody>
      </p:sp>
      <p:cxnSp>
        <p:nvCxnSpPr>
          <p:cNvPr id="16" name="Straight Connector 15">
            <a:extLst>
              <a:ext uri="{FF2B5EF4-FFF2-40B4-BE49-F238E27FC236}">
                <a16:creationId xmlns:a16="http://schemas.microsoft.com/office/drawing/2014/main" id="{DCA4433C-D0B9-6701-0719-48DDBEEF2C5F}"/>
              </a:ext>
            </a:extLst>
          </p:cNvPr>
          <p:cNvCxnSpPr>
            <a:cxnSpLocks/>
          </p:cNvCxnSpPr>
          <p:nvPr/>
        </p:nvCxnSpPr>
        <p:spPr>
          <a:xfrm>
            <a:off x="8920705" y="1390337"/>
            <a:ext cx="273401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4F5AA8F-E7CD-F04A-6D8F-764A4BCE64FC}"/>
              </a:ext>
            </a:extLst>
          </p:cNvPr>
          <p:cNvSpPr txBox="1"/>
          <p:nvPr/>
        </p:nvSpPr>
        <p:spPr>
          <a:xfrm>
            <a:off x="11157260" y="1173650"/>
            <a:ext cx="528991"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China</a:t>
            </a:r>
          </a:p>
        </p:txBody>
      </p:sp>
      <p:cxnSp>
        <p:nvCxnSpPr>
          <p:cNvPr id="22" name="Straight Connector 21">
            <a:extLst>
              <a:ext uri="{FF2B5EF4-FFF2-40B4-BE49-F238E27FC236}">
                <a16:creationId xmlns:a16="http://schemas.microsoft.com/office/drawing/2014/main" id="{00A95360-3F2F-2827-1FFE-EF43BD3AE5E3}"/>
              </a:ext>
            </a:extLst>
          </p:cNvPr>
          <p:cNvCxnSpPr>
            <a:cxnSpLocks/>
          </p:cNvCxnSpPr>
          <p:nvPr/>
        </p:nvCxnSpPr>
        <p:spPr>
          <a:xfrm>
            <a:off x="213621" y="2589929"/>
            <a:ext cx="2790540" cy="11366"/>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57B8D70-F8A5-ADC8-1CC3-E0EB581ABF5B}"/>
              </a:ext>
            </a:extLst>
          </p:cNvPr>
          <p:cNvSpPr txBox="1"/>
          <p:nvPr/>
        </p:nvSpPr>
        <p:spPr>
          <a:xfrm>
            <a:off x="213621" y="2367189"/>
            <a:ext cx="440826"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India</a:t>
            </a:r>
          </a:p>
        </p:txBody>
      </p:sp>
      <p:cxnSp>
        <p:nvCxnSpPr>
          <p:cNvPr id="24" name="Straight Connector 23">
            <a:extLst>
              <a:ext uri="{FF2B5EF4-FFF2-40B4-BE49-F238E27FC236}">
                <a16:creationId xmlns:a16="http://schemas.microsoft.com/office/drawing/2014/main" id="{1092F083-69A0-57C4-6B06-761BB2B3B9E6}"/>
              </a:ext>
            </a:extLst>
          </p:cNvPr>
          <p:cNvCxnSpPr>
            <a:cxnSpLocks/>
          </p:cNvCxnSpPr>
          <p:nvPr/>
        </p:nvCxnSpPr>
        <p:spPr>
          <a:xfrm>
            <a:off x="9232023" y="4339396"/>
            <a:ext cx="2750603"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D79CFD6-A568-370D-6B4C-F77DD49A6226}"/>
              </a:ext>
            </a:extLst>
          </p:cNvPr>
          <p:cNvSpPr txBox="1"/>
          <p:nvPr/>
        </p:nvSpPr>
        <p:spPr>
          <a:xfrm>
            <a:off x="11127576" y="4103049"/>
            <a:ext cx="782458" cy="236347"/>
          </a:xfrm>
          <a:prstGeom prst="rect">
            <a:avLst/>
          </a:prstGeom>
        </p:spPr>
        <p:txBody>
          <a:bodyPr wrap="none" lIns="0" tIns="0" rIns="0" bIns="0" rtlCol="0">
            <a:spAutoFit/>
          </a:bodyPr>
          <a:lstStyle/>
          <a:p>
            <a:pPr algn="l">
              <a:lnSpc>
                <a:spcPct val="96000"/>
              </a:lnSpc>
            </a:pPr>
            <a:r>
              <a:rPr lang="en-US" sz="1600" dirty="0">
                <a:solidFill>
                  <a:srgbClr val="000000"/>
                </a:solidFill>
                <a:latin typeface="Aptos" panose="020B0004020202020204" pitchFamily="34" charset="0"/>
                <a:cs typeface="Microsoft Sans Serif" panose="020B0604020202020204" pitchFamily="34" charset="0"/>
              </a:rPr>
              <a:t>Malaysia</a:t>
            </a:r>
          </a:p>
        </p:txBody>
      </p:sp>
      <p:cxnSp>
        <p:nvCxnSpPr>
          <p:cNvPr id="26" name="Straight Connector 25">
            <a:extLst>
              <a:ext uri="{FF2B5EF4-FFF2-40B4-BE49-F238E27FC236}">
                <a16:creationId xmlns:a16="http://schemas.microsoft.com/office/drawing/2014/main" id="{D52766E9-60A9-42CB-94D4-D4B3E3B0EA86}"/>
              </a:ext>
            </a:extLst>
          </p:cNvPr>
          <p:cNvCxnSpPr>
            <a:cxnSpLocks/>
          </p:cNvCxnSpPr>
          <p:nvPr/>
        </p:nvCxnSpPr>
        <p:spPr>
          <a:xfrm>
            <a:off x="3745613" y="5645995"/>
            <a:ext cx="150126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BD49352-94F0-6F0D-9F73-400686C81227}"/>
              </a:ext>
            </a:extLst>
          </p:cNvPr>
          <p:cNvSpPr txBox="1"/>
          <p:nvPr/>
        </p:nvSpPr>
        <p:spPr>
          <a:xfrm>
            <a:off x="3719777" y="5346399"/>
            <a:ext cx="875240" cy="236347"/>
          </a:xfrm>
          <a:prstGeom prst="rect">
            <a:avLst/>
          </a:prstGeom>
        </p:spPr>
        <p:txBody>
          <a:bodyPr wrap="squar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Indonesia</a:t>
            </a:r>
          </a:p>
        </p:txBody>
      </p:sp>
      <p:sp>
        <p:nvSpPr>
          <p:cNvPr id="69" name="Freeform 142">
            <a:extLst>
              <a:ext uri="{FF2B5EF4-FFF2-40B4-BE49-F238E27FC236}">
                <a16:creationId xmlns:a16="http://schemas.microsoft.com/office/drawing/2014/main" id="{6BE0F89B-196C-757F-8C7F-E570FDA88F90}"/>
              </a:ext>
            </a:extLst>
          </p:cNvPr>
          <p:cNvSpPr>
            <a:spLocks noChangeArrowheads="1"/>
          </p:cNvSpPr>
          <p:nvPr/>
        </p:nvSpPr>
        <p:spPr bwMode="auto">
          <a:xfrm>
            <a:off x="4885775" y="2891143"/>
            <a:ext cx="1802801" cy="1244524"/>
          </a:xfrm>
          <a:custGeom>
            <a:avLst/>
            <a:gdLst>
              <a:gd name="T0" fmla="*/ 5451 w 5652"/>
              <a:gd name="T1" fmla="*/ 700 h 3901"/>
              <a:gd name="T2" fmla="*/ 5176 w 5652"/>
              <a:gd name="T3" fmla="*/ 550 h 3901"/>
              <a:gd name="T4" fmla="*/ 4901 w 5652"/>
              <a:gd name="T5" fmla="*/ 325 h 3901"/>
              <a:gd name="T6" fmla="*/ 4626 w 5652"/>
              <a:gd name="T7" fmla="*/ 25 h 3901"/>
              <a:gd name="T8" fmla="*/ 4275 w 5652"/>
              <a:gd name="T9" fmla="*/ 100 h 3901"/>
              <a:gd name="T10" fmla="*/ 4176 w 5652"/>
              <a:gd name="T11" fmla="*/ 399 h 3901"/>
              <a:gd name="T12" fmla="*/ 3926 w 5652"/>
              <a:gd name="T13" fmla="*/ 450 h 3901"/>
              <a:gd name="T14" fmla="*/ 3926 w 5652"/>
              <a:gd name="T15" fmla="*/ 700 h 3901"/>
              <a:gd name="T16" fmla="*/ 4126 w 5652"/>
              <a:gd name="T17" fmla="*/ 850 h 3901"/>
              <a:gd name="T18" fmla="*/ 3676 w 5652"/>
              <a:gd name="T19" fmla="*/ 1025 h 3901"/>
              <a:gd name="T20" fmla="*/ 3350 w 5652"/>
              <a:gd name="T21" fmla="*/ 1275 h 3901"/>
              <a:gd name="T22" fmla="*/ 2725 w 5652"/>
              <a:gd name="T23" fmla="*/ 1400 h 3901"/>
              <a:gd name="T24" fmla="*/ 2125 w 5652"/>
              <a:gd name="T25" fmla="*/ 1300 h 3901"/>
              <a:gd name="T26" fmla="*/ 1825 w 5652"/>
              <a:gd name="T27" fmla="*/ 1075 h 3901"/>
              <a:gd name="T28" fmla="*/ 1575 w 5652"/>
              <a:gd name="T29" fmla="*/ 800 h 3901"/>
              <a:gd name="T30" fmla="*/ 1275 w 5652"/>
              <a:gd name="T31" fmla="*/ 550 h 3901"/>
              <a:gd name="T32" fmla="*/ 1175 w 5652"/>
              <a:gd name="T33" fmla="*/ 575 h 3901"/>
              <a:gd name="T34" fmla="*/ 1000 w 5652"/>
              <a:gd name="T35" fmla="*/ 800 h 3901"/>
              <a:gd name="T36" fmla="*/ 800 w 5652"/>
              <a:gd name="T37" fmla="*/ 1025 h 3901"/>
              <a:gd name="T38" fmla="*/ 600 w 5652"/>
              <a:gd name="T39" fmla="*/ 1125 h 3901"/>
              <a:gd name="T40" fmla="*/ 500 w 5652"/>
              <a:gd name="T41" fmla="*/ 1400 h 3901"/>
              <a:gd name="T42" fmla="*/ 225 w 5652"/>
              <a:gd name="T43" fmla="*/ 1550 h 3901"/>
              <a:gd name="T44" fmla="*/ 0 w 5652"/>
              <a:gd name="T45" fmla="*/ 1625 h 3901"/>
              <a:gd name="T46" fmla="*/ 100 w 5652"/>
              <a:gd name="T47" fmla="*/ 1800 h 3901"/>
              <a:gd name="T48" fmla="*/ 250 w 5652"/>
              <a:gd name="T49" fmla="*/ 2075 h 3901"/>
              <a:gd name="T50" fmla="*/ 400 w 5652"/>
              <a:gd name="T51" fmla="*/ 2125 h 3901"/>
              <a:gd name="T52" fmla="*/ 475 w 5652"/>
              <a:gd name="T53" fmla="*/ 2250 h 3901"/>
              <a:gd name="T54" fmla="*/ 450 w 5652"/>
              <a:gd name="T55" fmla="*/ 2450 h 3901"/>
              <a:gd name="T56" fmla="*/ 650 w 5652"/>
              <a:gd name="T57" fmla="*/ 2675 h 3901"/>
              <a:gd name="T58" fmla="*/ 975 w 5652"/>
              <a:gd name="T59" fmla="*/ 2801 h 3901"/>
              <a:gd name="T60" fmla="*/ 1325 w 5652"/>
              <a:gd name="T61" fmla="*/ 2875 h 3901"/>
              <a:gd name="T62" fmla="*/ 1450 w 5652"/>
              <a:gd name="T63" fmla="*/ 2875 h 3901"/>
              <a:gd name="T64" fmla="*/ 1700 w 5652"/>
              <a:gd name="T65" fmla="*/ 2875 h 3901"/>
              <a:gd name="T66" fmla="*/ 2000 w 5652"/>
              <a:gd name="T67" fmla="*/ 2775 h 3901"/>
              <a:gd name="T68" fmla="*/ 2150 w 5652"/>
              <a:gd name="T69" fmla="*/ 2875 h 3901"/>
              <a:gd name="T70" fmla="*/ 2125 w 5652"/>
              <a:gd name="T71" fmla="*/ 3249 h 3901"/>
              <a:gd name="T72" fmla="*/ 2276 w 5652"/>
              <a:gd name="T73" fmla="*/ 3424 h 3901"/>
              <a:gd name="T74" fmla="*/ 2425 w 5652"/>
              <a:gd name="T75" fmla="*/ 3524 h 3901"/>
              <a:gd name="T76" fmla="*/ 2576 w 5652"/>
              <a:gd name="T77" fmla="*/ 3424 h 3901"/>
              <a:gd name="T78" fmla="*/ 2850 w 5652"/>
              <a:gd name="T79" fmla="*/ 3374 h 3901"/>
              <a:gd name="T80" fmla="*/ 3076 w 5652"/>
              <a:gd name="T81" fmla="*/ 3549 h 3901"/>
              <a:gd name="T82" fmla="*/ 3250 w 5652"/>
              <a:gd name="T83" fmla="*/ 3574 h 3901"/>
              <a:gd name="T84" fmla="*/ 3626 w 5652"/>
              <a:gd name="T85" fmla="*/ 3424 h 3901"/>
              <a:gd name="T86" fmla="*/ 3976 w 5652"/>
              <a:gd name="T87" fmla="*/ 3300 h 3901"/>
              <a:gd name="T88" fmla="*/ 4201 w 5652"/>
              <a:gd name="T89" fmla="*/ 3125 h 3901"/>
              <a:gd name="T90" fmla="*/ 4301 w 5652"/>
              <a:gd name="T91" fmla="*/ 2925 h 3901"/>
              <a:gd name="T92" fmla="*/ 4426 w 5652"/>
              <a:gd name="T93" fmla="*/ 2701 h 3901"/>
              <a:gd name="T94" fmla="*/ 4401 w 5652"/>
              <a:gd name="T95" fmla="*/ 2601 h 3901"/>
              <a:gd name="T96" fmla="*/ 4401 w 5652"/>
              <a:gd name="T97" fmla="*/ 2500 h 3901"/>
              <a:gd name="T98" fmla="*/ 4150 w 5652"/>
              <a:gd name="T99" fmla="*/ 2175 h 3901"/>
              <a:gd name="T100" fmla="*/ 4351 w 5652"/>
              <a:gd name="T101" fmla="*/ 1975 h 3901"/>
              <a:gd name="T102" fmla="*/ 4201 w 5652"/>
              <a:gd name="T103" fmla="*/ 1925 h 3901"/>
              <a:gd name="T104" fmla="*/ 4150 w 5652"/>
              <a:gd name="T105" fmla="*/ 1675 h 3901"/>
              <a:gd name="T106" fmla="*/ 4351 w 5652"/>
              <a:gd name="T107" fmla="*/ 1725 h 3901"/>
              <a:gd name="T108" fmla="*/ 4651 w 5652"/>
              <a:gd name="T109" fmla="*/ 1575 h 3901"/>
              <a:gd name="T110" fmla="*/ 5026 w 5652"/>
              <a:gd name="T111" fmla="*/ 1425 h 3901"/>
              <a:gd name="T112" fmla="*/ 5251 w 5652"/>
              <a:gd name="T113" fmla="*/ 1300 h 3901"/>
              <a:gd name="T114" fmla="*/ 5276 w 5652"/>
              <a:gd name="T115" fmla="*/ 1125 h 3901"/>
              <a:gd name="T116" fmla="*/ 5501 w 5652"/>
              <a:gd name="T117" fmla="*/ 950 h 3901"/>
              <a:gd name="T118" fmla="*/ 4250 w 5652"/>
              <a:gd name="T119" fmla="*/ 3324 h 3901"/>
              <a:gd name="T120" fmla="*/ 4250 w 5652"/>
              <a:gd name="T121" fmla="*/ 3324 h 3901"/>
              <a:gd name="T122" fmla="*/ 3325 w 5652"/>
              <a:gd name="T123" fmla="*/ 3825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52" h="3901">
                <a:moveTo>
                  <a:pt x="5601" y="675"/>
                </a:moveTo>
                <a:lnTo>
                  <a:pt x="5601" y="675"/>
                </a:lnTo>
                <a:cubicBezTo>
                  <a:pt x="5601" y="625"/>
                  <a:pt x="5551" y="650"/>
                  <a:pt x="5526" y="675"/>
                </a:cubicBezTo>
                <a:cubicBezTo>
                  <a:pt x="5526" y="675"/>
                  <a:pt x="5451" y="675"/>
                  <a:pt x="5451" y="700"/>
                </a:cubicBezTo>
                <a:cubicBezTo>
                  <a:pt x="5426" y="725"/>
                  <a:pt x="5401" y="725"/>
                  <a:pt x="5351" y="725"/>
                </a:cubicBezTo>
                <a:cubicBezTo>
                  <a:pt x="5326" y="725"/>
                  <a:pt x="5276" y="700"/>
                  <a:pt x="5276" y="675"/>
                </a:cubicBezTo>
                <a:cubicBezTo>
                  <a:pt x="5276" y="650"/>
                  <a:pt x="5251" y="625"/>
                  <a:pt x="5251" y="600"/>
                </a:cubicBezTo>
                <a:cubicBezTo>
                  <a:pt x="5251" y="575"/>
                  <a:pt x="5201" y="575"/>
                  <a:pt x="5176" y="550"/>
                </a:cubicBezTo>
                <a:cubicBezTo>
                  <a:pt x="5151" y="525"/>
                  <a:pt x="5101" y="499"/>
                  <a:pt x="5076" y="525"/>
                </a:cubicBezTo>
                <a:cubicBezTo>
                  <a:pt x="5076" y="525"/>
                  <a:pt x="5051" y="475"/>
                  <a:pt x="5001" y="475"/>
                </a:cubicBezTo>
                <a:cubicBezTo>
                  <a:pt x="4951" y="475"/>
                  <a:pt x="4951" y="450"/>
                  <a:pt x="4951" y="425"/>
                </a:cubicBezTo>
                <a:cubicBezTo>
                  <a:pt x="4976" y="399"/>
                  <a:pt x="4926" y="350"/>
                  <a:pt x="4901" y="325"/>
                </a:cubicBezTo>
                <a:cubicBezTo>
                  <a:pt x="4901" y="275"/>
                  <a:pt x="4876" y="275"/>
                  <a:pt x="4851" y="200"/>
                </a:cubicBezTo>
                <a:cubicBezTo>
                  <a:pt x="4851" y="125"/>
                  <a:pt x="4801" y="150"/>
                  <a:pt x="4801" y="125"/>
                </a:cubicBezTo>
                <a:cubicBezTo>
                  <a:pt x="4826" y="74"/>
                  <a:pt x="4776" y="74"/>
                  <a:pt x="4751" y="50"/>
                </a:cubicBezTo>
                <a:cubicBezTo>
                  <a:pt x="4726" y="25"/>
                  <a:pt x="4676" y="50"/>
                  <a:pt x="4626" y="25"/>
                </a:cubicBezTo>
                <a:cubicBezTo>
                  <a:pt x="4601" y="0"/>
                  <a:pt x="4576" y="0"/>
                  <a:pt x="4526" y="0"/>
                </a:cubicBezTo>
                <a:cubicBezTo>
                  <a:pt x="4501" y="0"/>
                  <a:pt x="4401" y="0"/>
                  <a:pt x="4401" y="0"/>
                </a:cubicBezTo>
                <a:cubicBezTo>
                  <a:pt x="4376" y="0"/>
                  <a:pt x="4301" y="0"/>
                  <a:pt x="4275" y="50"/>
                </a:cubicBezTo>
                <a:cubicBezTo>
                  <a:pt x="4226" y="100"/>
                  <a:pt x="4275" y="100"/>
                  <a:pt x="4275" y="100"/>
                </a:cubicBezTo>
                <a:cubicBezTo>
                  <a:pt x="4301" y="100"/>
                  <a:pt x="4301" y="150"/>
                  <a:pt x="4301" y="174"/>
                </a:cubicBezTo>
                <a:cubicBezTo>
                  <a:pt x="4301" y="174"/>
                  <a:pt x="4275" y="200"/>
                  <a:pt x="4275" y="225"/>
                </a:cubicBezTo>
                <a:cubicBezTo>
                  <a:pt x="4250" y="225"/>
                  <a:pt x="4226" y="275"/>
                  <a:pt x="4201" y="300"/>
                </a:cubicBezTo>
                <a:cubicBezTo>
                  <a:pt x="4201" y="325"/>
                  <a:pt x="4150" y="375"/>
                  <a:pt x="4176" y="399"/>
                </a:cubicBezTo>
                <a:cubicBezTo>
                  <a:pt x="4176" y="425"/>
                  <a:pt x="4150" y="450"/>
                  <a:pt x="4126" y="450"/>
                </a:cubicBezTo>
                <a:cubicBezTo>
                  <a:pt x="4101" y="450"/>
                  <a:pt x="4050" y="475"/>
                  <a:pt x="4026" y="499"/>
                </a:cubicBezTo>
                <a:lnTo>
                  <a:pt x="3950" y="475"/>
                </a:lnTo>
                <a:cubicBezTo>
                  <a:pt x="3950" y="450"/>
                  <a:pt x="3926" y="450"/>
                  <a:pt x="3926" y="450"/>
                </a:cubicBezTo>
                <a:cubicBezTo>
                  <a:pt x="3850" y="600"/>
                  <a:pt x="3850" y="600"/>
                  <a:pt x="3850" y="600"/>
                </a:cubicBezTo>
                <a:cubicBezTo>
                  <a:pt x="3850" y="650"/>
                  <a:pt x="3850" y="650"/>
                  <a:pt x="3850" y="650"/>
                </a:cubicBezTo>
                <a:cubicBezTo>
                  <a:pt x="3850" y="650"/>
                  <a:pt x="3801" y="650"/>
                  <a:pt x="3826" y="700"/>
                </a:cubicBezTo>
                <a:cubicBezTo>
                  <a:pt x="3876" y="725"/>
                  <a:pt x="3876" y="700"/>
                  <a:pt x="3926" y="700"/>
                </a:cubicBezTo>
                <a:cubicBezTo>
                  <a:pt x="3976" y="700"/>
                  <a:pt x="4001" y="750"/>
                  <a:pt x="4026" y="700"/>
                </a:cubicBezTo>
                <a:cubicBezTo>
                  <a:pt x="4026" y="675"/>
                  <a:pt x="4076" y="675"/>
                  <a:pt x="4101" y="700"/>
                </a:cubicBezTo>
                <a:cubicBezTo>
                  <a:pt x="4126" y="725"/>
                  <a:pt x="4226" y="800"/>
                  <a:pt x="4226" y="825"/>
                </a:cubicBezTo>
                <a:cubicBezTo>
                  <a:pt x="4226" y="850"/>
                  <a:pt x="4176" y="850"/>
                  <a:pt x="4126" y="850"/>
                </a:cubicBezTo>
                <a:cubicBezTo>
                  <a:pt x="4101" y="825"/>
                  <a:pt x="4050" y="875"/>
                  <a:pt x="4001" y="875"/>
                </a:cubicBezTo>
                <a:cubicBezTo>
                  <a:pt x="3976" y="875"/>
                  <a:pt x="3926" y="875"/>
                  <a:pt x="3901" y="900"/>
                </a:cubicBezTo>
                <a:cubicBezTo>
                  <a:pt x="3850" y="950"/>
                  <a:pt x="3876" y="975"/>
                  <a:pt x="3801" y="1000"/>
                </a:cubicBezTo>
                <a:cubicBezTo>
                  <a:pt x="3750" y="1000"/>
                  <a:pt x="3726" y="1000"/>
                  <a:pt x="3676" y="1025"/>
                </a:cubicBezTo>
                <a:cubicBezTo>
                  <a:pt x="3601" y="1075"/>
                  <a:pt x="3550" y="1050"/>
                  <a:pt x="3526" y="1050"/>
                </a:cubicBezTo>
                <a:cubicBezTo>
                  <a:pt x="3501" y="1025"/>
                  <a:pt x="3450" y="1025"/>
                  <a:pt x="3425" y="1075"/>
                </a:cubicBezTo>
                <a:cubicBezTo>
                  <a:pt x="3401" y="1100"/>
                  <a:pt x="3450" y="1125"/>
                  <a:pt x="3450" y="1175"/>
                </a:cubicBezTo>
                <a:cubicBezTo>
                  <a:pt x="3450" y="1225"/>
                  <a:pt x="3376" y="1225"/>
                  <a:pt x="3350" y="1275"/>
                </a:cubicBezTo>
                <a:cubicBezTo>
                  <a:pt x="3301" y="1325"/>
                  <a:pt x="3201" y="1350"/>
                  <a:pt x="3176" y="1350"/>
                </a:cubicBezTo>
                <a:cubicBezTo>
                  <a:pt x="3125" y="1325"/>
                  <a:pt x="3025" y="1300"/>
                  <a:pt x="2950" y="1350"/>
                </a:cubicBezTo>
                <a:cubicBezTo>
                  <a:pt x="2876" y="1375"/>
                  <a:pt x="2825" y="1450"/>
                  <a:pt x="2801" y="1425"/>
                </a:cubicBezTo>
                <a:cubicBezTo>
                  <a:pt x="2776" y="1425"/>
                  <a:pt x="2776" y="1400"/>
                  <a:pt x="2725" y="1400"/>
                </a:cubicBezTo>
                <a:cubicBezTo>
                  <a:pt x="2676" y="1400"/>
                  <a:pt x="2650" y="1400"/>
                  <a:pt x="2625" y="1375"/>
                </a:cubicBezTo>
                <a:cubicBezTo>
                  <a:pt x="2601" y="1350"/>
                  <a:pt x="2576" y="1375"/>
                  <a:pt x="2525" y="1350"/>
                </a:cubicBezTo>
                <a:cubicBezTo>
                  <a:pt x="2476" y="1300"/>
                  <a:pt x="2400" y="1325"/>
                  <a:pt x="2350" y="1300"/>
                </a:cubicBezTo>
                <a:cubicBezTo>
                  <a:pt x="2325" y="1300"/>
                  <a:pt x="2176" y="1300"/>
                  <a:pt x="2125" y="1300"/>
                </a:cubicBezTo>
                <a:cubicBezTo>
                  <a:pt x="2076" y="1300"/>
                  <a:pt x="2000" y="1325"/>
                  <a:pt x="2000" y="1300"/>
                </a:cubicBezTo>
                <a:cubicBezTo>
                  <a:pt x="2000" y="1275"/>
                  <a:pt x="1976" y="1250"/>
                  <a:pt x="1950" y="1200"/>
                </a:cubicBezTo>
                <a:cubicBezTo>
                  <a:pt x="1950" y="1150"/>
                  <a:pt x="1900" y="1125"/>
                  <a:pt x="1876" y="1125"/>
                </a:cubicBezTo>
                <a:cubicBezTo>
                  <a:pt x="1850" y="1100"/>
                  <a:pt x="1850" y="1075"/>
                  <a:pt x="1825" y="1075"/>
                </a:cubicBezTo>
                <a:cubicBezTo>
                  <a:pt x="1800" y="1075"/>
                  <a:pt x="1800" y="1025"/>
                  <a:pt x="1750" y="1025"/>
                </a:cubicBezTo>
                <a:cubicBezTo>
                  <a:pt x="1700" y="1025"/>
                  <a:pt x="1550" y="1025"/>
                  <a:pt x="1525" y="975"/>
                </a:cubicBezTo>
                <a:cubicBezTo>
                  <a:pt x="1525" y="950"/>
                  <a:pt x="1550" y="950"/>
                  <a:pt x="1550" y="900"/>
                </a:cubicBezTo>
                <a:cubicBezTo>
                  <a:pt x="1550" y="875"/>
                  <a:pt x="1575" y="825"/>
                  <a:pt x="1575" y="800"/>
                </a:cubicBezTo>
                <a:cubicBezTo>
                  <a:pt x="1550" y="800"/>
                  <a:pt x="1525" y="775"/>
                  <a:pt x="1525" y="750"/>
                </a:cubicBezTo>
                <a:cubicBezTo>
                  <a:pt x="1500" y="700"/>
                  <a:pt x="1475" y="675"/>
                  <a:pt x="1425" y="675"/>
                </a:cubicBezTo>
                <a:cubicBezTo>
                  <a:pt x="1400" y="675"/>
                  <a:pt x="1375" y="650"/>
                  <a:pt x="1350" y="625"/>
                </a:cubicBezTo>
                <a:cubicBezTo>
                  <a:pt x="1325" y="600"/>
                  <a:pt x="1300" y="600"/>
                  <a:pt x="1275" y="550"/>
                </a:cubicBezTo>
                <a:cubicBezTo>
                  <a:pt x="1275" y="525"/>
                  <a:pt x="1275" y="525"/>
                  <a:pt x="1275" y="525"/>
                </a:cubicBezTo>
                <a:lnTo>
                  <a:pt x="1250" y="525"/>
                </a:lnTo>
                <a:cubicBezTo>
                  <a:pt x="1225" y="525"/>
                  <a:pt x="1225" y="525"/>
                  <a:pt x="1225" y="499"/>
                </a:cubicBezTo>
                <a:cubicBezTo>
                  <a:pt x="1200" y="525"/>
                  <a:pt x="1175" y="550"/>
                  <a:pt x="1175" y="575"/>
                </a:cubicBezTo>
                <a:cubicBezTo>
                  <a:pt x="1175" y="600"/>
                  <a:pt x="1175" y="625"/>
                  <a:pt x="1150" y="625"/>
                </a:cubicBezTo>
                <a:cubicBezTo>
                  <a:pt x="1125" y="625"/>
                  <a:pt x="1075" y="650"/>
                  <a:pt x="1075" y="700"/>
                </a:cubicBezTo>
                <a:cubicBezTo>
                  <a:pt x="1075" y="750"/>
                  <a:pt x="1100" y="750"/>
                  <a:pt x="1100" y="775"/>
                </a:cubicBezTo>
                <a:cubicBezTo>
                  <a:pt x="1075" y="800"/>
                  <a:pt x="1025" y="800"/>
                  <a:pt x="1000" y="800"/>
                </a:cubicBezTo>
                <a:cubicBezTo>
                  <a:pt x="1000" y="800"/>
                  <a:pt x="950" y="800"/>
                  <a:pt x="925" y="800"/>
                </a:cubicBezTo>
                <a:cubicBezTo>
                  <a:pt x="900" y="800"/>
                  <a:pt x="875" y="750"/>
                  <a:pt x="850" y="800"/>
                </a:cubicBezTo>
                <a:cubicBezTo>
                  <a:pt x="850" y="825"/>
                  <a:pt x="775" y="950"/>
                  <a:pt x="800" y="975"/>
                </a:cubicBezTo>
                <a:cubicBezTo>
                  <a:pt x="825" y="975"/>
                  <a:pt x="825" y="1025"/>
                  <a:pt x="800" y="1025"/>
                </a:cubicBezTo>
                <a:cubicBezTo>
                  <a:pt x="775" y="1025"/>
                  <a:pt x="750" y="1025"/>
                  <a:pt x="725" y="1000"/>
                </a:cubicBezTo>
                <a:cubicBezTo>
                  <a:pt x="725" y="975"/>
                  <a:pt x="675" y="1025"/>
                  <a:pt x="650" y="1025"/>
                </a:cubicBezTo>
                <a:cubicBezTo>
                  <a:pt x="625" y="1025"/>
                  <a:pt x="575" y="1050"/>
                  <a:pt x="600" y="1050"/>
                </a:cubicBezTo>
                <a:cubicBezTo>
                  <a:pt x="600" y="1075"/>
                  <a:pt x="600" y="1125"/>
                  <a:pt x="600" y="1125"/>
                </a:cubicBezTo>
                <a:cubicBezTo>
                  <a:pt x="600" y="1150"/>
                  <a:pt x="650" y="1225"/>
                  <a:pt x="650" y="1250"/>
                </a:cubicBezTo>
                <a:cubicBezTo>
                  <a:pt x="650" y="1250"/>
                  <a:pt x="600" y="1275"/>
                  <a:pt x="600" y="1300"/>
                </a:cubicBezTo>
                <a:cubicBezTo>
                  <a:pt x="600" y="1350"/>
                  <a:pt x="600" y="1375"/>
                  <a:pt x="600" y="1375"/>
                </a:cubicBezTo>
                <a:cubicBezTo>
                  <a:pt x="575" y="1375"/>
                  <a:pt x="525" y="1400"/>
                  <a:pt x="500" y="1400"/>
                </a:cubicBezTo>
                <a:cubicBezTo>
                  <a:pt x="475" y="1425"/>
                  <a:pt x="450" y="1425"/>
                  <a:pt x="425" y="1450"/>
                </a:cubicBezTo>
                <a:cubicBezTo>
                  <a:pt x="425" y="1475"/>
                  <a:pt x="400" y="1500"/>
                  <a:pt x="350" y="1500"/>
                </a:cubicBezTo>
                <a:cubicBezTo>
                  <a:pt x="325" y="1500"/>
                  <a:pt x="300" y="1475"/>
                  <a:pt x="275" y="1525"/>
                </a:cubicBezTo>
                <a:cubicBezTo>
                  <a:pt x="250" y="1550"/>
                  <a:pt x="250" y="1550"/>
                  <a:pt x="225" y="1550"/>
                </a:cubicBezTo>
                <a:cubicBezTo>
                  <a:pt x="200" y="1575"/>
                  <a:pt x="174" y="1550"/>
                  <a:pt x="150" y="1550"/>
                </a:cubicBezTo>
                <a:cubicBezTo>
                  <a:pt x="150" y="1525"/>
                  <a:pt x="125" y="1550"/>
                  <a:pt x="100" y="1550"/>
                </a:cubicBezTo>
                <a:cubicBezTo>
                  <a:pt x="100" y="1550"/>
                  <a:pt x="75" y="1575"/>
                  <a:pt x="50" y="1600"/>
                </a:cubicBezTo>
                <a:cubicBezTo>
                  <a:pt x="25" y="1600"/>
                  <a:pt x="0" y="1600"/>
                  <a:pt x="0" y="1625"/>
                </a:cubicBezTo>
                <a:lnTo>
                  <a:pt x="0" y="1650"/>
                </a:lnTo>
                <a:lnTo>
                  <a:pt x="0" y="1650"/>
                </a:lnTo>
                <a:cubicBezTo>
                  <a:pt x="0" y="1750"/>
                  <a:pt x="0" y="1750"/>
                  <a:pt x="0" y="1750"/>
                </a:cubicBezTo>
                <a:cubicBezTo>
                  <a:pt x="0" y="1750"/>
                  <a:pt x="100" y="1775"/>
                  <a:pt x="100" y="1800"/>
                </a:cubicBezTo>
                <a:cubicBezTo>
                  <a:pt x="100" y="1825"/>
                  <a:pt x="125" y="1925"/>
                  <a:pt x="125" y="1925"/>
                </a:cubicBezTo>
                <a:lnTo>
                  <a:pt x="125" y="1925"/>
                </a:lnTo>
                <a:cubicBezTo>
                  <a:pt x="150" y="1950"/>
                  <a:pt x="200" y="1975"/>
                  <a:pt x="200" y="2000"/>
                </a:cubicBezTo>
                <a:cubicBezTo>
                  <a:pt x="200" y="2000"/>
                  <a:pt x="200" y="2050"/>
                  <a:pt x="250" y="2075"/>
                </a:cubicBezTo>
                <a:cubicBezTo>
                  <a:pt x="275" y="2075"/>
                  <a:pt x="300" y="2100"/>
                  <a:pt x="325" y="2100"/>
                </a:cubicBezTo>
                <a:lnTo>
                  <a:pt x="325" y="2100"/>
                </a:lnTo>
                <a:cubicBezTo>
                  <a:pt x="375" y="2100"/>
                  <a:pt x="375" y="2100"/>
                  <a:pt x="375" y="2100"/>
                </a:cubicBezTo>
                <a:cubicBezTo>
                  <a:pt x="375" y="2100"/>
                  <a:pt x="375" y="2100"/>
                  <a:pt x="400" y="2125"/>
                </a:cubicBezTo>
                <a:cubicBezTo>
                  <a:pt x="400" y="2075"/>
                  <a:pt x="450" y="2050"/>
                  <a:pt x="500" y="2050"/>
                </a:cubicBezTo>
                <a:cubicBezTo>
                  <a:pt x="525" y="2050"/>
                  <a:pt x="600" y="2125"/>
                  <a:pt x="600" y="2150"/>
                </a:cubicBezTo>
                <a:cubicBezTo>
                  <a:pt x="600" y="2175"/>
                  <a:pt x="525" y="2250"/>
                  <a:pt x="500" y="2250"/>
                </a:cubicBezTo>
                <a:lnTo>
                  <a:pt x="475" y="2250"/>
                </a:lnTo>
                <a:cubicBezTo>
                  <a:pt x="475" y="2275"/>
                  <a:pt x="475" y="2275"/>
                  <a:pt x="475" y="2300"/>
                </a:cubicBezTo>
                <a:cubicBezTo>
                  <a:pt x="475" y="2300"/>
                  <a:pt x="500" y="2350"/>
                  <a:pt x="525" y="2375"/>
                </a:cubicBezTo>
                <a:cubicBezTo>
                  <a:pt x="525" y="2400"/>
                  <a:pt x="475" y="2425"/>
                  <a:pt x="450" y="2400"/>
                </a:cubicBezTo>
                <a:cubicBezTo>
                  <a:pt x="425" y="2375"/>
                  <a:pt x="425" y="2425"/>
                  <a:pt x="450" y="2450"/>
                </a:cubicBezTo>
                <a:cubicBezTo>
                  <a:pt x="450" y="2475"/>
                  <a:pt x="450" y="2525"/>
                  <a:pt x="475" y="2525"/>
                </a:cubicBezTo>
                <a:cubicBezTo>
                  <a:pt x="500" y="2525"/>
                  <a:pt x="525" y="2575"/>
                  <a:pt x="550" y="2575"/>
                </a:cubicBezTo>
                <a:cubicBezTo>
                  <a:pt x="575" y="2575"/>
                  <a:pt x="600" y="2625"/>
                  <a:pt x="600" y="2625"/>
                </a:cubicBezTo>
                <a:cubicBezTo>
                  <a:pt x="600" y="2625"/>
                  <a:pt x="650" y="2650"/>
                  <a:pt x="650" y="2675"/>
                </a:cubicBezTo>
                <a:lnTo>
                  <a:pt x="650" y="2675"/>
                </a:lnTo>
                <a:cubicBezTo>
                  <a:pt x="675" y="2675"/>
                  <a:pt x="700" y="2675"/>
                  <a:pt x="700" y="2650"/>
                </a:cubicBezTo>
                <a:cubicBezTo>
                  <a:pt x="700" y="2650"/>
                  <a:pt x="750" y="2650"/>
                  <a:pt x="775" y="2675"/>
                </a:cubicBezTo>
                <a:cubicBezTo>
                  <a:pt x="800" y="2701"/>
                  <a:pt x="925" y="2775"/>
                  <a:pt x="975" y="2801"/>
                </a:cubicBezTo>
                <a:cubicBezTo>
                  <a:pt x="1000" y="2850"/>
                  <a:pt x="1125" y="2875"/>
                  <a:pt x="1150" y="2875"/>
                </a:cubicBezTo>
                <a:cubicBezTo>
                  <a:pt x="1175" y="2875"/>
                  <a:pt x="1225" y="2901"/>
                  <a:pt x="1275" y="2901"/>
                </a:cubicBezTo>
                <a:cubicBezTo>
                  <a:pt x="1275" y="2901"/>
                  <a:pt x="1275" y="2901"/>
                  <a:pt x="1300" y="2901"/>
                </a:cubicBezTo>
                <a:cubicBezTo>
                  <a:pt x="1300" y="2901"/>
                  <a:pt x="1325" y="2901"/>
                  <a:pt x="1325" y="2875"/>
                </a:cubicBezTo>
                <a:cubicBezTo>
                  <a:pt x="1350" y="2850"/>
                  <a:pt x="1350" y="2901"/>
                  <a:pt x="1350" y="2925"/>
                </a:cubicBezTo>
                <a:cubicBezTo>
                  <a:pt x="1350" y="2950"/>
                  <a:pt x="1350" y="2950"/>
                  <a:pt x="1350" y="2975"/>
                </a:cubicBezTo>
                <a:cubicBezTo>
                  <a:pt x="1375" y="2950"/>
                  <a:pt x="1375" y="2950"/>
                  <a:pt x="1375" y="2925"/>
                </a:cubicBezTo>
                <a:cubicBezTo>
                  <a:pt x="1400" y="2875"/>
                  <a:pt x="1425" y="2901"/>
                  <a:pt x="1450" y="2875"/>
                </a:cubicBezTo>
                <a:cubicBezTo>
                  <a:pt x="1475" y="2850"/>
                  <a:pt x="1475" y="2875"/>
                  <a:pt x="1525" y="2875"/>
                </a:cubicBezTo>
                <a:cubicBezTo>
                  <a:pt x="1550" y="2901"/>
                  <a:pt x="1575" y="2875"/>
                  <a:pt x="1625" y="2925"/>
                </a:cubicBezTo>
                <a:cubicBezTo>
                  <a:pt x="1650" y="2901"/>
                  <a:pt x="1650" y="2901"/>
                  <a:pt x="1675" y="2901"/>
                </a:cubicBezTo>
                <a:lnTo>
                  <a:pt x="1700" y="2875"/>
                </a:lnTo>
                <a:cubicBezTo>
                  <a:pt x="1725" y="2850"/>
                  <a:pt x="1725" y="2825"/>
                  <a:pt x="1750" y="2825"/>
                </a:cubicBezTo>
                <a:cubicBezTo>
                  <a:pt x="1776" y="2825"/>
                  <a:pt x="1776" y="2801"/>
                  <a:pt x="1825" y="2775"/>
                </a:cubicBezTo>
                <a:cubicBezTo>
                  <a:pt x="1876" y="2750"/>
                  <a:pt x="1925" y="2801"/>
                  <a:pt x="1950" y="2775"/>
                </a:cubicBezTo>
                <a:cubicBezTo>
                  <a:pt x="1950" y="2750"/>
                  <a:pt x="2000" y="2750"/>
                  <a:pt x="2000" y="2775"/>
                </a:cubicBezTo>
                <a:cubicBezTo>
                  <a:pt x="2000" y="2775"/>
                  <a:pt x="2025" y="2801"/>
                  <a:pt x="2025" y="2825"/>
                </a:cubicBezTo>
                <a:cubicBezTo>
                  <a:pt x="2025" y="2850"/>
                  <a:pt x="2076" y="2850"/>
                  <a:pt x="2076" y="2850"/>
                </a:cubicBezTo>
                <a:lnTo>
                  <a:pt x="2100" y="2850"/>
                </a:lnTo>
                <a:cubicBezTo>
                  <a:pt x="2125" y="2825"/>
                  <a:pt x="2150" y="2850"/>
                  <a:pt x="2150" y="2875"/>
                </a:cubicBezTo>
                <a:cubicBezTo>
                  <a:pt x="2150" y="2901"/>
                  <a:pt x="2150" y="2925"/>
                  <a:pt x="2176" y="2925"/>
                </a:cubicBezTo>
                <a:cubicBezTo>
                  <a:pt x="2200" y="2925"/>
                  <a:pt x="2225" y="2925"/>
                  <a:pt x="2225" y="2975"/>
                </a:cubicBezTo>
                <a:cubicBezTo>
                  <a:pt x="2225" y="3025"/>
                  <a:pt x="2225" y="3075"/>
                  <a:pt x="2200" y="3101"/>
                </a:cubicBezTo>
                <a:cubicBezTo>
                  <a:pt x="2150" y="3150"/>
                  <a:pt x="2100" y="3224"/>
                  <a:pt x="2125" y="3249"/>
                </a:cubicBezTo>
                <a:cubicBezTo>
                  <a:pt x="2125" y="3249"/>
                  <a:pt x="2100" y="3300"/>
                  <a:pt x="2125" y="3274"/>
                </a:cubicBezTo>
                <a:cubicBezTo>
                  <a:pt x="2150" y="3274"/>
                  <a:pt x="2225" y="3274"/>
                  <a:pt x="2225" y="3300"/>
                </a:cubicBezTo>
                <a:cubicBezTo>
                  <a:pt x="2200" y="3324"/>
                  <a:pt x="2225" y="3374"/>
                  <a:pt x="2250" y="3374"/>
                </a:cubicBezTo>
                <a:cubicBezTo>
                  <a:pt x="2276" y="3374"/>
                  <a:pt x="2300" y="3400"/>
                  <a:pt x="2276" y="3424"/>
                </a:cubicBezTo>
                <a:cubicBezTo>
                  <a:pt x="2276" y="3449"/>
                  <a:pt x="2250" y="3474"/>
                  <a:pt x="2276" y="3474"/>
                </a:cubicBezTo>
                <a:cubicBezTo>
                  <a:pt x="2300" y="3474"/>
                  <a:pt x="2350" y="3474"/>
                  <a:pt x="2325" y="3500"/>
                </a:cubicBezTo>
                <a:cubicBezTo>
                  <a:pt x="2325" y="3524"/>
                  <a:pt x="2350" y="3549"/>
                  <a:pt x="2400" y="3549"/>
                </a:cubicBezTo>
                <a:cubicBezTo>
                  <a:pt x="2425" y="3524"/>
                  <a:pt x="2425" y="3524"/>
                  <a:pt x="2425" y="3524"/>
                </a:cubicBezTo>
                <a:cubicBezTo>
                  <a:pt x="2450" y="3524"/>
                  <a:pt x="2450" y="3574"/>
                  <a:pt x="2476" y="3574"/>
                </a:cubicBezTo>
                <a:cubicBezTo>
                  <a:pt x="2500" y="3574"/>
                  <a:pt x="2500" y="3500"/>
                  <a:pt x="2476" y="3500"/>
                </a:cubicBezTo>
                <a:lnTo>
                  <a:pt x="2500" y="3449"/>
                </a:lnTo>
                <a:cubicBezTo>
                  <a:pt x="2500" y="3474"/>
                  <a:pt x="2550" y="3449"/>
                  <a:pt x="2576" y="3424"/>
                </a:cubicBezTo>
                <a:cubicBezTo>
                  <a:pt x="2576" y="3400"/>
                  <a:pt x="2625" y="3449"/>
                  <a:pt x="2625" y="3424"/>
                </a:cubicBezTo>
                <a:cubicBezTo>
                  <a:pt x="2650" y="3400"/>
                  <a:pt x="2676" y="3449"/>
                  <a:pt x="2725" y="3424"/>
                </a:cubicBezTo>
                <a:cubicBezTo>
                  <a:pt x="2750" y="3400"/>
                  <a:pt x="2776" y="3449"/>
                  <a:pt x="2776" y="3400"/>
                </a:cubicBezTo>
                <a:cubicBezTo>
                  <a:pt x="2801" y="3374"/>
                  <a:pt x="2850" y="3349"/>
                  <a:pt x="2850" y="3374"/>
                </a:cubicBezTo>
                <a:cubicBezTo>
                  <a:pt x="2876" y="3374"/>
                  <a:pt x="2876" y="3400"/>
                  <a:pt x="2925" y="3400"/>
                </a:cubicBezTo>
                <a:cubicBezTo>
                  <a:pt x="3001" y="3400"/>
                  <a:pt x="2950" y="3449"/>
                  <a:pt x="2950" y="3449"/>
                </a:cubicBezTo>
                <a:cubicBezTo>
                  <a:pt x="2950" y="3474"/>
                  <a:pt x="3025" y="3524"/>
                  <a:pt x="3050" y="3524"/>
                </a:cubicBezTo>
                <a:cubicBezTo>
                  <a:pt x="3050" y="3524"/>
                  <a:pt x="3050" y="3524"/>
                  <a:pt x="3076" y="3549"/>
                </a:cubicBezTo>
                <a:cubicBezTo>
                  <a:pt x="3076" y="3524"/>
                  <a:pt x="3125" y="3549"/>
                  <a:pt x="3125" y="3524"/>
                </a:cubicBezTo>
                <a:cubicBezTo>
                  <a:pt x="3125" y="3500"/>
                  <a:pt x="3176" y="3524"/>
                  <a:pt x="3176" y="3524"/>
                </a:cubicBezTo>
                <a:cubicBezTo>
                  <a:pt x="3201" y="3549"/>
                  <a:pt x="3201" y="3549"/>
                  <a:pt x="3225" y="3524"/>
                </a:cubicBezTo>
                <a:cubicBezTo>
                  <a:pt x="3250" y="3500"/>
                  <a:pt x="3276" y="3549"/>
                  <a:pt x="3250" y="3574"/>
                </a:cubicBezTo>
                <a:cubicBezTo>
                  <a:pt x="3250" y="3574"/>
                  <a:pt x="3250" y="3624"/>
                  <a:pt x="3276" y="3649"/>
                </a:cubicBezTo>
                <a:cubicBezTo>
                  <a:pt x="3301" y="3674"/>
                  <a:pt x="3301" y="3649"/>
                  <a:pt x="3301" y="3624"/>
                </a:cubicBezTo>
                <a:cubicBezTo>
                  <a:pt x="3301" y="3600"/>
                  <a:pt x="3350" y="3574"/>
                  <a:pt x="3425" y="3524"/>
                </a:cubicBezTo>
                <a:cubicBezTo>
                  <a:pt x="3526" y="3500"/>
                  <a:pt x="3626" y="3449"/>
                  <a:pt x="3626" y="3424"/>
                </a:cubicBezTo>
                <a:cubicBezTo>
                  <a:pt x="3626" y="3424"/>
                  <a:pt x="3676" y="3449"/>
                  <a:pt x="3701" y="3424"/>
                </a:cubicBezTo>
                <a:cubicBezTo>
                  <a:pt x="3750" y="3400"/>
                  <a:pt x="3850" y="3400"/>
                  <a:pt x="3876" y="3400"/>
                </a:cubicBezTo>
                <a:cubicBezTo>
                  <a:pt x="3901" y="3400"/>
                  <a:pt x="3901" y="3374"/>
                  <a:pt x="3926" y="3349"/>
                </a:cubicBezTo>
                <a:cubicBezTo>
                  <a:pt x="3950" y="3324"/>
                  <a:pt x="3950" y="3324"/>
                  <a:pt x="3976" y="3300"/>
                </a:cubicBezTo>
                <a:cubicBezTo>
                  <a:pt x="4026" y="3300"/>
                  <a:pt x="4026" y="3274"/>
                  <a:pt x="4026" y="3249"/>
                </a:cubicBezTo>
                <a:lnTo>
                  <a:pt x="4101" y="3224"/>
                </a:lnTo>
                <a:cubicBezTo>
                  <a:pt x="4101" y="3199"/>
                  <a:pt x="4150" y="3199"/>
                  <a:pt x="4150" y="3174"/>
                </a:cubicBezTo>
                <a:cubicBezTo>
                  <a:pt x="4150" y="3150"/>
                  <a:pt x="4176" y="3150"/>
                  <a:pt x="4201" y="3125"/>
                </a:cubicBezTo>
                <a:cubicBezTo>
                  <a:pt x="4201" y="3125"/>
                  <a:pt x="4176" y="3075"/>
                  <a:pt x="4201" y="3050"/>
                </a:cubicBezTo>
                <a:cubicBezTo>
                  <a:pt x="4226" y="3050"/>
                  <a:pt x="4201" y="3025"/>
                  <a:pt x="4201" y="3025"/>
                </a:cubicBezTo>
                <a:cubicBezTo>
                  <a:pt x="4176" y="3001"/>
                  <a:pt x="4226" y="3001"/>
                  <a:pt x="4250" y="2975"/>
                </a:cubicBezTo>
                <a:cubicBezTo>
                  <a:pt x="4275" y="2975"/>
                  <a:pt x="4301" y="2950"/>
                  <a:pt x="4301" y="2925"/>
                </a:cubicBezTo>
                <a:cubicBezTo>
                  <a:pt x="4301" y="2901"/>
                  <a:pt x="4351" y="2875"/>
                  <a:pt x="4351" y="2875"/>
                </a:cubicBezTo>
                <a:cubicBezTo>
                  <a:pt x="4376" y="2850"/>
                  <a:pt x="4376" y="2825"/>
                  <a:pt x="4376" y="2775"/>
                </a:cubicBezTo>
                <a:cubicBezTo>
                  <a:pt x="4376" y="2750"/>
                  <a:pt x="4401" y="2775"/>
                  <a:pt x="4401" y="2750"/>
                </a:cubicBezTo>
                <a:cubicBezTo>
                  <a:pt x="4376" y="2750"/>
                  <a:pt x="4401" y="2701"/>
                  <a:pt x="4426" y="2701"/>
                </a:cubicBezTo>
                <a:cubicBezTo>
                  <a:pt x="4475" y="2675"/>
                  <a:pt x="4401" y="2675"/>
                  <a:pt x="4401" y="2675"/>
                </a:cubicBezTo>
                <a:cubicBezTo>
                  <a:pt x="4376" y="2701"/>
                  <a:pt x="4351" y="2650"/>
                  <a:pt x="4351" y="2675"/>
                </a:cubicBezTo>
                <a:cubicBezTo>
                  <a:pt x="4326" y="2675"/>
                  <a:pt x="4275" y="2650"/>
                  <a:pt x="4301" y="2650"/>
                </a:cubicBezTo>
                <a:cubicBezTo>
                  <a:pt x="4326" y="2625"/>
                  <a:pt x="4376" y="2601"/>
                  <a:pt x="4401" y="2601"/>
                </a:cubicBezTo>
                <a:cubicBezTo>
                  <a:pt x="4426" y="2601"/>
                  <a:pt x="4376" y="2550"/>
                  <a:pt x="4351" y="2550"/>
                </a:cubicBezTo>
                <a:cubicBezTo>
                  <a:pt x="4326" y="2550"/>
                  <a:pt x="4301" y="2475"/>
                  <a:pt x="4275" y="2475"/>
                </a:cubicBezTo>
                <a:cubicBezTo>
                  <a:pt x="4226" y="2475"/>
                  <a:pt x="4275" y="2475"/>
                  <a:pt x="4326" y="2475"/>
                </a:cubicBezTo>
                <a:cubicBezTo>
                  <a:pt x="4351" y="2500"/>
                  <a:pt x="4376" y="2500"/>
                  <a:pt x="4401" y="2500"/>
                </a:cubicBezTo>
                <a:cubicBezTo>
                  <a:pt x="4426" y="2475"/>
                  <a:pt x="4351" y="2425"/>
                  <a:pt x="4326" y="2400"/>
                </a:cubicBezTo>
                <a:cubicBezTo>
                  <a:pt x="4301" y="2400"/>
                  <a:pt x="4326" y="2350"/>
                  <a:pt x="4301" y="2350"/>
                </a:cubicBezTo>
                <a:cubicBezTo>
                  <a:pt x="4301" y="2350"/>
                  <a:pt x="4250" y="2275"/>
                  <a:pt x="4250" y="2225"/>
                </a:cubicBezTo>
                <a:cubicBezTo>
                  <a:pt x="4226" y="2200"/>
                  <a:pt x="4176" y="2200"/>
                  <a:pt x="4150" y="2175"/>
                </a:cubicBezTo>
                <a:cubicBezTo>
                  <a:pt x="4150" y="2150"/>
                  <a:pt x="4176" y="2100"/>
                  <a:pt x="4201" y="2100"/>
                </a:cubicBezTo>
                <a:cubicBezTo>
                  <a:pt x="4250" y="2075"/>
                  <a:pt x="4226" y="2025"/>
                  <a:pt x="4250" y="2050"/>
                </a:cubicBezTo>
                <a:cubicBezTo>
                  <a:pt x="4275" y="2050"/>
                  <a:pt x="4275" y="2025"/>
                  <a:pt x="4301" y="2000"/>
                </a:cubicBezTo>
                <a:cubicBezTo>
                  <a:pt x="4326" y="1975"/>
                  <a:pt x="4351" y="2000"/>
                  <a:pt x="4351" y="1975"/>
                </a:cubicBezTo>
                <a:cubicBezTo>
                  <a:pt x="4376" y="1950"/>
                  <a:pt x="4451" y="1950"/>
                  <a:pt x="4475" y="1950"/>
                </a:cubicBezTo>
                <a:cubicBezTo>
                  <a:pt x="4501" y="1925"/>
                  <a:pt x="4451" y="1875"/>
                  <a:pt x="4401" y="1875"/>
                </a:cubicBezTo>
                <a:cubicBezTo>
                  <a:pt x="4376" y="1900"/>
                  <a:pt x="4351" y="1875"/>
                  <a:pt x="4326" y="1850"/>
                </a:cubicBezTo>
                <a:cubicBezTo>
                  <a:pt x="4301" y="1825"/>
                  <a:pt x="4250" y="1900"/>
                  <a:pt x="4201" y="1925"/>
                </a:cubicBezTo>
                <a:cubicBezTo>
                  <a:pt x="4150" y="1950"/>
                  <a:pt x="4126" y="1900"/>
                  <a:pt x="4126" y="1850"/>
                </a:cubicBezTo>
                <a:cubicBezTo>
                  <a:pt x="4150" y="1825"/>
                  <a:pt x="4101" y="1825"/>
                  <a:pt x="4050" y="1825"/>
                </a:cubicBezTo>
                <a:cubicBezTo>
                  <a:pt x="3976" y="1825"/>
                  <a:pt x="4001" y="1700"/>
                  <a:pt x="4050" y="1700"/>
                </a:cubicBezTo>
                <a:cubicBezTo>
                  <a:pt x="4076" y="1700"/>
                  <a:pt x="4126" y="1750"/>
                  <a:pt x="4150" y="1675"/>
                </a:cubicBezTo>
                <a:cubicBezTo>
                  <a:pt x="4176" y="1600"/>
                  <a:pt x="4201" y="1650"/>
                  <a:pt x="4275" y="1600"/>
                </a:cubicBezTo>
                <a:cubicBezTo>
                  <a:pt x="4326" y="1525"/>
                  <a:pt x="4376" y="1500"/>
                  <a:pt x="4426" y="1525"/>
                </a:cubicBezTo>
                <a:cubicBezTo>
                  <a:pt x="4475" y="1575"/>
                  <a:pt x="4376" y="1625"/>
                  <a:pt x="4351" y="1650"/>
                </a:cubicBezTo>
                <a:cubicBezTo>
                  <a:pt x="4351" y="1700"/>
                  <a:pt x="4376" y="1700"/>
                  <a:pt x="4351" y="1725"/>
                </a:cubicBezTo>
                <a:cubicBezTo>
                  <a:pt x="4326" y="1750"/>
                  <a:pt x="4351" y="1775"/>
                  <a:pt x="4401" y="1725"/>
                </a:cubicBezTo>
                <a:cubicBezTo>
                  <a:pt x="4475" y="1700"/>
                  <a:pt x="4526" y="1650"/>
                  <a:pt x="4576" y="1625"/>
                </a:cubicBezTo>
                <a:cubicBezTo>
                  <a:pt x="4601" y="1625"/>
                  <a:pt x="4626" y="1625"/>
                  <a:pt x="4626" y="1625"/>
                </a:cubicBezTo>
                <a:cubicBezTo>
                  <a:pt x="4651" y="1600"/>
                  <a:pt x="4651" y="1600"/>
                  <a:pt x="4651" y="1575"/>
                </a:cubicBezTo>
                <a:cubicBezTo>
                  <a:pt x="4701" y="1575"/>
                  <a:pt x="4826" y="1500"/>
                  <a:pt x="4826" y="1475"/>
                </a:cubicBezTo>
                <a:cubicBezTo>
                  <a:pt x="4851" y="1475"/>
                  <a:pt x="4876" y="1425"/>
                  <a:pt x="4901" y="1425"/>
                </a:cubicBezTo>
                <a:cubicBezTo>
                  <a:pt x="4926" y="1425"/>
                  <a:pt x="4926" y="1450"/>
                  <a:pt x="4951" y="1450"/>
                </a:cubicBezTo>
                <a:cubicBezTo>
                  <a:pt x="5001" y="1450"/>
                  <a:pt x="5026" y="1450"/>
                  <a:pt x="5026" y="1425"/>
                </a:cubicBezTo>
                <a:cubicBezTo>
                  <a:pt x="5001" y="1400"/>
                  <a:pt x="5001" y="1400"/>
                  <a:pt x="5051" y="1400"/>
                </a:cubicBezTo>
                <a:cubicBezTo>
                  <a:pt x="5101" y="1375"/>
                  <a:pt x="5076" y="1350"/>
                  <a:pt x="5126" y="1350"/>
                </a:cubicBezTo>
                <a:cubicBezTo>
                  <a:pt x="5151" y="1350"/>
                  <a:pt x="5151" y="1275"/>
                  <a:pt x="5176" y="1275"/>
                </a:cubicBezTo>
                <a:cubicBezTo>
                  <a:pt x="5201" y="1275"/>
                  <a:pt x="5226" y="1300"/>
                  <a:pt x="5251" y="1300"/>
                </a:cubicBezTo>
                <a:lnTo>
                  <a:pt x="5276" y="1300"/>
                </a:lnTo>
                <a:cubicBezTo>
                  <a:pt x="5276" y="1300"/>
                  <a:pt x="5301" y="1300"/>
                  <a:pt x="5301" y="1275"/>
                </a:cubicBezTo>
                <a:cubicBezTo>
                  <a:pt x="5301" y="1250"/>
                  <a:pt x="5301" y="1225"/>
                  <a:pt x="5301" y="1200"/>
                </a:cubicBezTo>
                <a:cubicBezTo>
                  <a:pt x="5276" y="1175"/>
                  <a:pt x="5301" y="1150"/>
                  <a:pt x="5276" y="1125"/>
                </a:cubicBezTo>
                <a:cubicBezTo>
                  <a:pt x="5276" y="1100"/>
                  <a:pt x="5276" y="1050"/>
                  <a:pt x="5301" y="1050"/>
                </a:cubicBezTo>
                <a:cubicBezTo>
                  <a:pt x="5326" y="1050"/>
                  <a:pt x="5351" y="1000"/>
                  <a:pt x="5376" y="1025"/>
                </a:cubicBezTo>
                <a:cubicBezTo>
                  <a:pt x="5401" y="1025"/>
                  <a:pt x="5451" y="1050"/>
                  <a:pt x="5451" y="1025"/>
                </a:cubicBezTo>
                <a:cubicBezTo>
                  <a:pt x="5451" y="1000"/>
                  <a:pt x="5501" y="1000"/>
                  <a:pt x="5501" y="950"/>
                </a:cubicBezTo>
                <a:cubicBezTo>
                  <a:pt x="5501" y="925"/>
                  <a:pt x="5551" y="925"/>
                  <a:pt x="5551" y="875"/>
                </a:cubicBezTo>
                <a:cubicBezTo>
                  <a:pt x="5576" y="850"/>
                  <a:pt x="5576" y="775"/>
                  <a:pt x="5601" y="775"/>
                </a:cubicBezTo>
                <a:cubicBezTo>
                  <a:pt x="5651" y="750"/>
                  <a:pt x="5601" y="725"/>
                  <a:pt x="5601" y="675"/>
                </a:cubicBezTo>
                <a:close/>
                <a:moveTo>
                  <a:pt x="4250" y="3324"/>
                </a:moveTo>
                <a:lnTo>
                  <a:pt x="4250" y="3324"/>
                </a:lnTo>
                <a:cubicBezTo>
                  <a:pt x="4226" y="3424"/>
                  <a:pt x="4301" y="3474"/>
                  <a:pt x="4301" y="3474"/>
                </a:cubicBezTo>
                <a:cubicBezTo>
                  <a:pt x="4326" y="3449"/>
                  <a:pt x="4451" y="3224"/>
                  <a:pt x="4426" y="3174"/>
                </a:cubicBezTo>
                <a:cubicBezTo>
                  <a:pt x="4401" y="3150"/>
                  <a:pt x="4275" y="3199"/>
                  <a:pt x="4250" y="3324"/>
                </a:cubicBezTo>
                <a:close/>
                <a:moveTo>
                  <a:pt x="3250" y="3700"/>
                </a:moveTo>
                <a:lnTo>
                  <a:pt x="3250" y="3700"/>
                </a:lnTo>
                <a:cubicBezTo>
                  <a:pt x="3225" y="3700"/>
                  <a:pt x="3125" y="3749"/>
                  <a:pt x="3176" y="3825"/>
                </a:cubicBezTo>
                <a:cubicBezTo>
                  <a:pt x="3201" y="3900"/>
                  <a:pt x="3325" y="3849"/>
                  <a:pt x="3325" y="3825"/>
                </a:cubicBezTo>
                <a:cubicBezTo>
                  <a:pt x="3325" y="3774"/>
                  <a:pt x="3376" y="3724"/>
                  <a:pt x="3376" y="3700"/>
                </a:cubicBezTo>
                <a:cubicBezTo>
                  <a:pt x="3376" y="3674"/>
                  <a:pt x="3301" y="3700"/>
                  <a:pt x="3250" y="3700"/>
                </a:cubicBezTo>
                <a:close/>
              </a:path>
            </a:pathLst>
          </a:custGeom>
          <a:solidFill>
            <a:srgbClr val="39A3B5">
              <a:lumMod val="75000"/>
            </a:srgbClr>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0" name="Freeform 240">
            <a:extLst>
              <a:ext uri="{FF2B5EF4-FFF2-40B4-BE49-F238E27FC236}">
                <a16:creationId xmlns:a16="http://schemas.microsoft.com/office/drawing/2014/main" id="{431972EC-C87E-A170-ACBA-D4731BE9E254}"/>
              </a:ext>
            </a:extLst>
          </p:cNvPr>
          <p:cNvSpPr>
            <a:spLocks noChangeArrowheads="1"/>
          </p:cNvSpPr>
          <p:nvPr/>
        </p:nvSpPr>
        <p:spPr bwMode="auto">
          <a:xfrm>
            <a:off x="6417168" y="3457860"/>
            <a:ext cx="119531" cy="143437"/>
          </a:xfrm>
          <a:custGeom>
            <a:avLst/>
            <a:gdLst>
              <a:gd name="T0" fmla="*/ 100 w 376"/>
              <a:gd name="T1" fmla="*/ 50 h 451"/>
              <a:gd name="T2" fmla="*/ 100 w 376"/>
              <a:gd name="T3" fmla="*/ 50 h 451"/>
              <a:gd name="T4" fmla="*/ 50 w 376"/>
              <a:gd name="T5" fmla="*/ 75 h 451"/>
              <a:gd name="T6" fmla="*/ 75 w 376"/>
              <a:gd name="T7" fmla="*/ 125 h 451"/>
              <a:gd name="T8" fmla="*/ 75 w 376"/>
              <a:gd name="T9" fmla="*/ 175 h 451"/>
              <a:gd name="T10" fmla="*/ 50 w 376"/>
              <a:gd name="T11" fmla="*/ 250 h 451"/>
              <a:gd name="T12" fmla="*/ 25 w 376"/>
              <a:gd name="T13" fmla="*/ 375 h 451"/>
              <a:gd name="T14" fmla="*/ 50 w 376"/>
              <a:gd name="T15" fmla="*/ 425 h 451"/>
              <a:gd name="T16" fmla="*/ 225 w 376"/>
              <a:gd name="T17" fmla="*/ 375 h 451"/>
              <a:gd name="T18" fmla="*/ 325 w 376"/>
              <a:gd name="T19" fmla="*/ 350 h 451"/>
              <a:gd name="T20" fmla="*/ 350 w 376"/>
              <a:gd name="T21" fmla="*/ 300 h 451"/>
              <a:gd name="T22" fmla="*/ 325 w 376"/>
              <a:gd name="T23" fmla="*/ 175 h 451"/>
              <a:gd name="T24" fmla="*/ 225 w 376"/>
              <a:gd name="T25" fmla="*/ 0 h 451"/>
              <a:gd name="T26" fmla="*/ 175 w 376"/>
              <a:gd name="T27" fmla="*/ 25 h 451"/>
              <a:gd name="T28" fmla="*/ 100 w 376"/>
              <a:gd name="T29" fmla="*/ 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6" h="451">
                <a:moveTo>
                  <a:pt x="100" y="50"/>
                </a:moveTo>
                <a:lnTo>
                  <a:pt x="100" y="50"/>
                </a:lnTo>
                <a:lnTo>
                  <a:pt x="50" y="75"/>
                </a:lnTo>
                <a:cubicBezTo>
                  <a:pt x="50" y="100"/>
                  <a:pt x="50" y="125"/>
                  <a:pt x="75" y="125"/>
                </a:cubicBezTo>
                <a:cubicBezTo>
                  <a:pt x="100" y="125"/>
                  <a:pt x="100" y="175"/>
                  <a:pt x="75" y="175"/>
                </a:cubicBezTo>
                <a:cubicBezTo>
                  <a:pt x="25" y="175"/>
                  <a:pt x="25" y="225"/>
                  <a:pt x="50" y="250"/>
                </a:cubicBezTo>
                <a:cubicBezTo>
                  <a:pt x="100" y="300"/>
                  <a:pt x="0" y="350"/>
                  <a:pt x="25" y="375"/>
                </a:cubicBezTo>
                <a:cubicBezTo>
                  <a:pt x="50" y="400"/>
                  <a:pt x="25" y="425"/>
                  <a:pt x="50" y="425"/>
                </a:cubicBezTo>
                <a:cubicBezTo>
                  <a:pt x="50" y="450"/>
                  <a:pt x="175" y="425"/>
                  <a:pt x="225" y="375"/>
                </a:cubicBezTo>
                <a:cubicBezTo>
                  <a:pt x="275" y="325"/>
                  <a:pt x="300" y="325"/>
                  <a:pt x="325" y="350"/>
                </a:cubicBezTo>
                <a:cubicBezTo>
                  <a:pt x="350" y="350"/>
                  <a:pt x="375" y="325"/>
                  <a:pt x="350" y="300"/>
                </a:cubicBezTo>
                <a:cubicBezTo>
                  <a:pt x="350" y="275"/>
                  <a:pt x="325" y="225"/>
                  <a:pt x="325" y="175"/>
                </a:cubicBezTo>
                <a:cubicBezTo>
                  <a:pt x="325" y="125"/>
                  <a:pt x="275" y="50"/>
                  <a:pt x="225" y="0"/>
                </a:cubicBezTo>
                <a:cubicBezTo>
                  <a:pt x="225" y="25"/>
                  <a:pt x="200" y="25"/>
                  <a:pt x="175" y="25"/>
                </a:cubicBezTo>
                <a:cubicBezTo>
                  <a:pt x="150" y="25"/>
                  <a:pt x="100" y="25"/>
                  <a:pt x="100" y="50"/>
                </a:cubicBezTo>
              </a:path>
            </a:pathLst>
          </a:custGeom>
          <a:solidFill>
            <a:srgbClr val="39A3B5">
              <a:lumMod val="75000"/>
            </a:srgbClr>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1" name="Freeform 45">
            <a:extLst>
              <a:ext uri="{FF2B5EF4-FFF2-40B4-BE49-F238E27FC236}">
                <a16:creationId xmlns:a16="http://schemas.microsoft.com/office/drawing/2014/main" id="{2CEA66B0-7825-F9D1-3851-545FE104D8AB}"/>
              </a:ext>
            </a:extLst>
          </p:cNvPr>
          <p:cNvSpPr>
            <a:spLocks noChangeArrowheads="1"/>
          </p:cNvSpPr>
          <p:nvPr/>
        </p:nvSpPr>
        <p:spPr bwMode="auto">
          <a:xfrm>
            <a:off x="4718430" y="3561923"/>
            <a:ext cx="838120" cy="877495"/>
          </a:xfrm>
          <a:custGeom>
            <a:avLst/>
            <a:gdLst>
              <a:gd name="T0" fmla="*/ 1875 w 2626"/>
              <a:gd name="T1" fmla="*/ 1249 h 2750"/>
              <a:gd name="T2" fmla="*/ 1900 w 2626"/>
              <a:gd name="T3" fmla="*/ 1050 h 2750"/>
              <a:gd name="T4" fmla="*/ 1900 w 2626"/>
              <a:gd name="T5" fmla="*/ 975 h 2750"/>
              <a:gd name="T6" fmla="*/ 2025 w 2626"/>
              <a:gd name="T7" fmla="*/ 1074 h 2750"/>
              <a:gd name="T8" fmla="*/ 2200 w 2626"/>
              <a:gd name="T9" fmla="*/ 1099 h 2750"/>
              <a:gd name="T10" fmla="*/ 2100 w 2626"/>
              <a:gd name="T11" fmla="*/ 1300 h 2750"/>
              <a:gd name="T12" fmla="*/ 2225 w 2626"/>
              <a:gd name="T13" fmla="*/ 1400 h 2750"/>
              <a:gd name="T14" fmla="*/ 2250 w 2626"/>
              <a:gd name="T15" fmla="*/ 1300 h 2750"/>
              <a:gd name="T16" fmla="*/ 2350 w 2626"/>
              <a:gd name="T17" fmla="*/ 1200 h 2750"/>
              <a:gd name="T18" fmla="*/ 2401 w 2626"/>
              <a:gd name="T19" fmla="*/ 975 h 2750"/>
              <a:gd name="T20" fmla="*/ 2550 w 2626"/>
              <a:gd name="T21" fmla="*/ 875 h 2750"/>
              <a:gd name="T22" fmla="*/ 2575 w 2626"/>
              <a:gd name="T23" fmla="*/ 801 h 2750"/>
              <a:gd name="T24" fmla="*/ 2550 w 2626"/>
              <a:gd name="T25" fmla="*/ 725 h 2750"/>
              <a:gd name="T26" fmla="*/ 2475 w 2626"/>
              <a:gd name="T27" fmla="*/ 675 h 2750"/>
              <a:gd name="T28" fmla="*/ 2275 w 2626"/>
              <a:gd name="T29" fmla="*/ 725 h 2750"/>
              <a:gd name="T30" fmla="*/ 2200 w 2626"/>
              <a:gd name="T31" fmla="*/ 801 h 2750"/>
              <a:gd name="T32" fmla="*/ 2150 w 2626"/>
              <a:gd name="T33" fmla="*/ 901 h 2750"/>
              <a:gd name="T34" fmla="*/ 1975 w 2626"/>
              <a:gd name="T35" fmla="*/ 901 h 2750"/>
              <a:gd name="T36" fmla="*/ 1875 w 2626"/>
              <a:gd name="T37" fmla="*/ 825 h 2750"/>
              <a:gd name="T38" fmla="*/ 1800 w 2626"/>
              <a:gd name="T39" fmla="*/ 825 h 2750"/>
              <a:gd name="T40" fmla="*/ 1650 w 2626"/>
              <a:gd name="T41" fmla="*/ 925 h 2750"/>
              <a:gd name="T42" fmla="*/ 1475 w 2626"/>
              <a:gd name="T43" fmla="*/ 825 h 2750"/>
              <a:gd name="T44" fmla="*/ 1300 w 2626"/>
              <a:gd name="T45" fmla="*/ 801 h 2750"/>
              <a:gd name="T46" fmla="*/ 1150 w 2626"/>
              <a:gd name="T47" fmla="*/ 725 h 2750"/>
              <a:gd name="T48" fmla="*/ 1125 w 2626"/>
              <a:gd name="T49" fmla="*/ 625 h 2750"/>
              <a:gd name="T50" fmla="*/ 1125 w 2626"/>
              <a:gd name="T51" fmla="*/ 525 h 2750"/>
              <a:gd name="T52" fmla="*/ 1000 w 2626"/>
              <a:gd name="T53" fmla="*/ 425 h 2750"/>
              <a:gd name="T54" fmla="*/ 975 w 2626"/>
              <a:gd name="T55" fmla="*/ 300 h 2750"/>
              <a:gd name="T56" fmla="*/ 1000 w 2626"/>
              <a:gd name="T57" fmla="*/ 200 h 2750"/>
              <a:gd name="T58" fmla="*/ 925 w 2626"/>
              <a:gd name="T59" fmla="*/ 50 h 2750"/>
              <a:gd name="T60" fmla="*/ 850 w 2626"/>
              <a:gd name="T61" fmla="*/ 0 h 2750"/>
              <a:gd name="T62" fmla="*/ 725 w 2626"/>
              <a:gd name="T63" fmla="*/ 100 h 2750"/>
              <a:gd name="T64" fmla="*/ 525 w 2626"/>
              <a:gd name="T65" fmla="*/ 125 h 2750"/>
              <a:gd name="T66" fmla="*/ 600 w 2626"/>
              <a:gd name="T67" fmla="*/ 300 h 2750"/>
              <a:gd name="T68" fmla="*/ 600 w 2626"/>
              <a:gd name="T69" fmla="*/ 425 h 2750"/>
              <a:gd name="T70" fmla="*/ 550 w 2626"/>
              <a:gd name="T71" fmla="*/ 550 h 2750"/>
              <a:gd name="T72" fmla="*/ 450 w 2626"/>
              <a:gd name="T73" fmla="*/ 675 h 2750"/>
              <a:gd name="T74" fmla="*/ 325 w 2626"/>
              <a:gd name="T75" fmla="*/ 801 h 2750"/>
              <a:gd name="T76" fmla="*/ 174 w 2626"/>
              <a:gd name="T77" fmla="*/ 801 h 2750"/>
              <a:gd name="T78" fmla="*/ 174 w 2626"/>
              <a:gd name="T79" fmla="*/ 950 h 2750"/>
              <a:gd name="T80" fmla="*/ 250 w 2626"/>
              <a:gd name="T81" fmla="*/ 1149 h 2750"/>
              <a:gd name="T82" fmla="*/ 74 w 2626"/>
              <a:gd name="T83" fmla="*/ 1149 h 2750"/>
              <a:gd name="T84" fmla="*/ 0 w 2626"/>
              <a:gd name="T85" fmla="*/ 1224 h 2750"/>
              <a:gd name="T86" fmla="*/ 174 w 2626"/>
              <a:gd name="T87" fmla="*/ 1300 h 2750"/>
              <a:gd name="T88" fmla="*/ 250 w 2626"/>
              <a:gd name="T89" fmla="*/ 1524 h 2750"/>
              <a:gd name="T90" fmla="*/ 374 w 2626"/>
              <a:gd name="T91" fmla="*/ 1374 h 2750"/>
              <a:gd name="T92" fmla="*/ 400 w 2626"/>
              <a:gd name="T93" fmla="*/ 1549 h 2750"/>
              <a:gd name="T94" fmla="*/ 475 w 2626"/>
              <a:gd name="T95" fmla="*/ 1874 h 2750"/>
              <a:gd name="T96" fmla="*/ 650 w 2626"/>
              <a:gd name="T97" fmla="*/ 2374 h 2750"/>
              <a:gd name="T98" fmla="*/ 825 w 2626"/>
              <a:gd name="T99" fmla="*/ 2749 h 2750"/>
              <a:gd name="T100" fmla="*/ 1000 w 2626"/>
              <a:gd name="T101" fmla="*/ 2600 h 2750"/>
              <a:gd name="T102" fmla="*/ 1075 w 2626"/>
              <a:gd name="T103" fmla="*/ 2474 h 2750"/>
              <a:gd name="T104" fmla="*/ 1100 w 2626"/>
              <a:gd name="T105" fmla="*/ 2200 h 2750"/>
              <a:gd name="T106" fmla="*/ 1150 w 2626"/>
              <a:gd name="T107" fmla="*/ 2000 h 2750"/>
              <a:gd name="T108" fmla="*/ 1375 w 2626"/>
              <a:gd name="T109" fmla="*/ 1825 h 2750"/>
              <a:gd name="T110" fmla="*/ 1675 w 2626"/>
              <a:gd name="T111" fmla="*/ 1574 h 2750"/>
              <a:gd name="T112" fmla="*/ 1875 w 2626"/>
              <a:gd name="T113" fmla="*/ 1424 h 2750"/>
              <a:gd name="T114" fmla="*/ 1875 w 2626"/>
              <a:gd name="T115" fmla="*/ 1249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26" h="2750">
                <a:moveTo>
                  <a:pt x="1875" y="1249"/>
                </a:moveTo>
                <a:lnTo>
                  <a:pt x="1875" y="1249"/>
                </a:lnTo>
                <a:cubicBezTo>
                  <a:pt x="1850" y="1200"/>
                  <a:pt x="1825" y="1124"/>
                  <a:pt x="1850" y="1099"/>
                </a:cubicBezTo>
                <a:cubicBezTo>
                  <a:pt x="1850" y="1074"/>
                  <a:pt x="1875" y="1099"/>
                  <a:pt x="1900" y="1050"/>
                </a:cubicBezTo>
                <a:cubicBezTo>
                  <a:pt x="1900" y="1025"/>
                  <a:pt x="1800" y="1025"/>
                  <a:pt x="1825" y="975"/>
                </a:cubicBezTo>
                <a:cubicBezTo>
                  <a:pt x="1875" y="925"/>
                  <a:pt x="1875" y="975"/>
                  <a:pt x="1900" y="975"/>
                </a:cubicBezTo>
                <a:cubicBezTo>
                  <a:pt x="1950" y="975"/>
                  <a:pt x="1975" y="1001"/>
                  <a:pt x="1975" y="1025"/>
                </a:cubicBezTo>
                <a:cubicBezTo>
                  <a:pt x="1975" y="1050"/>
                  <a:pt x="2025" y="1074"/>
                  <a:pt x="2025" y="1074"/>
                </a:cubicBezTo>
                <a:cubicBezTo>
                  <a:pt x="2025" y="1074"/>
                  <a:pt x="2100" y="1074"/>
                  <a:pt x="2125" y="1074"/>
                </a:cubicBezTo>
                <a:cubicBezTo>
                  <a:pt x="2150" y="1074"/>
                  <a:pt x="2200" y="1074"/>
                  <a:pt x="2200" y="1099"/>
                </a:cubicBezTo>
                <a:cubicBezTo>
                  <a:pt x="2200" y="1124"/>
                  <a:pt x="2150" y="1200"/>
                  <a:pt x="2125" y="1200"/>
                </a:cubicBezTo>
                <a:cubicBezTo>
                  <a:pt x="2075" y="1200"/>
                  <a:pt x="2075" y="1274"/>
                  <a:pt x="2100" y="1300"/>
                </a:cubicBezTo>
                <a:cubicBezTo>
                  <a:pt x="2150" y="1300"/>
                  <a:pt x="2175" y="1224"/>
                  <a:pt x="2175" y="1224"/>
                </a:cubicBezTo>
                <a:cubicBezTo>
                  <a:pt x="2200" y="1224"/>
                  <a:pt x="2200" y="1300"/>
                  <a:pt x="2225" y="1400"/>
                </a:cubicBezTo>
                <a:lnTo>
                  <a:pt x="2225" y="1400"/>
                </a:lnTo>
                <a:cubicBezTo>
                  <a:pt x="2250" y="1400"/>
                  <a:pt x="2250" y="1300"/>
                  <a:pt x="2250" y="1300"/>
                </a:cubicBezTo>
                <a:cubicBezTo>
                  <a:pt x="2275" y="1274"/>
                  <a:pt x="2275" y="1200"/>
                  <a:pt x="2275" y="1200"/>
                </a:cubicBezTo>
                <a:cubicBezTo>
                  <a:pt x="2275" y="1200"/>
                  <a:pt x="2350" y="1224"/>
                  <a:pt x="2350" y="1200"/>
                </a:cubicBezTo>
                <a:cubicBezTo>
                  <a:pt x="2350" y="1174"/>
                  <a:pt x="2401" y="1124"/>
                  <a:pt x="2375" y="1074"/>
                </a:cubicBezTo>
                <a:cubicBezTo>
                  <a:pt x="2375" y="1050"/>
                  <a:pt x="2401" y="1001"/>
                  <a:pt x="2401" y="975"/>
                </a:cubicBezTo>
                <a:cubicBezTo>
                  <a:pt x="2401" y="925"/>
                  <a:pt x="2450" y="925"/>
                  <a:pt x="2475" y="901"/>
                </a:cubicBezTo>
                <a:cubicBezTo>
                  <a:pt x="2501" y="875"/>
                  <a:pt x="2550" y="850"/>
                  <a:pt x="2550" y="875"/>
                </a:cubicBezTo>
                <a:cubicBezTo>
                  <a:pt x="2550" y="875"/>
                  <a:pt x="2625" y="901"/>
                  <a:pt x="2601" y="875"/>
                </a:cubicBezTo>
                <a:cubicBezTo>
                  <a:pt x="2575" y="825"/>
                  <a:pt x="2575" y="801"/>
                  <a:pt x="2575" y="801"/>
                </a:cubicBezTo>
                <a:cubicBezTo>
                  <a:pt x="2601" y="801"/>
                  <a:pt x="2601" y="750"/>
                  <a:pt x="2601" y="750"/>
                </a:cubicBezTo>
                <a:cubicBezTo>
                  <a:pt x="2601" y="750"/>
                  <a:pt x="2550" y="750"/>
                  <a:pt x="2550" y="725"/>
                </a:cubicBezTo>
                <a:cubicBezTo>
                  <a:pt x="2550" y="701"/>
                  <a:pt x="2525" y="675"/>
                  <a:pt x="2525" y="675"/>
                </a:cubicBezTo>
                <a:cubicBezTo>
                  <a:pt x="2525" y="650"/>
                  <a:pt x="2475" y="650"/>
                  <a:pt x="2475" y="675"/>
                </a:cubicBezTo>
                <a:cubicBezTo>
                  <a:pt x="2450" y="701"/>
                  <a:pt x="2401" y="650"/>
                  <a:pt x="2350" y="675"/>
                </a:cubicBezTo>
                <a:cubicBezTo>
                  <a:pt x="2301" y="701"/>
                  <a:pt x="2301" y="725"/>
                  <a:pt x="2275" y="725"/>
                </a:cubicBezTo>
                <a:cubicBezTo>
                  <a:pt x="2250" y="725"/>
                  <a:pt x="2250" y="750"/>
                  <a:pt x="2225" y="775"/>
                </a:cubicBezTo>
                <a:lnTo>
                  <a:pt x="2200" y="801"/>
                </a:lnTo>
                <a:cubicBezTo>
                  <a:pt x="2175" y="801"/>
                  <a:pt x="2150" y="825"/>
                  <a:pt x="2150" y="825"/>
                </a:cubicBezTo>
                <a:cubicBezTo>
                  <a:pt x="2150" y="825"/>
                  <a:pt x="2175" y="875"/>
                  <a:pt x="2150" y="901"/>
                </a:cubicBezTo>
                <a:cubicBezTo>
                  <a:pt x="2150" y="925"/>
                  <a:pt x="2100" y="901"/>
                  <a:pt x="2050" y="925"/>
                </a:cubicBezTo>
                <a:cubicBezTo>
                  <a:pt x="2025" y="925"/>
                  <a:pt x="2000" y="901"/>
                  <a:pt x="1975" y="901"/>
                </a:cubicBezTo>
                <a:cubicBezTo>
                  <a:pt x="1950" y="925"/>
                  <a:pt x="1925" y="901"/>
                  <a:pt x="1900" y="901"/>
                </a:cubicBezTo>
                <a:cubicBezTo>
                  <a:pt x="1900" y="901"/>
                  <a:pt x="1875" y="850"/>
                  <a:pt x="1875" y="825"/>
                </a:cubicBezTo>
                <a:cubicBezTo>
                  <a:pt x="1875" y="801"/>
                  <a:pt x="1875" y="750"/>
                  <a:pt x="1850" y="775"/>
                </a:cubicBezTo>
                <a:cubicBezTo>
                  <a:pt x="1825" y="801"/>
                  <a:pt x="1800" y="801"/>
                  <a:pt x="1800" y="825"/>
                </a:cubicBezTo>
                <a:cubicBezTo>
                  <a:pt x="1800" y="850"/>
                  <a:pt x="1825" y="901"/>
                  <a:pt x="1800" y="925"/>
                </a:cubicBezTo>
                <a:cubicBezTo>
                  <a:pt x="1775" y="950"/>
                  <a:pt x="1675" y="950"/>
                  <a:pt x="1650" y="925"/>
                </a:cubicBezTo>
                <a:cubicBezTo>
                  <a:pt x="1625" y="925"/>
                  <a:pt x="1525" y="901"/>
                  <a:pt x="1525" y="901"/>
                </a:cubicBezTo>
                <a:cubicBezTo>
                  <a:pt x="1525" y="875"/>
                  <a:pt x="1500" y="825"/>
                  <a:pt x="1475" y="825"/>
                </a:cubicBezTo>
                <a:cubicBezTo>
                  <a:pt x="1450" y="825"/>
                  <a:pt x="1400" y="875"/>
                  <a:pt x="1375" y="850"/>
                </a:cubicBezTo>
                <a:cubicBezTo>
                  <a:pt x="1375" y="850"/>
                  <a:pt x="1325" y="801"/>
                  <a:pt x="1300" y="801"/>
                </a:cubicBezTo>
                <a:cubicBezTo>
                  <a:pt x="1275" y="801"/>
                  <a:pt x="1225" y="775"/>
                  <a:pt x="1225" y="775"/>
                </a:cubicBezTo>
                <a:cubicBezTo>
                  <a:pt x="1225" y="750"/>
                  <a:pt x="1175" y="750"/>
                  <a:pt x="1150" y="725"/>
                </a:cubicBezTo>
                <a:cubicBezTo>
                  <a:pt x="1150" y="725"/>
                  <a:pt x="1100" y="725"/>
                  <a:pt x="1100" y="701"/>
                </a:cubicBezTo>
                <a:cubicBezTo>
                  <a:pt x="1100" y="675"/>
                  <a:pt x="1125" y="650"/>
                  <a:pt x="1125" y="625"/>
                </a:cubicBezTo>
                <a:cubicBezTo>
                  <a:pt x="1125" y="601"/>
                  <a:pt x="1175" y="575"/>
                  <a:pt x="1175" y="575"/>
                </a:cubicBezTo>
                <a:cubicBezTo>
                  <a:pt x="1175" y="550"/>
                  <a:pt x="1125" y="525"/>
                  <a:pt x="1125" y="525"/>
                </a:cubicBezTo>
                <a:cubicBezTo>
                  <a:pt x="1125" y="525"/>
                  <a:pt x="1100" y="475"/>
                  <a:pt x="1075" y="475"/>
                </a:cubicBezTo>
                <a:cubicBezTo>
                  <a:pt x="1050" y="475"/>
                  <a:pt x="1025" y="425"/>
                  <a:pt x="1000" y="425"/>
                </a:cubicBezTo>
                <a:cubicBezTo>
                  <a:pt x="975" y="425"/>
                  <a:pt x="975" y="375"/>
                  <a:pt x="975" y="350"/>
                </a:cubicBezTo>
                <a:cubicBezTo>
                  <a:pt x="950" y="325"/>
                  <a:pt x="950" y="275"/>
                  <a:pt x="975" y="300"/>
                </a:cubicBezTo>
                <a:cubicBezTo>
                  <a:pt x="1000" y="325"/>
                  <a:pt x="1050" y="300"/>
                  <a:pt x="1050" y="275"/>
                </a:cubicBezTo>
                <a:cubicBezTo>
                  <a:pt x="1025" y="250"/>
                  <a:pt x="1000" y="200"/>
                  <a:pt x="1000" y="200"/>
                </a:cubicBezTo>
                <a:cubicBezTo>
                  <a:pt x="1000" y="175"/>
                  <a:pt x="1000" y="125"/>
                  <a:pt x="975" y="100"/>
                </a:cubicBezTo>
                <a:cubicBezTo>
                  <a:pt x="950" y="100"/>
                  <a:pt x="925" y="75"/>
                  <a:pt x="925" y="50"/>
                </a:cubicBezTo>
                <a:cubicBezTo>
                  <a:pt x="925" y="25"/>
                  <a:pt x="900" y="0"/>
                  <a:pt x="900" y="0"/>
                </a:cubicBezTo>
                <a:cubicBezTo>
                  <a:pt x="850" y="0"/>
                  <a:pt x="850" y="0"/>
                  <a:pt x="850" y="0"/>
                </a:cubicBezTo>
                <a:cubicBezTo>
                  <a:pt x="850" y="0"/>
                  <a:pt x="825" y="50"/>
                  <a:pt x="825" y="75"/>
                </a:cubicBezTo>
                <a:cubicBezTo>
                  <a:pt x="800" y="75"/>
                  <a:pt x="750" y="75"/>
                  <a:pt x="725" y="100"/>
                </a:cubicBezTo>
                <a:cubicBezTo>
                  <a:pt x="699" y="125"/>
                  <a:pt x="625" y="75"/>
                  <a:pt x="575" y="75"/>
                </a:cubicBezTo>
                <a:cubicBezTo>
                  <a:pt x="550" y="75"/>
                  <a:pt x="525" y="125"/>
                  <a:pt x="525" y="125"/>
                </a:cubicBezTo>
                <a:cubicBezTo>
                  <a:pt x="550" y="150"/>
                  <a:pt x="550" y="225"/>
                  <a:pt x="550" y="225"/>
                </a:cubicBezTo>
                <a:cubicBezTo>
                  <a:pt x="550" y="225"/>
                  <a:pt x="575" y="325"/>
                  <a:pt x="600" y="300"/>
                </a:cubicBezTo>
                <a:cubicBezTo>
                  <a:pt x="650" y="300"/>
                  <a:pt x="675" y="350"/>
                  <a:pt x="650" y="350"/>
                </a:cubicBezTo>
                <a:cubicBezTo>
                  <a:pt x="625" y="350"/>
                  <a:pt x="600" y="400"/>
                  <a:pt x="600" y="425"/>
                </a:cubicBezTo>
                <a:cubicBezTo>
                  <a:pt x="600" y="450"/>
                  <a:pt x="600" y="475"/>
                  <a:pt x="575" y="501"/>
                </a:cubicBezTo>
                <a:cubicBezTo>
                  <a:pt x="550" y="501"/>
                  <a:pt x="550" y="501"/>
                  <a:pt x="550" y="550"/>
                </a:cubicBezTo>
                <a:cubicBezTo>
                  <a:pt x="550" y="575"/>
                  <a:pt x="499" y="575"/>
                  <a:pt x="475" y="575"/>
                </a:cubicBezTo>
                <a:cubicBezTo>
                  <a:pt x="475" y="601"/>
                  <a:pt x="450" y="675"/>
                  <a:pt x="450" y="675"/>
                </a:cubicBezTo>
                <a:cubicBezTo>
                  <a:pt x="425" y="701"/>
                  <a:pt x="374" y="701"/>
                  <a:pt x="374" y="725"/>
                </a:cubicBezTo>
                <a:cubicBezTo>
                  <a:pt x="374" y="775"/>
                  <a:pt x="325" y="801"/>
                  <a:pt x="325" y="801"/>
                </a:cubicBezTo>
                <a:cubicBezTo>
                  <a:pt x="300" y="801"/>
                  <a:pt x="274" y="775"/>
                  <a:pt x="250" y="801"/>
                </a:cubicBezTo>
                <a:cubicBezTo>
                  <a:pt x="250" y="825"/>
                  <a:pt x="200" y="801"/>
                  <a:pt x="174" y="801"/>
                </a:cubicBezTo>
                <a:cubicBezTo>
                  <a:pt x="174" y="801"/>
                  <a:pt x="125" y="850"/>
                  <a:pt x="125" y="901"/>
                </a:cubicBezTo>
                <a:cubicBezTo>
                  <a:pt x="125" y="925"/>
                  <a:pt x="174" y="925"/>
                  <a:pt x="174" y="950"/>
                </a:cubicBezTo>
                <a:cubicBezTo>
                  <a:pt x="174" y="1001"/>
                  <a:pt x="200" y="1025"/>
                  <a:pt x="225" y="1050"/>
                </a:cubicBezTo>
                <a:cubicBezTo>
                  <a:pt x="225" y="1074"/>
                  <a:pt x="250" y="1124"/>
                  <a:pt x="250" y="1149"/>
                </a:cubicBezTo>
                <a:cubicBezTo>
                  <a:pt x="225" y="1149"/>
                  <a:pt x="200" y="1174"/>
                  <a:pt x="174" y="1149"/>
                </a:cubicBezTo>
                <a:cubicBezTo>
                  <a:pt x="150" y="1149"/>
                  <a:pt x="150" y="1174"/>
                  <a:pt x="74" y="1149"/>
                </a:cubicBezTo>
                <a:cubicBezTo>
                  <a:pt x="25" y="1149"/>
                  <a:pt x="25" y="1200"/>
                  <a:pt x="0" y="1224"/>
                </a:cubicBezTo>
                <a:lnTo>
                  <a:pt x="0" y="1224"/>
                </a:lnTo>
                <a:cubicBezTo>
                  <a:pt x="25" y="1249"/>
                  <a:pt x="25" y="1300"/>
                  <a:pt x="74" y="1300"/>
                </a:cubicBezTo>
                <a:cubicBezTo>
                  <a:pt x="125" y="1324"/>
                  <a:pt x="174" y="1274"/>
                  <a:pt x="174" y="1300"/>
                </a:cubicBezTo>
                <a:cubicBezTo>
                  <a:pt x="174" y="1349"/>
                  <a:pt x="50" y="1349"/>
                  <a:pt x="50" y="1349"/>
                </a:cubicBezTo>
                <a:cubicBezTo>
                  <a:pt x="50" y="1374"/>
                  <a:pt x="174" y="1524"/>
                  <a:pt x="250" y="1524"/>
                </a:cubicBezTo>
                <a:cubicBezTo>
                  <a:pt x="325" y="1500"/>
                  <a:pt x="374" y="1424"/>
                  <a:pt x="350" y="1424"/>
                </a:cubicBezTo>
                <a:cubicBezTo>
                  <a:pt x="325" y="1400"/>
                  <a:pt x="374" y="1374"/>
                  <a:pt x="374" y="1374"/>
                </a:cubicBezTo>
                <a:cubicBezTo>
                  <a:pt x="400" y="1374"/>
                  <a:pt x="374" y="1449"/>
                  <a:pt x="400" y="1474"/>
                </a:cubicBezTo>
                <a:cubicBezTo>
                  <a:pt x="425" y="1474"/>
                  <a:pt x="425" y="1524"/>
                  <a:pt x="400" y="1549"/>
                </a:cubicBezTo>
                <a:cubicBezTo>
                  <a:pt x="400" y="1600"/>
                  <a:pt x="425" y="1674"/>
                  <a:pt x="425" y="1725"/>
                </a:cubicBezTo>
                <a:cubicBezTo>
                  <a:pt x="425" y="1749"/>
                  <a:pt x="450" y="1825"/>
                  <a:pt x="475" y="1874"/>
                </a:cubicBezTo>
                <a:cubicBezTo>
                  <a:pt x="475" y="1949"/>
                  <a:pt x="525" y="2074"/>
                  <a:pt x="550" y="2125"/>
                </a:cubicBezTo>
                <a:cubicBezTo>
                  <a:pt x="600" y="2200"/>
                  <a:pt x="625" y="2349"/>
                  <a:pt x="650" y="2374"/>
                </a:cubicBezTo>
                <a:cubicBezTo>
                  <a:pt x="675" y="2399"/>
                  <a:pt x="725" y="2525"/>
                  <a:pt x="725" y="2574"/>
                </a:cubicBezTo>
                <a:cubicBezTo>
                  <a:pt x="725" y="2649"/>
                  <a:pt x="800" y="2725"/>
                  <a:pt x="825" y="2749"/>
                </a:cubicBezTo>
                <a:cubicBezTo>
                  <a:pt x="850" y="2749"/>
                  <a:pt x="900" y="2725"/>
                  <a:pt x="925" y="2674"/>
                </a:cubicBezTo>
                <a:cubicBezTo>
                  <a:pt x="925" y="2649"/>
                  <a:pt x="1000" y="2625"/>
                  <a:pt x="1000" y="2600"/>
                </a:cubicBezTo>
                <a:cubicBezTo>
                  <a:pt x="1000" y="2574"/>
                  <a:pt x="1025" y="2525"/>
                  <a:pt x="1050" y="2525"/>
                </a:cubicBezTo>
                <a:cubicBezTo>
                  <a:pt x="1075" y="2525"/>
                  <a:pt x="1075" y="2499"/>
                  <a:pt x="1075" y="2474"/>
                </a:cubicBezTo>
                <a:cubicBezTo>
                  <a:pt x="1075" y="2425"/>
                  <a:pt x="1075" y="2374"/>
                  <a:pt x="1100" y="2349"/>
                </a:cubicBezTo>
                <a:cubicBezTo>
                  <a:pt x="1125" y="2325"/>
                  <a:pt x="1125" y="2225"/>
                  <a:pt x="1100" y="2200"/>
                </a:cubicBezTo>
                <a:cubicBezTo>
                  <a:pt x="1100" y="2149"/>
                  <a:pt x="1100" y="2100"/>
                  <a:pt x="1100" y="2074"/>
                </a:cubicBezTo>
                <a:cubicBezTo>
                  <a:pt x="1125" y="2049"/>
                  <a:pt x="1125" y="2000"/>
                  <a:pt x="1150" y="2000"/>
                </a:cubicBezTo>
                <a:cubicBezTo>
                  <a:pt x="1175" y="2000"/>
                  <a:pt x="1200" y="1974"/>
                  <a:pt x="1250" y="1925"/>
                </a:cubicBezTo>
                <a:cubicBezTo>
                  <a:pt x="1275" y="1900"/>
                  <a:pt x="1350" y="1849"/>
                  <a:pt x="1375" y="1825"/>
                </a:cubicBezTo>
                <a:cubicBezTo>
                  <a:pt x="1425" y="1800"/>
                  <a:pt x="1500" y="1725"/>
                  <a:pt x="1525" y="1674"/>
                </a:cubicBezTo>
                <a:cubicBezTo>
                  <a:pt x="1550" y="1624"/>
                  <a:pt x="1650" y="1600"/>
                  <a:pt x="1675" y="1574"/>
                </a:cubicBezTo>
                <a:cubicBezTo>
                  <a:pt x="1725" y="1524"/>
                  <a:pt x="1700" y="1500"/>
                  <a:pt x="1700" y="1474"/>
                </a:cubicBezTo>
                <a:cubicBezTo>
                  <a:pt x="1725" y="1424"/>
                  <a:pt x="1825" y="1424"/>
                  <a:pt x="1875" y="1424"/>
                </a:cubicBezTo>
                <a:cubicBezTo>
                  <a:pt x="1875" y="1424"/>
                  <a:pt x="1900" y="1424"/>
                  <a:pt x="1900" y="1400"/>
                </a:cubicBezTo>
                <a:cubicBezTo>
                  <a:pt x="1900" y="1349"/>
                  <a:pt x="1875" y="1274"/>
                  <a:pt x="1875" y="1249"/>
                </a:cubicBezTo>
              </a:path>
            </a:pathLst>
          </a:custGeom>
          <a:solidFill>
            <a:srgbClr val="39A3B5">
              <a:lumMod val="75000"/>
            </a:srgbClr>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2" name="Freeform 44">
            <a:extLst>
              <a:ext uri="{FF2B5EF4-FFF2-40B4-BE49-F238E27FC236}">
                <a16:creationId xmlns:a16="http://schemas.microsoft.com/office/drawing/2014/main" id="{CA1B7FF8-1A59-AB45-97D7-02229640AA0B}"/>
              </a:ext>
            </a:extLst>
          </p:cNvPr>
          <p:cNvSpPr>
            <a:spLocks noChangeArrowheads="1"/>
          </p:cNvSpPr>
          <p:nvPr/>
        </p:nvSpPr>
        <p:spPr bwMode="auto">
          <a:xfrm>
            <a:off x="5292178" y="3855825"/>
            <a:ext cx="136405" cy="184219"/>
          </a:xfrm>
          <a:custGeom>
            <a:avLst/>
            <a:gdLst>
              <a:gd name="T0" fmla="*/ 425 w 426"/>
              <a:gd name="T1" fmla="*/ 475 h 576"/>
              <a:gd name="T2" fmla="*/ 425 w 426"/>
              <a:gd name="T3" fmla="*/ 475 h 576"/>
              <a:gd name="T4" fmla="*/ 375 w 426"/>
              <a:gd name="T5" fmla="*/ 299 h 576"/>
              <a:gd name="T6" fmla="*/ 300 w 426"/>
              <a:gd name="T7" fmla="*/ 375 h 576"/>
              <a:gd name="T8" fmla="*/ 325 w 426"/>
              <a:gd name="T9" fmla="*/ 275 h 576"/>
              <a:gd name="T10" fmla="*/ 400 w 426"/>
              <a:gd name="T11" fmla="*/ 174 h 576"/>
              <a:gd name="T12" fmla="*/ 325 w 426"/>
              <a:gd name="T13" fmla="*/ 149 h 576"/>
              <a:gd name="T14" fmla="*/ 225 w 426"/>
              <a:gd name="T15" fmla="*/ 149 h 576"/>
              <a:gd name="T16" fmla="*/ 175 w 426"/>
              <a:gd name="T17" fmla="*/ 100 h 576"/>
              <a:gd name="T18" fmla="*/ 100 w 426"/>
              <a:gd name="T19" fmla="*/ 50 h 576"/>
              <a:gd name="T20" fmla="*/ 25 w 426"/>
              <a:gd name="T21" fmla="*/ 50 h 576"/>
              <a:gd name="T22" fmla="*/ 100 w 426"/>
              <a:gd name="T23" fmla="*/ 125 h 576"/>
              <a:gd name="T24" fmla="*/ 50 w 426"/>
              <a:gd name="T25" fmla="*/ 174 h 576"/>
              <a:gd name="T26" fmla="*/ 75 w 426"/>
              <a:gd name="T27" fmla="*/ 324 h 576"/>
              <a:gd name="T28" fmla="*/ 100 w 426"/>
              <a:gd name="T29" fmla="*/ 475 h 576"/>
              <a:gd name="T30" fmla="*/ 150 w 426"/>
              <a:gd name="T31" fmla="*/ 475 h 576"/>
              <a:gd name="T32" fmla="*/ 225 w 426"/>
              <a:gd name="T33" fmla="*/ 424 h 576"/>
              <a:gd name="T34" fmla="*/ 300 w 426"/>
              <a:gd name="T35" fmla="*/ 399 h 576"/>
              <a:gd name="T36" fmla="*/ 350 w 426"/>
              <a:gd name="T37" fmla="*/ 524 h 576"/>
              <a:gd name="T38" fmla="*/ 350 w 426"/>
              <a:gd name="T39" fmla="*/ 575 h 576"/>
              <a:gd name="T40" fmla="*/ 400 w 426"/>
              <a:gd name="T41" fmla="*/ 524 h 576"/>
              <a:gd name="T42" fmla="*/ 425 w 426"/>
              <a:gd name="T43"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 h="576">
                <a:moveTo>
                  <a:pt x="425" y="475"/>
                </a:moveTo>
                <a:lnTo>
                  <a:pt x="425" y="475"/>
                </a:lnTo>
                <a:cubicBezTo>
                  <a:pt x="400" y="375"/>
                  <a:pt x="400" y="299"/>
                  <a:pt x="375" y="299"/>
                </a:cubicBezTo>
                <a:cubicBezTo>
                  <a:pt x="375" y="299"/>
                  <a:pt x="350" y="375"/>
                  <a:pt x="300" y="375"/>
                </a:cubicBezTo>
                <a:cubicBezTo>
                  <a:pt x="275" y="349"/>
                  <a:pt x="275" y="275"/>
                  <a:pt x="325" y="275"/>
                </a:cubicBezTo>
                <a:cubicBezTo>
                  <a:pt x="350" y="275"/>
                  <a:pt x="400" y="199"/>
                  <a:pt x="400" y="174"/>
                </a:cubicBezTo>
                <a:cubicBezTo>
                  <a:pt x="400" y="149"/>
                  <a:pt x="350" y="149"/>
                  <a:pt x="325" y="149"/>
                </a:cubicBezTo>
                <a:cubicBezTo>
                  <a:pt x="300" y="149"/>
                  <a:pt x="225" y="149"/>
                  <a:pt x="225" y="149"/>
                </a:cubicBezTo>
                <a:cubicBezTo>
                  <a:pt x="225" y="149"/>
                  <a:pt x="175" y="125"/>
                  <a:pt x="175" y="100"/>
                </a:cubicBezTo>
                <a:cubicBezTo>
                  <a:pt x="175" y="76"/>
                  <a:pt x="150" y="50"/>
                  <a:pt x="100" y="50"/>
                </a:cubicBezTo>
                <a:cubicBezTo>
                  <a:pt x="75" y="50"/>
                  <a:pt x="75" y="0"/>
                  <a:pt x="25" y="50"/>
                </a:cubicBezTo>
                <a:cubicBezTo>
                  <a:pt x="0" y="100"/>
                  <a:pt x="100" y="100"/>
                  <a:pt x="100" y="125"/>
                </a:cubicBezTo>
                <a:cubicBezTo>
                  <a:pt x="75" y="174"/>
                  <a:pt x="50" y="149"/>
                  <a:pt x="50" y="174"/>
                </a:cubicBezTo>
                <a:cubicBezTo>
                  <a:pt x="25" y="199"/>
                  <a:pt x="50" y="275"/>
                  <a:pt x="75" y="324"/>
                </a:cubicBezTo>
                <a:cubicBezTo>
                  <a:pt x="75" y="349"/>
                  <a:pt x="100" y="424"/>
                  <a:pt x="100" y="475"/>
                </a:cubicBezTo>
                <a:cubicBezTo>
                  <a:pt x="125" y="475"/>
                  <a:pt x="125" y="475"/>
                  <a:pt x="150" y="475"/>
                </a:cubicBezTo>
                <a:cubicBezTo>
                  <a:pt x="200" y="475"/>
                  <a:pt x="225" y="475"/>
                  <a:pt x="225" y="424"/>
                </a:cubicBezTo>
                <a:cubicBezTo>
                  <a:pt x="250" y="399"/>
                  <a:pt x="275" y="375"/>
                  <a:pt x="300" y="399"/>
                </a:cubicBezTo>
                <a:cubicBezTo>
                  <a:pt x="300" y="399"/>
                  <a:pt x="350" y="475"/>
                  <a:pt x="350" y="524"/>
                </a:cubicBezTo>
                <a:cubicBezTo>
                  <a:pt x="350" y="524"/>
                  <a:pt x="350" y="549"/>
                  <a:pt x="350" y="575"/>
                </a:cubicBezTo>
                <a:cubicBezTo>
                  <a:pt x="375" y="549"/>
                  <a:pt x="400" y="524"/>
                  <a:pt x="400" y="524"/>
                </a:cubicBezTo>
                <a:cubicBezTo>
                  <a:pt x="400" y="524"/>
                  <a:pt x="400" y="499"/>
                  <a:pt x="425" y="4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3" name="Freeform 46">
            <a:extLst>
              <a:ext uri="{FF2B5EF4-FFF2-40B4-BE49-F238E27FC236}">
                <a16:creationId xmlns:a16="http://schemas.microsoft.com/office/drawing/2014/main" id="{4253B1C5-57C1-7F38-9FE8-91D9CC97A5DE}"/>
              </a:ext>
            </a:extLst>
          </p:cNvPr>
          <p:cNvSpPr>
            <a:spLocks noChangeArrowheads="1"/>
          </p:cNvSpPr>
          <p:nvPr/>
        </p:nvSpPr>
        <p:spPr bwMode="auto">
          <a:xfrm>
            <a:off x="5292178" y="2947396"/>
            <a:ext cx="940775" cy="407809"/>
          </a:xfrm>
          <a:custGeom>
            <a:avLst/>
            <a:gdLst>
              <a:gd name="T0" fmla="*/ 2826 w 2952"/>
              <a:gd name="T1" fmla="*/ 526 h 1277"/>
              <a:gd name="T2" fmla="*/ 2651 w 2952"/>
              <a:gd name="T3" fmla="*/ 526 h 1277"/>
              <a:gd name="T4" fmla="*/ 2575 w 2952"/>
              <a:gd name="T5" fmla="*/ 476 h 1277"/>
              <a:gd name="T6" fmla="*/ 2651 w 2952"/>
              <a:gd name="T7" fmla="*/ 276 h 1277"/>
              <a:gd name="T8" fmla="*/ 2501 w 2952"/>
              <a:gd name="T9" fmla="*/ 251 h 1277"/>
              <a:gd name="T10" fmla="*/ 2301 w 2952"/>
              <a:gd name="T11" fmla="*/ 301 h 1277"/>
              <a:gd name="T12" fmla="*/ 2101 w 2952"/>
              <a:gd name="T13" fmla="*/ 351 h 1277"/>
              <a:gd name="T14" fmla="*/ 1875 w 2952"/>
              <a:gd name="T15" fmla="*/ 325 h 1277"/>
              <a:gd name="T16" fmla="*/ 1726 w 2952"/>
              <a:gd name="T17" fmla="*/ 251 h 1277"/>
              <a:gd name="T18" fmla="*/ 1575 w 2952"/>
              <a:gd name="T19" fmla="*/ 201 h 1277"/>
              <a:gd name="T20" fmla="*/ 1426 w 2952"/>
              <a:gd name="T21" fmla="*/ 251 h 1277"/>
              <a:gd name="T22" fmla="*/ 1275 w 2952"/>
              <a:gd name="T23" fmla="*/ 176 h 1277"/>
              <a:gd name="T24" fmla="*/ 1175 w 2952"/>
              <a:gd name="T25" fmla="*/ 76 h 1277"/>
              <a:gd name="T26" fmla="*/ 1050 w 2952"/>
              <a:gd name="T27" fmla="*/ 26 h 1277"/>
              <a:gd name="T28" fmla="*/ 950 w 2952"/>
              <a:gd name="T29" fmla="*/ 26 h 1277"/>
              <a:gd name="T30" fmla="*/ 850 w 2952"/>
              <a:gd name="T31" fmla="*/ 101 h 1277"/>
              <a:gd name="T32" fmla="*/ 901 w 2952"/>
              <a:gd name="T33" fmla="*/ 251 h 1277"/>
              <a:gd name="T34" fmla="*/ 750 w 2952"/>
              <a:gd name="T35" fmla="*/ 276 h 1277"/>
              <a:gd name="T36" fmla="*/ 601 w 2952"/>
              <a:gd name="T37" fmla="*/ 251 h 1277"/>
              <a:gd name="T38" fmla="*/ 425 w 2952"/>
              <a:gd name="T39" fmla="*/ 176 h 1277"/>
              <a:gd name="T40" fmla="*/ 300 w 2952"/>
              <a:gd name="T41" fmla="*/ 201 h 1277"/>
              <a:gd name="T42" fmla="*/ 175 w 2952"/>
              <a:gd name="T43" fmla="*/ 276 h 1277"/>
              <a:gd name="T44" fmla="*/ 25 w 2952"/>
              <a:gd name="T45" fmla="*/ 351 h 1277"/>
              <a:gd name="T46" fmla="*/ 0 w 2952"/>
              <a:gd name="T47" fmla="*/ 376 h 1277"/>
              <a:gd name="T48" fmla="*/ 150 w 2952"/>
              <a:gd name="T49" fmla="*/ 501 h 1277"/>
              <a:gd name="T50" fmla="*/ 300 w 2952"/>
              <a:gd name="T51" fmla="*/ 626 h 1277"/>
              <a:gd name="T52" fmla="*/ 250 w 2952"/>
              <a:gd name="T53" fmla="*/ 801 h 1277"/>
              <a:gd name="T54" fmla="*/ 550 w 2952"/>
              <a:gd name="T55" fmla="*/ 901 h 1277"/>
              <a:gd name="T56" fmla="*/ 675 w 2952"/>
              <a:gd name="T57" fmla="*/ 1026 h 1277"/>
              <a:gd name="T58" fmla="*/ 850 w 2952"/>
              <a:gd name="T59" fmla="*/ 1126 h 1277"/>
              <a:gd name="T60" fmla="*/ 1250 w 2952"/>
              <a:gd name="T61" fmla="*/ 1176 h 1277"/>
              <a:gd name="T62" fmla="*/ 1450 w 2952"/>
              <a:gd name="T63" fmla="*/ 1226 h 1277"/>
              <a:gd name="T64" fmla="*/ 1675 w 2952"/>
              <a:gd name="T65" fmla="*/ 1176 h 1277"/>
              <a:gd name="T66" fmla="*/ 2075 w 2952"/>
              <a:gd name="T67" fmla="*/ 1101 h 1277"/>
              <a:gd name="T68" fmla="*/ 2150 w 2952"/>
              <a:gd name="T69" fmla="*/ 901 h 1277"/>
              <a:gd name="T70" fmla="*/ 2401 w 2952"/>
              <a:gd name="T71" fmla="*/ 851 h 1277"/>
              <a:gd name="T72" fmla="*/ 2626 w 2952"/>
              <a:gd name="T73" fmla="*/ 726 h 1277"/>
              <a:gd name="T74" fmla="*/ 2851 w 2952"/>
              <a:gd name="T75" fmla="*/ 676 h 1277"/>
              <a:gd name="T76" fmla="*/ 2826 w 2952"/>
              <a:gd name="T77" fmla="*/ 526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2" h="1277">
                <a:moveTo>
                  <a:pt x="2826" y="526"/>
                </a:moveTo>
                <a:lnTo>
                  <a:pt x="2826" y="526"/>
                </a:lnTo>
                <a:cubicBezTo>
                  <a:pt x="2801" y="501"/>
                  <a:pt x="2751" y="501"/>
                  <a:pt x="2751" y="526"/>
                </a:cubicBezTo>
                <a:cubicBezTo>
                  <a:pt x="2726" y="576"/>
                  <a:pt x="2701" y="526"/>
                  <a:pt x="2651" y="526"/>
                </a:cubicBezTo>
                <a:cubicBezTo>
                  <a:pt x="2601" y="526"/>
                  <a:pt x="2601" y="551"/>
                  <a:pt x="2551" y="526"/>
                </a:cubicBezTo>
                <a:cubicBezTo>
                  <a:pt x="2526" y="476"/>
                  <a:pt x="2575" y="476"/>
                  <a:pt x="2575" y="476"/>
                </a:cubicBezTo>
                <a:cubicBezTo>
                  <a:pt x="2575" y="426"/>
                  <a:pt x="2575" y="426"/>
                  <a:pt x="2575" y="426"/>
                </a:cubicBezTo>
                <a:cubicBezTo>
                  <a:pt x="2651" y="276"/>
                  <a:pt x="2651" y="276"/>
                  <a:pt x="2651" y="276"/>
                </a:cubicBezTo>
                <a:cubicBezTo>
                  <a:pt x="2626" y="276"/>
                  <a:pt x="2601" y="251"/>
                  <a:pt x="2575" y="276"/>
                </a:cubicBezTo>
                <a:cubicBezTo>
                  <a:pt x="2551" y="276"/>
                  <a:pt x="2501" y="276"/>
                  <a:pt x="2501" y="251"/>
                </a:cubicBezTo>
                <a:cubicBezTo>
                  <a:pt x="2501" y="225"/>
                  <a:pt x="2401" y="225"/>
                  <a:pt x="2375" y="251"/>
                </a:cubicBezTo>
                <a:cubicBezTo>
                  <a:pt x="2351" y="251"/>
                  <a:pt x="2301" y="276"/>
                  <a:pt x="2301" y="301"/>
                </a:cubicBezTo>
                <a:cubicBezTo>
                  <a:pt x="2301" y="325"/>
                  <a:pt x="2251" y="301"/>
                  <a:pt x="2226" y="325"/>
                </a:cubicBezTo>
                <a:cubicBezTo>
                  <a:pt x="2201" y="325"/>
                  <a:pt x="2101" y="351"/>
                  <a:pt x="2101" y="351"/>
                </a:cubicBezTo>
                <a:cubicBezTo>
                  <a:pt x="2101" y="376"/>
                  <a:pt x="2001" y="376"/>
                  <a:pt x="1975" y="351"/>
                </a:cubicBezTo>
                <a:cubicBezTo>
                  <a:pt x="1975" y="351"/>
                  <a:pt x="1875" y="351"/>
                  <a:pt x="1875" y="325"/>
                </a:cubicBezTo>
                <a:cubicBezTo>
                  <a:pt x="1850" y="301"/>
                  <a:pt x="1826" y="301"/>
                  <a:pt x="1826" y="276"/>
                </a:cubicBezTo>
                <a:cubicBezTo>
                  <a:pt x="1826" y="251"/>
                  <a:pt x="1750" y="251"/>
                  <a:pt x="1726" y="251"/>
                </a:cubicBezTo>
                <a:cubicBezTo>
                  <a:pt x="1726" y="225"/>
                  <a:pt x="1675" y="225"/>
                  <a:pt x="1675" y="225"/>
                </a:cubicBezTo>
                <a:cubicBezTo>
                  <a:pt x="1650" y="225"/>
                  <a:pt x="1601" y="201"/>
                  <a:pt x="1575" y="201"/>
                </a:cubicBezTo>
                <a:cubicBezTo>
                  <a:pt x="1550" y="201"/>
                  <a:pt x="1501" y="225"/>
                  <a:pt x="1501" y="225"/>
                </a:cubicBezTo>
                <a:cubicBezTo>
                  <a:pt x="1475" y="225"/>
                  <a:pt x="1450" y="251"/>
                  <a:pt x="1426" y="251"/>
                </a:cubicBezTo>
                <a:cubicBezTo>
                  <a:pt x="1401" y="251"/>
                  <a:pt x="1350" y="225"/>
                  <a:pt x="1350" y="225"/>
                </a:cubicBezTo>
                <a:cubicBezTo>
                  <a:pt x="1326" y="225"/>
                  <a:pt x="1301" y="201"/>
                  <a:pt x="1275" y="176"/>
                </a:cubicBezTo>
                <a:cubicBezTo>
                  <a:pt x="1275" y="151"/>
                  <a:pt x="1275" y="126"/>
                  <a:pt x="1275" y="101"/>
                </a:cubicBezTo>
                <a:cubicBezTo>
                  <a:pt x="1250" y="76"/>
                  <a:pt x="1201" y="76"/>
                  <a:pt x="1175" y="76"/>
                </a:cubicBezTo>
                <a:cubicBezTo>
                  <a:pt x="1150" y="51"/>
                  <a:pt x="1125" y="51"/>
                  <a:pt x="1101" y="51"/>
                </a:cubicBezTo>
                <a:lnTo>
                  <a:pt x="1050" y="26"/>
                </a:lnTo>
                <a:cubicBezTo>
                  <a:pt x="1050" y="26"/>
                  <a:pt x="1001" y="0"/>
                  <a:pt x="975" y="0"/>
                </a:cubicBezTo>
                <a:lnTo>
                  <a:pt x="950" y="26"/>
                </a:lnTo>
                <a:cubicBezTo>
                  <a:pt x="950" y="51"/>
                  <a:pt x="901" y="51"/>
                  <a:pt x="901" y="76"/>
                </a:cubicBezTo>
                <a:lnTo>
                  <a:pt x="850" y="101"/>
                </a:lnTo>
                <a:cubicBezTo>
                  <a:pt x="875" y="126"/>
                  <a:pt x="875" y="176"/>
                  <a:pt x="901" y="201"/>
                </a:cubicBezTo>
                <a:cubicBezTo>
                  <a:pt x="901" y="201"/>
                  <a:pt x="901" y="225"/>
                  <a:pt x="901" y="251"/>
                </a:cubicBezTo>
                <a:cubicBezTo>
                  <a:pt x="875" y="251"/>
                  <a:pt x="825" y="276"/>
                  <a:pt x="825" y="276"/>
                </a:cubicBezTo>
                <a:cubicBezTo>
                  <a:pt x="801" y="301"/>
                  <a:pt x="775" y="276"/>
                  <a:pt x="750" y="276"/>
                </a:cubicBezTo>
                <a:cubicBezTo>
                  <a:pt x="725" y="251"/>
                  <a:pt x="675" y="251"/>
                  <a:pt x="675" y="276"/>
                </a:cubicBezTo>
                <a:cubicBezTo>
                  <a:pt x="650" y="276"/>
                  <a:pt x="601" y="251"/>
                  <a:pt x="601" y="251"/>
                </a:cubicBezTo>
                <a:cubicBezTo>
                  <a:pt x="575" y="225"/>
                  <a:pt x="575" y="176"/>
                  <a:pt x="575" y="176"/>
                </a:cubicBezTo>
                <a:cubicBezTo>
                  <a:pt x="550" y="201"/>
                  <a:pt x="450" y="176"/>
                  <a:pt x="425" y="176"/>
                </a:cubicBezTo>
                <a:cubicBezTo>
                  <a:pt x="425" y="151"/>
                  <a:pt x="375" y="151"/>
                  <a:pt x="375" y="176"/>
                </a:cubicBezTo>
                <a:cubicBezTo>
                  <a:pt x="350" y="201"/>
                  <a:pt x="300" y="176"/>
                  <a:pt x="300" y="201"/>
                </a:cubicBezTo>
                <a:cubicBezTo>
                  <a:pt x="300" y="225"/>
                  <a:pt x="250" y="225"/>
                  <a:pt x="250" y="251"/>
                </a:cubicBezTo>
                <a:cubicBezTo>
                  <a:pt x="225" y="251"/>
                  <a:pt x="175" y="251"/>
                  <a:pt x="175" y="276"/>
                </a:cubicBezTo>
                <a:cubicBezTo>
                  <a:pt x="150" y="301"/>
                  <a:pt x="100" y="325"/>
                  <a:pt x="75" y="325"/>
                </a:cubicBezTo>
                <a:cubicBezTo>
                  <a:pt x="75" y="325"/>
                  <a:pt x="25" y="325"/>
                  <a:pt x="25" y="351"/>
                </a:cubicBezTo>
                <a:lnTo>
                  <a:pt x="0" y="351"/>
                </a:lnTo>
                <a:cubicBezTo>
                  <a:pt x="0" y="351"/>
                  <a:pt x="0" y="351"/>
                  <a:pt x="0" y="376"/>
                </a:cubicBezTo>
                <a:cubicBezTo>
                  <a:pt x="25" y="426"/>
                  <a:pt x="50" y="426"/>
                  <a:pt x="75" y="451"/>
                </a:cubicBezTo>
                <a:cubicBezTo>
                  <a:pt x="100" y="476"/>
                  <a:pt x="125" y="501"/>
                  <a:pt x="150" y="501"/>
                </a:cubicBezTo>
                <a:cubicBezTo>
                  <a:pt x="200" y="501"/>
                  <a:pt x="225" y="526"/>
                  <a:pt x="250" y="576"/>
                </a:cubicBezTo>
                <a:cubicBezTo>
                  <a:pt x="250" y="601"/>
                  <a:pt x="275" y="626"/>
                  <a:pt x="300" y="626"/>
                </a:cubicBezTo>
                <a:cubicBezTo>
                  <a:pt x="300" y="651"/>
                  <a:pt x="275" y="701"/>
                  <a:pt x="275" y="726"/>
                </a:cubicBezTo>
                <a:cubicBezTo>
                  <a:pt x="275" y="776"/>
                  <a:pt x="250" y="776"/>
                  <a:pt x="250" y="801"/>
                </a:cubicBezTo>
                <a:cubicBezTo>
                  <a:pt x="275" y="851"/>
                  <a:pt x="425" y="851"/>
                  <a:pt x="475" y="851"/>
                </a:cubicBezTo>
                <a:cubicBezTo>
                  <a:pt x="525" y="851"/>
                  <a:pt x="525" y="901"/>
                  <a:pt x="550" y="901"/>
                </a:cubicBezTo>
                <a:cubicBezTo>
                  <a:pt x="575" y="901"/>
                  <a:pt x="575" y="926"/>
                  <a:pt x="601" y="951"/>
                </a:cubicBezTo>
                <a:cubicBezTo>
                  <a:pt x="625" y="951"/>
                  <a:pt x="675" y="976"/>
                  <a:pt x="675" y="1026"/>
                </a:cubicBezTo>
                <a:cubicBezTo>
                  <a:pt x="701" y="1076"/>
                  <a:pt x="725" y="1101"/>
                  <a:pt x="725" y="1126"/>
                </a:cubicBezTo>
                <a:cubicBezTo>
                  <a:pt x="725" y="1151"/>
                  <a:pt x="801" y="1126"/>
                  <a:pt x="850" y="1126"/>
                </a:cubicBezTo>
                <a:cubicBezTo>
                  <a:pt x="901" y="1126"/>
                  <a:pt x="1050" y="1126"/>
                  <a:pt x="1075" y="1126"/>
                </a:cubicBezTo>
                <a:cubicBezTo>
                  <a:pt x="1125" y="1151"/>
                  <a:pt x="1201" y="1126"/>
                  <a:pt x="1250" y="1176"/>
                </a:cubicBezTo>
                <a:cubicBezTo>
                  <a:pt x="1301" y="1201"/>
                  <a:pt x="1326" y="1176"/>
                  <a:pt x="1350" y="1201"/>
                </a:cubicBezTo>
                <a:cubicBezTo>
                  <a:pt x="1375" y="1226"/>
                  <a:pt x="1401" y="1226"/>
                  <a:pt x="1450" y="1226"/>
                </a:cubicBezTo>
                <a:cubicBezTo>
                  <a:pt x="1501" y="1226"/>
                  <a:pt x="1501" y="1251"/>
                  <a:pt x="1526" y="1251"/>
                </a:cubicBezTo>
                <a:cubicBezTo>
                  <a:pt x="1550" y="1276"/>
                  <a:pt x="1601" y="1201"/>
                  <a:pt x="1675" y="1176"/>
                </a:cubicBezTo>
                <a:cubicBezTo>
                  <a:pt x="1750" y="1126"/>
                  <a:pt x="1850" y="1151"/>
                  <a:pt x="1901" y="1176"/>
                </a:cubicBezTo>
                <a:cubicBezTo>
                  <a:pt x="1926" y="1176"/>
                  <a:pt x="2026" y="1151"/>
                  <a:pt x="2075" y="1101"/>
                </a:cubicBezTo>
                <a:cubicBezTo>
                  <a:pt x="2101" y="1051"/>
                  <a:pt x="2175" y="1051"/>
                  <a:pt x="2175" y="1001"/>
                </a:cubicBezTo>
                <a:cubicBezTo>
                  <a:pt x="2175" y="951"/>
                  <a:pt x="2126" y="926"/>
                  <a:pt x="2150" y="901"/>
                </a:cubicBezTo>
                <a:cubicBezTo>
                  <a:pt x="2175" y="851"/>
                  <a:pt x="2226" y="851"/>
                  <a:pt x="2251" y="876"/>
                </a:cubicBezTo>
                <a:cubicBezTo>
                  <a:pt x="2275" y="876"/>
                  <a:pt x="2326" y="901"/>
                  <a:pt x="2401" y="851"/>
                </a:cubicBezTo>
                <a:cubicBezTo>
                  <a:pt x="2451" y="826"/>
                  <a:pt x="2475" y="826"/>
                  <a:pt x="2526" y="826"/>
                </a:cubicBezTo>
                <a:cubicBezTo>
                  <a:pt x="2601" y="801"/>
                  <a:pt x="2575" y="776"/>
                  <a:pt x="2626" y="726"/>
                </a:cubicBezTo>
                <a:cubicBezTo>
                  <a:pt x="2651" y="701"/>
                  <a:pt x="2701" y="701"/>
                  <a:pt x="2726" y="701"/>
                </a:cubicBezTo>
                <a:cubicBezTo>
                  <a:pt x="2775" y="701"/>
                  <a:pt x="2826" y="651"/>
                  <a:pt x="2851" y="676"/>
                </a:cubicBezTo>
                <a:cubicBezTo>
                  <a:pt x="2901" y="676"/>
                  <a:pt x="2951" y="676"/>
                  <a:pt x="2951" y="651"/>
                </a:cubicBezTo>
                <a:cubicBezTo>
                  <a:pt x="2951" y="626"/>
                  <a:pt x="2851" y="551"/>
                  <a:pt x="2826" y="52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4" name="Freeform 50">
            <a:extLst>
              <a:ext uri="{FF2B5EF4-FFF2-40B4-BE49-F238E27FC236}">
                <a16:creationId xmlns:a16="http://schemas.microsoft.com/office/drawing/2014/main" id="{8459F008-EED4-0614-AED6-583F4D362123}"/>
              </a:ext>
            </a:extLst>
          </p:cNvPr>
          <p:cNvSpPr>
            <a:spLocks noChangeArrowheads="1"/>
          </p:cNvSpPr>
          <p:nvPr/>
        </p:nvSpPr>
        <p:spPr bwMode="auto">
          <a:xfrm>
            <a:off x="4750776" y="3282079"/>
            <a:ext cx="327655" cy="143436"/>
          </a:xfrm>
          <a:custGeom>
            <a:avLst/>
            <a:gdLst>
              <a:gd name="T0" fmla="*/ 950 w 1026"/>
              <a:gd name="T1" fmla="*/ 100 h 451"/>
              <a:gd name="T2" fmla="*/ 950 w 1026"/>
              <a:gd name="T3" fmla="*/ 100 h 451"/>
              <a:gd name="T4" fmla="*/ 850 w 1026"/>
              <a:gd name="T5" fmla="*/ 75 h 451"/>
              <a:gd name="T6" fmla="*/ 625 w 1026"/>
              <a:gd name="T7" fmla="*/ 50 h 451"/>
              <a:gd name="T8" fmla="*/ 500 w 1026"/>
              <a:gd name="T9" fmla="*/ 25 h 451"/>
              <a:gd name="T10" fmla="*/ 399 w 1026"/>
              <a:gd name="T11" fmla="*/ 50 h 451"/>
              <a:gd name="T12" fmla="*/ 300 w 1026"/>
              <a:gd name="T13" fmla="*/ 75 h 451"/>
              <a:gd name="T14" fmla="*/ 174 w 1026"/>
              <a:gd name="T15" fmla="*/ 75 h 451"/>
              <a:gd name="T16" fmla="*/ 125 w 1026"/>
              <a:gd name="T17" fmla="*/ 150 h 451"/>
              <a:gd name="T18" fmla="*/ 100 w 1026"/>
              <a:gd name="T19" fmla="*/ 200 h 451"/>
              <a:gd name="T20" fmla="*/ 125 w 1026"/>
              <a:gd name="T21" fmla="*/ 225 h 451"/>
              <a:gd name="T22" fmla="*/ 200 w 1026"/>
              <a:gd name="T23" fmla="*/ 225 h 451"/>
              <a:gd name="T24" fmla="*/ 325 w 1026"/>
              <a:gd name="T25" fmla="*/ 275 h 451"/>
              <a:gd name="T26" fmla="*/ 300 w 1026"/>
              <a:gd name="T27" fmla="*/ 325 h 451"/>
              <a:gd name="T28" fmla="*/ 200 w 1026"/>
              <a:gd name="T29" fmla="*/ 350 h 451"/>
              <a:gd name="T30" fmla="*/ 74 w 1026"/>
              <a:gd name="T31" fmla="*/ 350 h 451"/>
              <a:gd name="T32" fmla="*/ 0 w 1026"/>
              <a:gd name="T33" fmla="*/ 425 h 451"/>
              <a:gd name="T34" fmla="*/ 125 w 1026"/>
              <a:gd name="T35" fmla="*/ 425 h 451"/>
              <a:gd name="T36" fmla="*/ 225 w 1026"/>
              <a:gd name="T37" fmla="*/ 425 h 451"/>
              <a:gd name="T38" fmla="*/ 300 w 1026"/>
              <a:gd name="T39" fmla="*/ 450 h 451"/>
              <a:gd name="T40" fmla="*/ 425 w 1026"/>
              <a:gd name="T41" fmla="*/ 425 h 451"/>
              <a:gd name="T42" fmla="*/ 425 w 1026"/>
              <a:gd name="T43" fmla="*/ 400 h 451"/>
              <a:gd name="T44" fmla="*/ 475 w 1026"/>
              <a:gd name="T45" fmla="*/ 375 h 451"/>
              <a:gd name="T46" fmla="*/ 525 w 1026"/>
              <a:gd name="T47" fmla="*/ 325 h 451"/>
              <a:gd name="T48" fmla="*/ 575 w 1026"/>
              <a:gd name="T49" fmla="*/ 325 h 451"/>
              <a:gd name="T50" fmla="*/ 650 w 1026"/>
              <a:gd name="T51" fmla="*/ 325 h 451"/>
              <a:gd name="T52" fmla="*/ 700 w 1026"/>
              <a:gd name="T53" fmla="*/ 300 h 451"/>
              <a:gd name="T54" fmla="*/ 775 w 1026"/>
              <a:gd name="T55" fmla="*/ 275 h 451"/>
              <a:gd name="T56" fmla="*/ 850 w 1026"/>
              <a:gd name="T57" fmla="*/ 225 h 451"/>
              <a:gd name="T58" fmla="*/ 925 w 1026"/>
              <a:gd name="T59" fmla="*/ 175 h 451"/>
              <a:gd name="T60" fmla="*/ 1025 w 1026"/>
              <a:gd name="T61" fmla="*/ 150 h 451"/>
              <a:gd name="T62" fmla="*/ 1025 w 1026"/>
              <a:gd name="T63" fmla="*/ 125 h 451"/>
              <a:gd name="T64" fmla="*/ 950 w 1026"/>
              <a:gd name="T65" fmla="*/ 10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6" h="451">
                <a:moveTo>
                  <a:pt x="950" y="100"/>
                </a:moveTo>
                <a:lnTo>
                  <a:pt x="950" y="100"/>
                </a:lnTo>
                <a:cubicBezTo>
                  <a:pt x="900" y="50"/>
                  <a:pt x="900" y="75"/>
                  <a:pt x="850" y="75"/>
                </a:cubicBezTo>
                <a:cubicBezTo>
                  <a:pt x="825" y="50"/>
                  <a:pt x="650" y="50"/>
                  <a:pt x="625" y="50"/>
                </a:cubicBezTo>
                <a:cubicBezTo>
                  <a:pt x="575" y="75"/>
                  <a:pt x="525" y="25"/>
                  <a:pt x="500" y="25"/>
                </a:cubicBezTo>
                <a:cubicBezTo>
                  <a:pt x="475" y="0"/>
                  <a:pt x="399" y="25"/>
                  <a:pt x="399" y="50"/>
                </a:cubicBezTo>
                <a:cubicBezTo>
                  <a:pt x="399" y="100"/>
                  <a:pt x="350" y="100"/>
                  <a:pt x="300" y="75"/>
                </a:cubicBezTo>
                <a:cubicBezTo>
                  <a:pt x="250" y="50"/>
                  <a:pt x="174" y="50"/>
                  <a:pt x="174" y="75"/>
                </a:cubicBezTo>
                <a:cubicBezTo>
                  <a:pt x="174" y="100"/>
                  <a:pt x="150" y="125"/>
                  <a:pt x="125" y="150"/>
                </a:cubicBezTo>
                <a:cubicBezTo>
                  <a:pt x="125" y="150"/>
                  <a:pt x="100" y="175"/>
                  <a:pt x="100" y="200"/>
                </a:cubicBezTo>
                <a:cubicBezTo>
                  <a:pt x="125" y="200"/>
                  <a:pt x="125" y="200"/>
                  <a:pt x="125" y="225"/>
                </a:cubicBezTo>
                <a:cubicBezTo>
                  <a:pt x="150" y="250"/>
                  <a:pt x="200" y="250"/>
                  <a:pt x="200" y="225"/>
                </a:cubicBezTo>
                <a:cubicBezTo>
                  <a:pt x="225" y="200"/>
                  <a:pt x="300" y="250"/>
                  <a:pt x="325" y="275"/>
                </a:cubicBezTo>
                <a:cubicBezTo>
                  <a:pt x="375" y="325"/>
                  <a:pt x="325" y="300"/>
                  <a:pt x="300" y="325"/>
                </a:cubicBezTo>
                <a:cubicBezTo>
                  <a:pt x="274" y="350"/>
                  <a:pt x="225" y="325"/>
                  <a:pt x="200" y="350"/>
                </a:cubicBezTo>
                <a:cubicBezTo>
                  <a:pt x="200" y="350"/>
                  <a:pt x="100" y="350"/>
                  <a:pt x="74" y="350"/>
                </a:cubicBezTo>
                <a:cubicBezTo>
                  <a:pt x="50" y="350"/>
                  <a:pt x="0" y="400"/>
                  <a:pt x="0" y="425"/>
                </a:cubicBezTo>
                <a:cubicBezTo>
                  <a:pt x="0" y="425"/>
                  <a:pt x="100" y="400"/>
                  <a:pt x="125" y="425"/>
                </a:cubicBezTo>
                <a:cubicBezTo>
                  <a:pt x="174" y="450"/>
                  <a:pt x="200" y="400"/>
                  <a:pt x="225" y="425"/>
                </a:cubicBezTo>
                <a:cubicBezTo>
                  <a:pt x="250" y="450"/>
                  <a:pt x="274" y="425"/>
                  <a:pt x="300" y="450"/>
                </a:cubicBezTo>
                <a:cubicBezTo>
                  <a:pt x="325" y="450"/>
                  <a:pt x="425" y="425"/>
                  <a:pt x="425" y="425"/>
                </a:cubicBezTo>
                <a:lnTo>
                  <a:pt x="425" y="400"/>
                </a:lnTo>
                <a:cubicBezTo>
                  <a:pt x="425" y="375"/>
                  <a:pt x="450" y="375"/>
                  <a:pt x="475" y="375"/>
                </a:cubicBezTo>
                <a:cubicBezTo>
                  <a:pt x="500" y="350"/>
                  <a:pt x="525" y="325"/>
                  <a:pt x="525" y="325"/>
                </a:cubicBezTo>
                <a:cubicBezTo>
                  <a:pt x="550" y="325"/>
                  <a:pt x="575" y="300"/>
                  <a:pt x="575" y="325"/>
                </a:cubicBezTo>
                <a:cubicBezTo>
                  <a:pt x="599" y="325"/>
                  <a:pt x="625" y="350"/>
                  <a:pt x="650" y="325"/>
                </a:cubicBezTo>
                <a:cubicBezTo>
                  <a:pt x="675" y="325"/>
                  <a:pt x="675" y="325"/>
                  <a:pt x="700" y="300"/>
                </a:cubicBezTo>
                <a:cubicBezTo>
                  <a:pt x="725" y="250"/>
                  <a:pt x="750" y="275"/>
                  <a:pt x="775" y="275"/>
                </a:cubicBezTo>
                <a:cubicBezTo>
                  <a:pt x="825" y="275"/>
                  <a:pt x="850" y="250"/>
                  <a:pt x="850" y="225"/>
                </a:cubicBezTo>
                <a:cubicBezTo>
                  <a:pt x="875" y="200"/>
                  <a:pt x="900" y="200"/>
                  <a:pt x="925" y="175"/>
                </a:cubicBezTo>
                <a:cubicBezTo>
                  <a:pt x="950" y="175"/>
                  <a:pt x="1000" y="150"/>
                  <a:pt x="1025" y="150"/>
                </a:cubicBezTo>
                <a:lnTo>
                  <a:pt x="1025" y="125"/>
                </a:lnTo>
                <a:cubicBezTo>
                  <a:pt x="1000" y="100"/>
                  <a:pt x="975" y="125"/>
                  <a:pt x="950"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5" name="Freeform 53">
            <a:extLst>
              <a:ext uri="{FF2B5EF4-FFF2-40B4-BE49-F238E27FC236}">
                <a16:creationId xmlns:a16="http://schemas.microsoft.com/office/drawing/2014/main" id="{606BA517-4862-9802-E84E-3ED55FCFD136}"/>
              </a:ext>
            </a:extLst>
          </p:cNvPr>
          <p:cNvSpPr>
            <a:spLocks noChangeArrowheads="1"/>
          </p:cNvSpPr>
          <p:nvPr/>
        </p:nvSpPr>
        <p:spPr bwMode="auto">
          <a:xfrm>
            <a:off x="5013742" y="3545047"/>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6" name="Freeform 54">
            <a:extLst>
              <a:ext uri="{FF2B5EF4-FFF2-40B4-BE49-F238E27FC236}">
                <a16:creationId xmlns:a16="http://schemas.microsoft.com/office/drawing/2014/main" id="{9B06D751-CBE1-789A-FEC2-D5913DEEA895}"/>
              </a:ext>
            </a:extLst>
          </p:cNvPr>
          <p:cNvSpPr>
            <a:spLocks noChangeArrowheads="1"/>
          </p:cNvSpPr>
          <p:nvPr/>
        </p:nvSpPr>
        <p:spPr bwMode="auto">
          <a:xfrm>
            <a:off x="6360922" y="3297549"/>
            <a:ext cx="208124" cy="191249"/>
          </a:xfrm>
          <a:custGeom>
            <a:avLst/>
            <a:gdLst>
              <a:gd name="T0" fmla="*/ 625 w 651"/>
              <a:gd name="T1" fmla="*/ 25 h 601"/>
              <a:gd name="T2" fmla="*/ 625 w 651"/>
              <a:gd name="T3" fmla="*/ 25 h 601"/>
              <a:gd name="T4" fmla="*/ 550 w 651"/>
              <a:gd name="T5" fmla="*/ 0 h 601"/>
              <a:gd name="T6" fmla="*/ 500 w 651"/>
              <a:gd name="T7" fmla="*/ 75 h 601"/>
              <a:gd name="T8" fmla="*/ 425 w 651"/>
              <a:gd name="T9" fmla="*/ 125 h 601"/>
              <a:gd name="T10" fmla="*/ 400 w 651"/>
              <a:gd name="T11" fmla="*/ 150 h 601"/>
              <a:gd name="T12" fmla="*/ 325 w 651"/>
              <a:gd name="T13" fmla="*/ 175 h 601"/>
              <a:gd name="T14" fmla="*/ 275 w 651"/>
              <a:gd name="T15" fmla="*/ 150 h 601"/>
              <a:gd name="T16" fmla="*/ 200 w 651"/>
              <a:gd name="T17" fmla="*/ 200 h 601"/>
              <a:gd name="T18" fmla="*/ 25 w 651"/>
              <a:gd name="T19" fmla="*/ 300 h 601"/>
              <a:gd name="T20" fmla="*/ 0 w 651"/>
              <a:gd name="T21" fmla="*/ 350 h 601"/>
              <a:gd name="T22" fmla="*/ 125 w 651"/>
              <a:gd name="T23" fmla="*/ 400 h 601"/>
              <a:gd name="T24" fmla="*/ 50 w 651"/>
              <a:gd name="T25" fmla="*/ 500 h 601"/>
              <a:gd name="T26" fmla="*/ 75 w 651"/>
              <a:gd name="T27" fmla="*/ 550 h 601"/>
              <a:gd name="T28" fmla="*/ 125 w 651"/>
              <a:gd name="T29" fmla="*/ 575 h 601"/>
              <a:gd name="T30" fmla="*/ 200 w 651"/>
              <a:gd name="T31" fmla="*/ 575 h 601"/>
              <a:gd name="T32" fmla="*/ 225 w 651"/>
              <a:gd name="T33" fmla="*/ 575 h 601"/>
              <a:gd name="T34" fmla="*/ 275 w 651"/>
              <a:gd name="T35" fmla="*/ 550 h 601"/>
              <a:gd name="T36" fmla="*/ 350 w 651"/>
              <a:gd name="T37" fmla="*/ 525 h 601"/>
              <a:gd name="T38" fmla="*/ 400 w 651"/>
              <a:gd name="T39" fmla="*/ 500 h 601"/>
              <a:gd name="T40" fmla="*/ 325 w 651"/>
              <a:gd name="T41" fmla="*/ 425 h 601"/>
              <a:gd name="T42" fmla="*/ 350 w 651"/>
              <a:gd name="T43" fmla="*/ 350 h 601"/>
              <a:gd name="T44" fmla="*/ 525 w 651"/>
              <a:gd name="T45" fmla="*/ 250 h 601"/>
              <a:gd name="T46" fmla="*/ 550 w 651"/>
              <a:gd name="T47" fmla="*/ 125 h 601"/>
              <a:gd name="T48" fmla="*/ 650 w 651"/>
              <a:gd name="T49" fmla="*/ 25 h 601"/>
              <a:gd name="T50" fmla="*/ 625 w 651"/>
              <a:gd name="T51" fmla="*/ 2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1" h="601">
                <a:moveTo>
                  <a:pt x="625" y="25"/>
                </a:moveTo>
                <a:lnTo>
                  <a:pt x="625" y="25"/>
                </a:lnTo>
                <a:cubicBezTo>
                  <a:pt x="600" y="25"/>
                  <a:pt x="575" y="0"/>
                  <a:pt x="550" y="0"/>
                </a:cubicBezTo>
                <a:cubicBezTo>
                  <a:pt x="525" y="0"/>
                  <a:pt x="525" y="75"/>
                  <a:pt x="500" y="75"/>
                </a:cubicBezTo>
                <a:cubicBezTo>
                  <a:pt x="450" y="75"/>
                  <a:pt x="475" y="100"/>
                  <a:pt x="425" y="125"/>
                </a:cubicBezTo>
                <a:cubicBezTo>
                  <a:pt x="375" y="125"/>
                  <a:pt x="375" y="125"/>
                  <a:pt x="400" y="150"/>
                </a:cubicBezTo>
                <a:cubicBezTo>
                  <a:pt x="400" y="175"/>
                  <a:pt x="375" y="175"/>
                  <a:pt x="325" y="175"/>
                </a:cubicBezTo>
                <a:cubicBezTo>
                  <a:pt x="300" y="175"/>
                  <a:pt x="300" y="150"/>
                  <a:pt x="275" y="150"/>
                </a:cubicBezTo>
                <a:cubicBezTo>
                  <a:pt x="250" y="150"/>
                  <a:pt x="225" y="200"/>
                  <a:pt x="200" y="200"/>
                </a:cubicBezTo>
                <a:cubicBezTo>
                  <a:pt x="200" y="225"/>
                  <a:pt x="75" y="300"/>
                  <a:pt x="25" y="300"/>
                </a:cubicBezTo>
                <a:cubicBezTo>
                  <a:pt x="25" y="325"/>
                  <a:pt x="25" y="325"/>
                  <a:pt x="0" y="350"/>
                </a:cubicBezTo>
                <a:cubicBezTo>
                  <a:pt x="50" y="350"/>
                  <a:pt x="100" y="375"/>
                  <a:pt x="125" y="400"/>
                </a:cubicBezTo>
                <a:cubicBezTo>
                  <a:pt x="150" y="425"/>
                  <a:pt x="75" y="475"/>
                  <a:pt x="50" y="500"/>
                </a:cubicBezTo>
                <a:cubicBezTo>
                  <a:pt x="25" y="525"/>
                  <a:pt x="75" y="525"/>
                  <a:pt x="75" y="550"/>
                </a:cubicBezTo>
                <a:cubicBezTo>
                  <a:pt x="75" y="575"/>
                  <a:pt x="100" y="600"/>
                  <a:pt x="125" y="575"/>
                </a:cubicBezTo>
                <a:cubicBezTo>
                  <a:pt x="125" y="575"/>
                  <a:pt x="150" y="575"/>
                  <a:pt x="200" y="575"/>
                </a:cubicBezTo>
                <a:cubicBezTo>
                  <a:pt x="200" y="575"/>
                  <a:pt x="200" y="575"/>
                  <a:pt x="225" y="575"/>
                </a:cubicBezTo>
                <a:lnTo>
                  <a:pt x="275" y="550"/>
                </a:lnTo>
                <a:cubicBezTo>
                  <a:pt x="275" y="525"/>
                  <a:pt x="325" y="525"/>
                  <a:pt x="350" y="525"/>
                </a:cubicBezTo>
                <a:cubicBezTo>
                  <a:pt x="375" y="525"/>
                  <a:pt x="400" y="525"/>
                  <a:pt x="400" y="500"/>
                </a:cubicBezTo>
                <a:cubicBezTo>
                  <a:pt x="375" y="475"/>
                  <a:pt x="325" y="425"/>
                  <a:pt x="325" y="425"/>
                </a:cubicBezTo>
                <a:cubicBezTo>
                  <a:pt x="300" y="400"/>
                  <a:pt x="300" y="350"/>
                  <a:pt x="350" y="350"/>
                </a:cubicBezTo>
                <a:cubicBezTo>
                  <a:pt x="400" y="325"/>
                  <a:pt x="475" y="250"/>
                  <a:pt x="525" y="250"/>
                </a:cubicBezTo>
                <a:cubicBezTo>
                  <a:pt x="550" y="225"/>
                  <a:pt x="525" y="175"/>
                  <a:pt x="550" y="125"/>
                </a:cubicBezTo>
                <a:cubicBezTo>
                  <a:pt x="550" y="100"/>
                  <a:pt x="600" y="75"/>
                  <a:pt x="650" y="25"/>
                </a:cubicBezTo>
                <a:lnTo>
                  <a:pt x="625" y="25"/>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7" name="Freeform 55">
            <a:extLst>
              <a:ext uri="{FF2B5EF4-FFF2-40B4-BE49-F238E27FC236}">
                <a16:creationId xmlns:a16="http://schemas.microsoft.com/office/drawing/2014/main" id="{935ED7F6-530D-2CA1-3622-C090F2ECB6A2}"/>
              </a:ext>
            </a:extLst>
          </p:cNvPr>
          <p:cNvSpPr>
            <a:spLocks noChangeArrowheads="1"/>
          </p:cNvSpPr>
          <p:nvPr/>
        </p:nvSpPr>
        <p:spPr bwMode="auto">
          <a:xfrm>
            <a:off x="5069991" y="3736295"/>
            <a:ext cx="232029" cy="127968"/>
          </a:xfrm>
          <a:custGeom>
            <a:avLst/>
            <a:gdLst>
              <a:gd name="T0" fmla="*/ 725 w 726"/>
              <a:gd name="T1" fmla="*/ 251 h 401"/>
              <a:gd name="T2" fmla="*/ 725 w 726"/>
              <a:gd name="T3" fmla="*/ 251 h 401"/>
              <a:gd name="T4" fmla="*/ 700 w 726"/>
              <a:gd name="T5" fmla="*/ 251 h 401"/>
              <a:gd name="T6" fmla="*/ 575 w 726"/>
              <a:gd name="T7" fmla="*/ 225 h 401"/>
              <a:gd name="T8" fmla="*/ 400 w 726"/>
              <a:gd name="T9" fmla="*/ 151 h 401"/>
              <a:gd name="T10" fmla="*/ 200 w 726"/>
              <a:gd name="T11" fmla="*/ 25 h 401"/>
              <a:gd name="T12" fmla="*/ 125 w 726"/>
              <a:gd name="T13" fmla="*/ 0 h 401"/>
              <a:gd name="T14" fmla="*/ 75 w 726"/>
              <a:gd name="T15" fmla="*/ 25 h 401"/>
              <a:gd name="T16" fmla="*/ 25 w 726"/>
              <a:gd name="T17" fmla="*/ 75 h 401"/>
              <a:gd name="T18" fmla="*/ 0 w 726"/>
              <a:gd name="T19" fmla="*/ 151 h 401"/>
              <a:gd name="T20" fmla="*/ 50 w 726"/>
              <a:gd name="T21" fmla="*/ 175 h 401"/>
              <a:gd name="T22" fmla="*/ 125 w 726"/>
              <a:gd name="T23" fmla="*/ 225 h 401"/>
              <a:gd name="T24" fmla="*/ 200 w 726"/>
              <a:gd name="T25" fmla="*/ 251 h 401"/>
              <a:gd name="T26" fmla="*/ 275 w 726"/>
              <a:gd name="T27" fmla="*/ 300 h 401"/>
              <a:gd name="T28" fmla="*/ 375 w 726"/>
              <a:gd name="T29" fmla="*/ 275 h 401"/>
              <a:gd name="T30" fmla="*/ 425 w 726"/>
              <a:gd name="T31" fmla="*/ 351 h 401"/>
              <a:gd name="T32" fmla="*/ 550 w 726"/>
              <a:gd name="T33" fmla="*/ 375 h 401"/>
              <a:gd name="T34" fmla="*/ 700 w 726"/>
              <a:gd name="T35" fmla="*/ 375 h 401"/>
              <a:gd name="T36" fmla="*/ 700 w 726"/>
              <a:gd name="T37" fmla="*/ 275 h 401"/>
              <a:gd name="T38" fmla="*/ 725 w 726"/>
              <a:gd name="T39" fmla="*/ 25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6" h="401">
                <a:moveTo>
                  <a:pt x="725" y="251"/>
                </a:moveTo>
                <a:lnTo>
                  <a:pt x="725" y="251"/>
                </a:lnTo>
                <a:cubicBezTo>
                  <a:pt x="700" y="251"/>
                  <a:pt x="700" y="251"/>
                  <a:pt x="700" y="251"/>
                </a:cubicBezTo>
                <a:cubicBezTo>
                  <a:pt x="650" y="251"/>
                  <a:pt x="600" y="225"/>
                  <a:pt x="575" y="225"/>
                </a:cubicBezTo>
                <a:cubicBezTo>
                  <a:pt x="550" y="225"/>
                  <a:pt x="425" y="200"/>
                  <a:pt x="400" y="151"/>
                </a:cubicBezTo>
                <a:cubicBezTo>
                  <a:pt x="350" y="125"/>
                  <a:pt x="225" y="51"/>
                  <a:pt x="200" y="25"/>
                </a:cubicBezTo>
                <a:cubicBezTo>
                  <a:pt x="175" y="0"/>
                  <a:pt x="125" y="0"/>
                  <a:pt x="125" y="0"/>
                </a:cubicBezTo>
                <a:cubicBezTo>
                  <a:pt x="125" y="25"/>
                  <a:pt x="100" y="25"/>
                  <a:pt x="75" y="25"/>
                </a:cubicBezTo>
                <a:cubicBezTo>
                  <a:pt x="50" y="25"/>
                  <a:pt x="25" y="51"/>
                  <a:pt x="25" y="75"/>
                </a:cubicBezTo>
                <a:cubicBezTo>
                  <a:pt x="25" y="100"/>
                  <a:pt x="0" y="125"/>
                  <a:pt x="0" y="151"/>
                </a:cubicBezTo>
                <a:cubicBezTo>
                  <a:pt x="0" y="175"/>
                  <a:pt x="50" y="175"/>
                  <a:pt x="50" y="175"/>
                </a:cubicBezTo>
                <a:cubicBezTo>
                  <a:pt x="75" y="200"/>
                  <a:pt x="125" y="200"/>
                  <a:pt x="125" y="225"/>
                </a:cubicBezTo>
                <a:cubicBezTo>
                  <a:pt x="125" y="225"/>
                  <a:pt x="175" y="251"/>
                  <a:pt x="200" y="251"/>
                </a:cubicBezTo>
                <a:cubicBezTo>
                  <a:pt x="225" y="251"/>
                  <a:pt x="275" y="300"/>
                  <a:pt x="275" y="300"/>
                </a:cubicBezTo>
                <a:cubicBezTo>
                  <a:pt x="300" y="325"/>
                  <a:pt x="350" y="275"/>
                  <a:pt x="375" y="275"/>
                </a:cubicBezTo>
                <a:cubicBezTo>
                  <a:pt x="400" y="275"/>
                  <a:pt x="425" y="325"/>
                  <a:pt x="425" y="351"/>
                </a:cubicBezTo>
                <a:cubicBezTo>
                  <a:pt x="425" y="351"/>
                  <a:pt x="525" y="375"/>
                  <a:pt x="550" y="375"/>
                </a:cubicBezTo>
                <a:cubicBezTo>
                  <a:pt x="575" y="400"/>
                  <a:pt x="675" y="400"/>
                  <a:pt x="700" y="375"/>
                </a:cubicBezTo>
                <a:cubicBezTo>
                  <a:pt x="725" y="351"/>
                  <a:pt x="700" y="300"/>
                  <a:pt x="700" y="275"/>
                </a:cubicBezTo>
                <a:lnTo>
                  <a:pt x="725" y="251"/>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8" name="Freeform 56">
            <a:extLst>
              <a:ext uri="{FF2B5EF4-FFF2-40B4-BE49-F238E27FC236}">
                <a16:creationId xmlns:a16="http://schemas.microsoft.com/office/drawing/2014/main" id="{B06ABEAC-C267-5E7C-BA55-FD6AA12A28D7}"/>
              </a:ext>
            </a:extLst>
          </p:cNvPr>
          <p:cNvSpPr>
            <a:spLocks noChangeArrowheads="1"/>
          </p:cNvSpPr>
          <p:nvPr/>
        </p:nvSpPr>
        <p:spPr bwMode="auto">
          <a:xfrm>
            <a:off x="5404676" y="3792545"/>
            <a:ext cx="255936" cy="566715"/>
          </a:xfrm>
          <a:custGeom>
            <a:avLst/>
            <a:gdLst>
              <a:gd name="T0" fmla="*/ 651 w 801"/>
              <a:gd name="T1" fmla="*/ 1624 h 1775"/>
              <a:gd name="T2" fmla="*/ 651 w 801"/>
              <a:gd name="T3" fmla="*/ 1624 h 1775"/>
              <a:gd name="T4" fmla="*/ 625 w 801"/>
              <a:gd name="T5" fmla="*/ 1549 h 1775"/>
              <a:gd name="T6" fmla="*/ 600 w 801"/>
              <a:gd name="T7" fmla="*/ 1424 h 1775"/>
              <a:gd name="T8" fmla="*/ 551 w 801"/>
              <a:gd name="T9" fmla="*/ 1324 h 1775"/>
              <a:gd name="T10" fmla="*/ 575 w 801"/>
              <a:gd name="T11" fmla="*/ 1275 h 1775"/>
              <a:gd name="T12" fmla="*/ 575 w 801"/>
              <a:gd name="T13" fmla="*/ 1224 h 1775"/>
              <a:gd name="T14" fmla="*/ 551 w 801"/>
              <a:gd name="T15" fmla="*/ 1149 h 1775"/>
              <a:gd name="T16" fmla="*/ 475 w 801"/>
              <a:gd name="T17" fmla="*/ 1075 h 1775"/>
              <a:gd name="T18" fmla="*/ 500 w 801"/>
              <a:gd name="T19" fmla="*/ 924 h 1775"/>
              <a:gd name="T20" fmla="*/ 551 w 801"/>
              <a:gd name="T21" fmla="*/ 899 h 1775"/>
              <a:gd name="T22" fmla="*/ 625 w 801"/>
              <a:gd name="T23" fmla="*/ 875 h 1775"/>
              <a:gd name="T24" fmla="*/ 700 w 801"/>
              <a:gd name="T25" fmla="*/ 824 h 1775"/>
              <a:gd name="T26" fmla="*/ 751 w 801"/>
              <a:gd name="T27" fmla="*/ 775 h 1775"/>
              <a:gd name="T28" fmla="*/ 800 w 801"/>
              <a:gd name="T29" fmla="*/ 699 h 1775"/>
              <a:gd name="T30" fmla="*/ 800 w 801"/>
              <a:gd name="T31" fmla="*/ 699 h 1775"/>
              <a:gd name="T32" fmla="*/ 775 w 801"/>
              <a:gd name="T33" fmla="*/ 724 h 1775"/>
              <a:gd name="T34" fmla="*/ 700 w 801"/>
              <a:gd name="T35" fmla="*/ 675 h 1775"/>
              <a:gd name="T36" fmla="*/ 651 w 801"/>
              <a:gd name="T37" fmla="*/ 649 h 1775"/>
              <a:gd name="T38" fmla="*/ 651 w 801"/>
              <a:gd name="T39" fmla="*/ 599 h 1775"/>
              <a:gd name="T40" fmla="*/ 625 w 801"/>
              <a:gd name="T41" fmla="*/ 549 h 1775"/>
              <a:gd name="T42" fmla="*/ 600 w 801"/>
              <a:gd name="T43" fmla="*/ 475 h 1775"/>
              <a:gd name="T44" fmla="*/ 500 w 801"/>
              <a:gd name="T45" fmla="*/ 449 h 1775"/>
              <a:gd name="T46" fmla="*/ 500 w 801"/>
              <a:gd name="T47" fmla="*/ 424 h 1775"/>
              <a:gd name="T48" fmla="*/ 575 w 801"/>
              <a:gd name="T49" fmla="*/ 276 h 1775"/>
              <a:gd name="T50" fmla="*/ 600 w 801"/>
              <a:gd name="T51" fmla="*/ 150 h 1775"/>
              <a:gd name="T52" fmla="*/ 551 w 801"/>
              <a:gd name="T53" fmla="*/ 100 h 1775"/>
              <a:gd name="T54" fmla="*/ 525 w 801"/>
              <a:gd name="T55" fmla="*/ 50 h 1775"/>
              <a:gd name="T56" fmla="*/ 475 w 801"/>
              <a:gd name="T57" fmla="*/ 25 h 1775"/>
              <a:gd name="T58" fmla="*/ 451 w 801"/>
              <a:gd name="T59" fmla="*/ 25 h 1775"/>
              <a:gd name="T60" fmla="*/ 451 w 801"/>
              <a:gd name="T61" fmla="*/ 25 h 1775"/>
              <a:gd name="T62" fmla="*/ 425 w 801"/>
              <a:gd name="T63" fmla="*/ 76 h 1775"/>
              <a:gd name="T64" fmla="*/ 451 w 801"/>
              <a:gd name="T65" fmla="*/ 150 h 1775"/>
              <a:gd name="T66" fmla="*/ 400 w 801"/>
              <a:gd name="T67" fmla="*/ 150 h 1775"/>
              <a:gd name="T68" fmla="*/ 325 w 801"/>
              <a:gd name="T69" fmla="*/ 176 h 1775"/>
              <a:gd name="T70" fmla="*/ 251 w 801"/>
              <a:gd name="T71" fmla="*/ 250 h 1775"/>
              <a:gd name="T72" fmla="*/ 225 w 801"/>
              <a:gd name="T73" fmla="*/ 349 h 1775"/>
              <a:gd name="T74" fmla="*/ 200 w 801"/>
              <a:gd name="T75" fmla="*/ 475 h 1775"/>
              <a:gd name="T76" fmla="*/ 125 w 801"/>
              <a:gd name="T77" fmla="*/ 475 h 1775"/>
              <a:gd name="T78" fmla="*/ 100 w 801"/>
              <a:gd name="T79" fmla="*/ 575 h 1775"/>
              <a:gd name="T80" fmla="*/ 75 w 801"/>
              <a:gd name="T81" fmla="*/ 675 h 1775"/>
              <a:gd name="T82" fmla="*/ 50 w 801"/>
              <a:gd name="T83" fmla="*/ 724 h 1775"/>
              <a:gd name="T84" fmla="*/ 0 w 801"/>
              <a:gd name="T85" fmla="*/ 775 h 1775"/>
              <a:gd name="T86" fmla="*/ 100 w 801"/>
              <a:gd name="T87" fmla="*/ 849 h 1775"/>
              <a:gd name="T88" fmla="*/ 200 w 801"/>
              <a:gd name="T89" fmla="*/ 1049 h 1775"/>
              <a:gd name="T90" fmla="*/ 200 w 801"/>
              <a:gd name="T91" fmla="*/ 1200 h 1775"/>
              <a:gd name="T92" fmla="*/ 225 w 801"/>
              <a:gd name="T93" fmla="*/ 1249 h 1775"/>
              <a:gd name="T94" fmla="*/ 325 w 801"/>
              <a:gd name="T95" fmla="*/ 1249 h 1775"/>
              <a:gd name="T96" fmla="*/ 400 w 801"/>
              <a:gd name="T97" fmla="*/ 1149 h 1775"/>
              <a:gd name="T98" fmla="*/ 451 w 801"/>
              <a:gd name="T99" fmla="*/ 1175 h 1775"/>
              <a:gd name="T100" fmla="*/ 475 w 801"/>
              <a:gd name="T101" fmla="*/ 1275 h 1775"/>
              <a:gd name="T102" fmla="*/ 525 w 801"/>
              <a:gd name="T103" fmla="*/ 1500 h 1775"/>
              <a:gd name="T104" fmla="*/ 575 w 801"/>
              <a:gd name="T105" fmla="*/ 1624 h 1775"/>
              <a:gd name="T106" fmla="*/ 575 w 801"/>
              <a:gd name="T107" fmla="*/ 1749 h 1775"/>
              <a:gd name="T108" fmla="*/ 575 w 801"/>
              <a:gd name="T109" fmla="*/ 1774 h 1775"/>
              <a:gd name="T110" fmla="*/ 651 w 801"/>
              <a:gd name="T111" fmla="*/ 1624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1" h="1775">
                <a:moveTo>
                  <a:pt x="651" y="1624"/>
                </a:moveTo>
                <a:lnTo>
                  <a:pt x="651" y="1624"/>
                </a:lnTo>
                <a:cubicBezTo>
                  <a:pt x="651" y="1575"/>
                  <a:pt x="625" y="1575"/>
                  <a:pt x="625" y="1549"/>
                </a:cubicBezTo>
                <a:cubicBezTo>
                  <a:pt x="625" y="1524"/>
                  <a:pt x="625" y="1475"/>
                  <a:pt x="600" y="1424"/>
                </a:cubicBezTo>
                <a:cubicBezTo>
                  <a:pt x="551" y="1400"/>
                  <a:pt x="525" y="1349"/>
                  <a:pt x="551" y="1324"/>
                </a:cubicBezTo>
                <a:cubicBezTo>
                  <a:pt x="575" y="1324"/>
                  <a:pt x="551" y="1249"/>
                  <a:pt x="575" y="1275"/>
                </a:cubicBezTo>
                <a:cubicBezTo>
                  <a:pt x="575" y="1275"/>
                  <a:pt x="600" y="1224"/>
                  <a:pt x="575" y="1224"/>
                </a:cubicBezTo>
                <a:cubicBezTo>
                  <a:pt x="551" y="1200"/>
                  <a:pt x="575" y="1175"/>
                  <a:pt x="551" y="1149"/>
                </a:cubicBezTo>
                <a:cubicBezTo>
                  <a:pt x="525" y="1149"/>
                  <a:pt x="475" y="1100"/>
                  <a:pt x="475" y="1075"/>
                </a:cubicBezTo>
                <a:cubicBezTo>
                  <a:pt x="475" y="1049"/>
                  <a:pt x="500" y="949"/>
                  <a:pt x="500" y="924"/>
                </a:cubicBezTo>
                <a:cubicBezTo>
                  <a:pt x="500" y="899"/>
                  <a:pt x="551" y="899"/>
                  <a:pt x="551" y="899"/>
                </a:cubicBezTo>
                <a:cubicBezTo>
                  <a:pt x="575" y="899"/>
                  <a:pt x="600" y="899"/>
                  <a:pt x="625" y="875"/>
                </a:cubicBezTo>
                <a:cubicBezTo>
                  <a:pt x="651" y="849"/>
                  <a:pt x="700" y="849"/>
                  <a:pt x="700" y="824"/>
                </a:cubicBezTo>
                <a:cubicBezTo>
                  <a:pt x="725" y="799"/>
                  <a:pt x="751" y="799"/>
                  <a:pt x="751" y="775"/>
                </a:cubicBezTo>
                <a:cubicBezTo>
                  <a:pt x="751" y="749"/>
                  <a:pt x="800" y="699"/>
                  <a:pt x="800" y="699"/>
                </a:cubicBezTo>
                <a:lnTo>
                  <a:pt x="800" y="699"/>
                </a:lnTo>
                <a:cubicBezTo>
                  <a:pt x="800" y="699"/>
                  <a:pt x="800" y="699"/>
                  <a:pt x="775" y="724"/>
                </a:cubicBezTo>
                <a:cubicBezTo>
                  <a:pt x="725" y="724"/>
                  <a:pt x="700" y="699"/>
                  <a:pt x="700" y="675"/>
                </a:cubicBezTo>
                <a:cubicBezTo>
                  <a:pt x="725" y="649"/>
                  <a:pt x="675" y="649"/>
                  <a:pt x="651" y="649"/>
                </a:cubicBezTo>
                <a:cubicBezTo>
                  <a:pt x="625" y="649"/>
                  <a:pt x="651" y="624"/>
                  <a:pt x="651" y="599"/>
                </a:cubicBezTo>
                <a:cubicBezTo>
                  <a:pt x="675" y="575"/>
                  <a:pt x="651" y="549"/>
                  <a:pt x="625" y="549"/>
                </a:cubicBezTo>
                <a:cubicBezTo>
                  <a:pt x="600" y="549"/>
                  <a:pt x="575" y="499"/>
                  <a:pt x="600" y="475"/>
                </a:cubicBezTo>
                <a:cubicBezTo>
                  <a:pt x="600" y="449"/>
                  <a:pt x="525" y="449"/>
                  <a:pt x="500" y="449"/>
                </a:cubicBezTo>
                <a:cubicBezTo>
                  <a:pt x="475" y="475"/>
                  <a:pt x="500" y="424"/>
                  <a:pt x="500" y="424"/>
                </a:cubicBezTo>
                <a:cubicBezTo>
                  <a:pt x="475" y="399"/>
                  <a:pt x="525" y="325"/>
                  <a:pt x="575" y="276"/>
                </a:cubicBezTo>
                <a:cubicBezTo>
                  <a:pt x="600" y="250"/>
                  <a:pt x="600" y="200"/>
                  <a:pt x="600" y="150"/>
                </a:cubicBezTo>
                <a:cubicBezTo>
                  <a:pt x="600" y="100"/>
                  <a:pt x="575" y="100"/>
                  <a:pt x="551" y="100"/>
                </a:cubicBezTo>
                <a:cubicBezTo>
                  <a:pt x="525" y="100"/>
                  <a:pt x="525" y="76"/>
                  <a:pt x="525" y="50"/>
                </a:cubicBezTo>
                <a:cubicBezTo>
                  <a:pt x="525" y="25"/>
                  <a:pt x="500" y="0"/>
                  <a:pt x="475" y="25"/>
                </a:cubicBezTo>
                <a:lnTo>
                  <a:pt x="451" y="25"/>
                </a:lnTo>
                <a:lnTo>
                  <a:pt x="451" y="25"/>
                </a:lnTo>
                <a:cubicBezTo>
                  <a:pt x="451" y="25"/>
                  <a:pt x="451" y="76"/>
                  <a:pt x="425" y="76"/>
                </a:cubicBezTo>
                <a:cubicBezTo>
                  <a:pt x="425" y="76"/>
                  <a:pt x="425" y="100"/>
                  <a:pt x="451" y="150"/>
                </a:cubicBezTo>
                <a:cubicBezTo>
                  <a:pt x="475" y="176"/>
                  <a:pt x="400" y="150"/>
                  <a:pt x="400" y="150"/>
                </a:cubicBezTo>
                <a:cubicBezTo>
                  <a:pt x="400" y="125"/>
                  <a:pt x="351" y="150"/>
                  <a:pt x="325" y="176"/>
                </a:cubicBezTo>
                <a:cubicBezTo>
                  <a:pt x="300" y="200"/>
                  <a:pt x="251" y="200"/>
                  <a:pt x="251" y="250"/>
                </a:cubicBezTo>
                <a:cubicBezTo>
                  <a:pt x="251" y="276"/>
                  <a:pt x="225" y="325"/>
                  <a:pt x="225" y="349"/>
                </a:cubicBezTo>
                <a:cubicBezTo>
                  <a:pt x="251" y="399"/>
                  <a:pt x="200" y="449"/>
                  <a:pt x="200" y="475"/>
                </a:cubicBezTo>
                <a:cubicBezTo>
                  <a:pt x="200" y="499"/>
                  <a:pt x="125" y="475"/>
                  <a:pt x="125" y="475"/>
                </a:cubicBezTo>
                <a:cubicBezTo>
                  <a:pt x="125" y="475"/>
                  <a:pt x="125" y="549"/>
                  <a:pt x="100" y="575"/>
                </a:cubicBezTo>
                <a:cubicBezTo>
                  <a:pt x="100" y="575"/>
                  <a:pt x="100" y="675"/>
                  <a:pt x="75" y="675"/>
                </a:cubicBezTo>
                <a:cubicBezTo>
                  <a:pt x="50" y="675"/>
                  <a:pt x="50" y="724"/>
                  <a:pt x="50" y="724"/>
                </a:cubicBezTo>
                <a:cubicBezTo>
                  <a:pt x="50" y="724"/>
                  <a:pt x="25" y="749"/>
                  <a:pt x="0" y="775"/>
                </a:cubicBezTo>
                <a:cubicBezTo>
                  <a:pt x="25" y="799"/>
                  <a:pt x="50" y="849"/>
                  <a:pt x="100" y="849"/>
                </a:cubicBezTo>
                <a:cubicBezTo>
                  <a:pt x="151" y="875"/>
                  <a:pt x="175" y="1000"/>
                  <a:pt x="200" y="1049"/>
                </a:cubicBezTo>
                <a:cubicBezTo>
                  <a:pt x="225" y="1100"/>
                  <a:pt x="200" y="1175"/>
                  <a:pt x="200" y="1200"/>
                </a:cubicBezTo>
                <a:cubicBezTo>
                  <a:pt x="175" y="1224"/>
                  <a:pt x="200" y="1224"/>
                  <a:pt x="225" y="1249"/>
                </a:cubicBezTo>
                <a:cubicBezTo>
                  <a:pt x="251" y="1275"/>
                  <a:pt x="300" y="1275"/>
                  <a:pt x="325" y="1249"/>
                </a:cubicBezTo>
                <a:cubicBezTo>
                  <a:pt x="351" y="1200"/>
                  <a:pt x="400" y="1175"/>
                  <a:pt x="400" y="1149"/>
                </a:cubicBezTo>
                <a:cubicBezTo>
                  <a:pt x="400" y="1100"/>
                  <a:pt x="425" y="1149"/>
                  <a:pt x="451" y="1175"/>
                </a:cubicBezTo>
                <a:cubicBezTo>
                  <a:pt x="475" y="1200"/>
                  <a:pt x="475" y="1249"/>
                  <a:pt x="475" y="1275"/>
                </a:cubicBezTo>
                <a:cubicBezTo>
                  <a:pt x="500" y="1324"/>
                  <a:pt x="500" y="1449"/>
                  <a:pt x="525" y="1500"/>
                </a:cubicBezTo>
                <a:cubicBezTo>
                  <a:pt x="575" y="1524"/>
                  <a:pt x="575" y="1600"/>
                  <a:pt x="575" y="1624"/>
                </a:cubicBezTo>
                <a:cubicBezTo>
                  <a:pt x="551" y="1674"/>
                  <a:pt x="600" y="1724"/>
                  <a:pt x="575" y="1749"/>
                </a:cubicBezTo>
                <a:lnTo>
                  <a:pt x="575" y="1774"/>
                </a:lnTo>
                <a:cubicBezTo>
                  <a:pt x="600" y="1774"/>
                  <a:pt x="651" y="1624"/>
                  <a:pt x="651" y="1624"/>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79" name="Freeform 57">
            <a:extLst>
              <a:ext uri="{FF2B5EF4-FFF2-40B4-BE49-F238E27FC236}">
                <a16:creationId xmlns:a16="http://schemas.microsoft.com/office/drawing/2014/main" id="{E030D16B-7B2D-C3B5-4216-8EAF4A24777A}"/>
              </a:ext>
            </a:extLst>
          </p:cNvPr>
          <p:cNvSpPr>
            <a:spLocks noChangeArrowheads="1"/>
          </p:cNvSpPr>
          <p:nvPr/>
        </p:nvSpPr>
        <p:spPr bwMode="auto">
          <a:xfrm>
            <a:off x="5316082" y="3800984"/>
            <a:ext cx="95624" cy="56249"/>
          </a:xfrm>
          <a:custGeom>
            <a:avLst/>
            <a:gdLst>
              <a:gd name="T0" fmla="*/ 275 w 301"/>
              <a:gd name="T1" fmla="*/ 75 h 176"/>
              <a:gd name="T2" fmla="*/ 275 w 301"/>
              <a:gd name="T3" fmla="*/ 75 h 176"/>
              <a:gd name="T4" fmla="*/ 175 w 301"/>
              <a:gd name="T5" fmla="*/ 25 h 176"/>
              <a:gd name="T6" fmla="*/ 100 w 301"/>
              <a:gd name="T7" fmla="*/ 25 h 176"/>
              <a:gd name="T8" fmla="*/ 25 w 301"/>
              <a:gd name="T9" fmla="*/ 75 h 176"/>
              <a:gd name="T10" fmla="*/ 0 w 301"/>
              <a:gd name="T11" fmla="*/ 125 h 176"/>
              <a:gd name="T12" fmla="*/ 25 w 301"/>
              <a:gd name="T13" fmla="*/ 151 h 176"/>
              <a:gd name="T14" fmla="*/ 100 w 301"/>
              <a:gd name="T15" fmla="*/ 151 h 176"/>
              <a:gd name="T16" fmla="*/ 175 w 301"/>
              <a:gd name="T17" fmla="*/ 175 h 176"/>
              <a:gd name="T18" fmla="*/ 275 w 301"/>
              <a:gd name="T19" fmla="*/ 151 h 176"/>
              <a:gd name="T20" fmla="*/ 275 w 301"/>
              <a:gd name="T21"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176">
                <a:moveTo>
                  <a:pt x="275" y="75"/>
                </a:moveTo>
                <a:lnTo>
                  <a:pt x="275" y="75"/>
                </a:lnTo>
                <a:cubicBezTo>
                  <a:pt x="225" y="25"/>
                  <a:pt x="200" y="51"/>
                  <a:pt x="175" y="25"/>
                </a:cubicBezTo>
                <a:cubicBezTo>
                  <a:pt x="125" y="25"/>
                  <a:pt x="125" y="0"/>
                  <a:pt x="100" y="25"/>
                </a:cubicBezTo>
                <a:cubicBezTo>
                  <a:pt x="75" y="51"/>
                  <a:pt x="50" y="25"/>
                  <a:pt x="25" y="75"/>
                </a:cubicBezTo>
                <a:cubicBezTo>
                  <a:pt x="25" y="100"/>
                  <a:pt x="25" y="100"/>
                  <a:pt x="0" y="125"/>
                </a:cubicBezTo>
                <a:cubicBezTo>
                  <a:pt x="25" y="125"/>
                  <a:pt x="25" y="151"/>
                  <a:pt x="25" y="151"/>
                </a:cubicBezTo>
                <a:cubicBezTo>
                  <a:pt x="50" y="151"/>
                  <a:pt x="75" y="175"/>
                  <a:pt x="100" y="151"/>
                </a:cubicBezTo>
                <a:cubicBezTo>
                  <a:pt x="125" y="151"/>
                  <a:pt x="150" y="175"/>
                  <a:pt x="175" y="175"/>
                </a:cubicBezTo>
                <a:cubicBezTo>
                  <a:pt x="225" y="151"/>
                  <a:pt x="275" y="175"/>
                  <a:pt x="275" y="151"/>
                </a:cubicBezTo>
                <a:cubicBezTo>
                  <a:pt x="300" y="125"/>
                  <a:pt x="275" y="75"/>
                  <a:pt x="27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0" name="Freeform 58">
            <a:extLst>
              <a:ext uri="{FF2B5EF4-FFF2-40B4-BE49-F238E27FC236}">
                <a16:creationId xmlns:a16="http://schemas.microsoft.com/office/drawing/2014/main" id="{17F8E3EA-DD3B-3470-8C95-E702DAAEC738}"/>
              </a:ext>
            </a:extLst>
          </p:cNvPr>
          <p:cNvSpPr>
            <a:spLocks noChangeArrowheads="1"/>
          </p:cNvSpPr>
          <p:nvPr/>
        </p:nvSpPr>
        <p:spPr bwMode="auto">
          <a:xfrm>
            <a:off x="5691548" y="3959888"/>
            <a:ext cx="223592" cy="462653"/>
          </a:xfrm>
          <a:custGeom>
            <a:avLst/>
            <a:gdLst>
              <a:gd name="T0" fmla="*/ 525 w 701"/>
              <a:gd name="T1" fmla="*/ 175 h 1452"/>
              <a:gd name="T2" fmla="*/ 525 w 701"/>
              <a:gd name="T3" fmla="*/ 175 h 1452"/>
              <a:gd name="T4" fmla="*/ 425 w 701"/>
              <a:gd name="T5" fmla="*/ 100 h 1452"/>
              <a:gd name="T6" fmla="*/ 400 w 701"/>
              <a:gd name="T7" fmla="*/ 51 h 1452"/>
              <a:gd name="T8" fmla="*/ 325 w 701"/>
              <a:gd name="T9" fmla="*/ 25 h 1452"/>
              <a:gd name="T10" fmla="*/ 251 w 701"/>
              <a:gd name="T11" fmla="*/ 51 h 1452"/>
              <a:gd name="T12" fmla="*/ 200 w 701"/>
              <a:gd name="T13" fmla="*/ 75 h 1452"/>
              <a:gd name="T14" fmla="*/ 100 w 701"/>
              <a:gd name="T15" fmla="*/ 75 h 1452"/>
              <a:gd name="T16" fmla="*/ 51 w 701"/>
              <a:gd name="T17" fmla="*/ 75 h 1452"/>
              <a:gd name="T18" fmla="*/ 0 w 701"/>
              <a:gd name="T19" fmla="*/ 100 h 1452"/>
              <a:gd name="T20" fmla="*/ 51 w 701"/>
              <a:gd name="T21" fmla="*/ 151 h 1452"/>
              <a:gd name="T22" fmla="*/ 100 w 701"/>
              <a:gd name="T23" fmla="*/ 225 h 1452"/>
              <a:gd name="T24" fmla="*/ 176 w 701"/>
              <a:gd name="T25" fmla="*/ 275 h 1452"/>
              <a:gd name="T26" fmla="*/ 225 w 701"/>
              <a:gd name="T27" fmla="*/ 275 h 1452"/>
              <a:gd name="T28" fmla="*/ 276 w 701"/>
              <a:gd name="T29" fmla="*/ 351 h 1452"/>
              <a:gd name="T30" fmla="*/ 200 w 701"/>
              <a:gd name="T31" fmla="*/ 400 h 1452"/>
              <a:gd name="T32" fmla="*/ 300 w 701"/>
              <a:gd name="T33" fmla="*/ 476 h 1452"/>
              <a:gd name="T34" fmla="*/ 351 w 701"/>
              <a:gd name="T35" fmla="*/ 576 h 1452"/>
              <a:gd name="T36" fmla="*/ 425 w 701"/>
              <a:gd name="T37" fmla="*/ 676 h 1452"/>
              <a:gd name="T38" fmla="*/ 500 w 701"/>
              <a:gd name="T39" fmla="*/ 751 h 1452"/>
              <a:gd name="T40" fmla="*/ 525 w 701"/>
              <a:gd name="T41" fmla="*/ 825 h 1452"/>
              <a:gd name="T42" fmla="*/ 551 w 701"/>
              <a:gd name="T43" fmla="*/ 1000 h 1452"/>
              <a:gd name="T44" fmla="*/ 476 w 701"/>
              <a:gd name="T45" fmla="*/ 1100 h 1452"/>
              <a:gd name="T46" fmla="*/ 400 w 701"/>
              <a:gd name="T47" fmla="*/ 1150 h 1452"/>
              <a:gd name="T48" fmla="*/ 400 w 701"/>
              <a:gd name="T49" fmla="*/ 1225 h 1452"/>
              <a:gd name="T50" fmla="*/ 300 w 701"/>
              <a:gd name="T51" fmla="*/ 1225 h 1452"/>
              <a:gd name="T52" fmla="*/ 225 w 701"/>
              <a:gd name="T53" fmla="*/ 1276 h 1452"/>
              <a:gd name="T54" fmla="*/ 276 w 701"/>
              <a:gd name="T55" fmla="*/ 1300 h 1452"/>
              <a:gd name="T56" fmla="*/ 251 w 701"/>
              <a:gd name="T57" fmla="*/ 1400 h 1452"/>
              <a:gd name="T58" fmla="*/ 300 w 701"/>
              <a:gd name="T59" fmla="*/ 1425 h 1452"/>
              <a:gd name="T60" fmla="*/ 376 w 701"/>
              <a:gd name="T61" fmla="*/ 1376 h 1452"/>
              <a:gd name="T62" fmla="*/ 400 w 701"/>
              <a:gd name="T63" fmla="*/ 1325 h 1452"/>
              <a:gd name="T64" fmla="*/ 425 w 701"/>
              <a:gd name="T65" fmla="*/ 1276 h 1452"/>
              <a:gd name="T66" fmla="*/ 476 w 701"/>
              <a:gd name="T67" fmla="*/ 1276 h 1452"/>
              <a:gd name="T68" fmla="*/ 625 w 701"/>
              <a:gd name="T69" fmla="*/ 1200 h 1452"/>
              <a:gd name="T70" fmla="*/ 676 w 701"/>
              <a:gd name="T71" fmla="*/ 1076 h 1452"/>
              <a:gd name="T72" fmla="*/ 676 w 701"/>
              <a:gd name="T73" fmla="*/ 876 h 1452"/>
              <a:gd name="T74" fmla="*/ 576 w 701"/>
              <a:gd name="T75" fmla="*/ 725 h 1452"/>
              <a:gd name="T76" fmla="*/ 425 w 701"/>
              <a:gd name="T77" fmla="*/ 600 h 1452"/>
              <a:gd name="T78" fmla="*/ 376 w 701"/>
              <a:gd name="T79" fmla="*/ 525 h 1452"/>
              <a:gd name="T80" fmla="*/ 351 w 701"/>
              <a:gd name="T81" fmla="*/ 400 h 1452"/>
              <a:gd name="T82" fmla="*/ 425 w 701"/>
              <a:gd name="T83" fmla="*/ 300 h 1452"/>
              <a:gd name="T84" fmla="*/ 450 w 701"/>
              <a:gd name="T85" fmla="*/ 251 h 1452"/>
              <a:gd name="T86" fmla="*/ 525 w 701"/>
              <a:gd name="T87" fmla="*/ 200 h 1452"/>
              <a:gd name="T88" fmla="*/ 551 w 701"/>
              <a:gd name="T89" fmla="*/ 200 h 1452"/>
              <a:gd name="T90" fmla="*/ 525 w 701"/>
              <a:gd name="T91" fmla="*/ 17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1452">
                <a:moveTo>
                  <a:pt x="525" y="175"/>
                </a:moveTo>
                <a:lnTo>
                  <a:pt x="525" y="175"/>
                </a:lnTo>
                <a:cubicBezTo>
                  <a:pt x="500" y="175"/>
                  <a:pt x="425" y="125"/>
                  <a:pt x="425" y="100"/>
                </a:cubicBezTo>
                <a:cubicBezTo>
                  <a:pt x="425" y="100"/>
                  <a:pt x="476" y="51"/>
                  <a:pt x="400" y="51"/>
                </a:cubicBezTo>
                <a:cubicBezTo>
                  <a:pt x="351" y="51"/>
                  <a:pt x="351" y="25"/>
                  <a:pt x="325" y="25"/>
                </a:cubicBezTo>
                <a:cubicBezTo>
                  <a:pt x="325" y="0"/>
                  <a:pt x="276" y="25"/>
                  <a:pt x="251" y="51"/>
                </a:cubicBezTo>
                <a:cubicBezTo>
                  <a:pt x="251" y="100"/>
                  <a:pt x="225" y="51"/>
                  <a:pt x="200" y="75"/>
                </a:cubicBezTo>
                <a:cubicBezTo>
                  <a:pt x="151" y="100"/>
                  <a:pt x="125" y="51"/>
                  <a:pt x="100" y="75"/>
                </a:cubicBezTo>
                <a:cubicBezTo>
                  <a:pt x="100" y="100"/>
                  <a:pt x="51" y="51"/>
                  <a:pt x="51" y="75"/>
                </a:cubicBezTo>
                <a:cubicBezTo>
                  <a:pt x="25" y="100"/>
                  <a:pt x="25" y="100"/>
                  <a:pt x="0" y="100"/>
                </a:cubicBezTo>
                <a:cubicBezTo>
                  <a:pt x="25" y="125"/>
                  <a:pt x="51" y="125"/>
                  <a:pt x="51" y="151"/>
                </a:cubicBezTo>
                <a:cubicBezTo>
                  <a:pt x="51" y="175"/>
                  <a:pt x="100" y="200"/>
                  <a:pt x="100" y="225"/>
                </a:cubicBezTo>
                <a:cubicBezTo>
                  <a:pt x="100" y="251"/>
                  <a:pt x="151" y="275"/>
                  <a:pt x="176" y="275"/>
                </a:cubicBezTo>
                <a:cubicBezTo>
                  <a:pt x="200" y="251"/>
                  <a:pt x="225" y="251"/>
                  <a:pt x="225" y="275"/>
                </a:cubicBezTo>
                <a:cubicBezTo>
                  <a:pt x="251" y="325"/>
                  <a:pt x="276" y="325"/>
                  <a:pt x="276" y="351"/>
                </a:cubicBezTo>
                <a:cubicBezTo>
                  <a:pt x="276" y="375"/>
                  <a:pt x="200" y="375"/>
                  <a:pt x="200" y="400"/>
                </a:cubicBezTo>
                <a:cubicBezTo>
                  <a:pt x="176" y="425"/>
                  <a:pt x="300" y="451"/>
                  <a:pt x="300" y="476"/>
                </a:cubicBezTo>
                <a:cubicBezTo>
                  <a:pt x="300" y="500"/>
                  <a:pt x="325" y="525"/>
                  <a:pt x="351" y="576"/>
                </a:cubicBezTo>
                <a:cubicBezTo>
                  <a:pt x="351" y="600"/>
                  <a:pt x="400" y="625"/>
                  <a:pt x="425" y="676"/>
                </a:cubicBezTo>
                <a:cubicBezTo>
                  <a:pt x="425" y="700"/>
                  <a:pt x="476" y="725"/>
                  <a:pt x="500" y="751"/>
                </a:cubicBezTo>
                <a:cubicBezTo>
                  <a:pt x="525" y="751"/>
                  <a:pt x="525" y="800"/>
                  <a:pt x="525" y="825"/>
                </a:cubicBezTo>
                <a:cubicBezTo>
                  <a:pt x="500" y="876"/>
                  <a:pt x="500" y="925"/>
                  <a:pt x="551" y="1000"/>
                </a:cubicBezTo>
                <a:cubicBezTo>
                  <a:pt x="576" y="1051"/>
                  <a:pt x="500" y="1076"/>
                  <a:pt x="476" y="1100"/>
                </a:cubicBezTo>
                <a:cubicBezTo>
                  <a:pt x="450" y="1125"/>
                  <a:pt x="476" y="1176"/>
                  <a:pt x="400" y="1150"/>
                </a:cubicBezTo>
                <a:cubicBezTo>
                  <a:pt x="325" y="1125"/>
                  <a:pt x="400" y="1200"/>
                  <a:pt x="400" y="1225"/>
                </a:cubicBezTo>
                <a:cubicBezTo>
                  <a:pt x="376" y="1250"/>
                  <a:pt x="300" y="1200"/>
                  <a:pt x="300" y="1225"/>
                </a:cubicBezTo>
                <a:cubicBezTo>
                  <a:pt x="300" y="1250"/>
                  <a:pt x="251" y="1276"/>
                  <a:pt x="225" y="1276"/>
                </a:cubicBezTo>
                <a:cubicBezTo>
                  <a:pt x="251" y="1300"/>
                  <a:pt x="251" y="1300"/>
                  <a:pt x="276" y="1300"/>
                </a:cubicBezTo>
                <a:cubicBezTo>
                  <a:pt x="300" y="1325"/>
                  <a:pt x="251" y="1351"/>
                  <a:pt x="251" y="1400"/>
                </a:cubicBezTo>
                <a:cubicBezTo>
                  <a:pt x="251" y="1425"/>
                  <a:pt x="276" y="1451"/>
                  <a:pt x="300" y="1425"/>
                </a:cubicBezTo>
                <a:cubicBezTo>
                  <a:pt x="300" y="1400"/>
                  <a:pt x="351" y="1376"/>
                  <a:pt x="376" y="1376"/>
                </a:cubicBezTo>
                <a:cubicBezTo>
                  <a:pt x="400" y="1351"/>
                  <a:pt x="376" y="1325"/>
                  <a:pt x="400" y="1325"/>
                </a:cubicBezTo>
                <a:cubicBezTo>
                  <a:pt x="425" y="1325"/>
                  <a:pt x="425" y="1300"/>
                  <a:pt x="425" y="1276"/>
                </a:cubicBezTo>
                <a:cubicBezTo>
                  <a:pt x="425" y="1250"/>
                  <a:pt x="450" y="1276"/>
                  <a:pt x="476" y="1276"/>
                </a:cubicBezTo>
                <a:cubicBezTo>
                  <a:pt x="525" y="1276"/>
                  <a:pt x="576" y="1250"/>
                  <a:pt x="625" y="1200"/>
                </a:cubicBezTo>
                <a:cubicBezTo>
                  <a:pt x="651" y="1176"/>
                  <a:pt x="676" y="1176"/>
                  <a:pt x="676" y="1076"/>
                </a:cubicBezTo>
                <a:cubicBezTo>
                  <a:pt x="700" y="1000"/>
                  <a:pt x="676" y="900"/>
                  <a:pt x="676" y="876"/>
                </a:cubicBezTo>
                <a:cubicBezTo>
                  <a:pt x="676" y="851"/>
                  <a:pt x="600" y="725"/>
                  <a:pt x="576" y="725"/>
                </a:cubicBezTo>
                <a:cubicBezTo>
                  <a:pt x="551" y="725"/>
                  <a:pt x="450" y="600"/>
                  <a:pt x="425" y="600"/>
                </a:cubicBezTo>
                <a:cubicBezTo>
                  <a:pt x="400" y="576"/>
                  <a:pt x="400" y="551"/>
                  <a:pt x="376" y="525"/>
                </a:cubicBezTo>
                <a:cubicBezTo>
                  <a:pt x="351" y="500"/>
                  <a:pt x="351" y="425"/>
                  <a:pt x="351" y="400"/>
                </a:cubicBezTo>
                <a:cubicBezTo>
                  <a:pt x="376" y="351"/>
                  <a:pt x="425" y="325"/>
                  <a:pt x="425" y="300"/>
                </a:cubicBezTo>
                <a:cubicBezTo>
                  <a:pt x="425" y="275"/>
                  <a:pt x="425" y="251"/>
                  <a:pt x="450" y="251"/>
                </a:cubicBezTo>
                <a:cubicBezTo>
                  <a:pt x="500" y="251"/>
                  <a:pt x="525" y="225"/>
                  <a:pt x="525" y="200"/>
                </a:cubicBezTo>
                <a:lnTo>
                  <a:pt x="551" y="200"/>
                </a:lnTo>
                <a:cubicBezTo>
                  <a:pt x="525" y="175"/>
                  <a:pt x="525" y="175"/>
                  <a:pt x="525" y="1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1" name="Freeform 59">
            <a:extLst>
              <a:ext uri="{FF2B5EF4-FFF2-40B4-BE49-F238E27FC236}">
                <a16:creationId xmlns:a16="http://schemas.microsoft.com/office/drawing/2014/main" id="{99087698-9B16-36FE-9350-B8A44D9003EA}"/>
              </a:ext>
            </a:extLst>
          </p:cNvPr>
          <p:cNvSpPr>
            <a:spLocks noChangeArrowheads="1"/>
          </p:cNvSpPr>
          <p:nvPr/>
        </p:nvSpPr>
        <p:spPr bwMode="auto">
          <a:xfrm>
            <a:off x="5691551" y="4238323"/>
            <a:ext cx="184217" cy="127968"/>
          </a:xfrm>
          <a:custGeom>
            <a:avLst/>
            <a:gdLst>
              <a:gd name="T0" fmla="*/ 300 w 577"/>
              <a:gd name="T1" fmla="*/ 349 h 401"/>
              <a:gd name="T2" fmla="*/ 300 w 577"/>
              <a:gd name="T3" fmla="*/ 349 h 401"/>
              <a:gd name="T4" fmla="*/ 400 w 577"/>
              <a:gd name="T5" fmla="*/ 349 h 401"/>
              <a:gd name="T6" fmla="*/ 400 w 577"/>
              <a:gd name="T7" fmla="*/ 274 h 401"/>
              <a:gd name="T8" fmla="*/ 476 w 577"/>
              <a:gd name="T9" fmla="*/ 224 h 401"/>
              <a:gd name="T10" fmla="*/ 551 w 577"/>
              <a:gd name="T11" fmla="*/ 124 h 401"/>
              <a:gd name="T12" fmla="*/ 525 w 577"/>
              <a:gd name="T13" fmla="*/ 0 h 401"/>
              <a:gd name="T14" fmla="*/ 450 w 577"/>
              <a:gd name="T15" fmla="*/ 0 h 401"/>
              <a:gd name="T16" fmla="*/ 376 w 577"/>
              <a:gd name="T17" fmla="*/ 24 h 401"/>
              <a:gd name="T18" fmla="*/ 351 w 577"/>
              <a:gd name="T19" fmla="*/ 49 h 401"/>
              <a:gd name="T20" fmla="*/ 300 w 577"/>
              <a:gd name="T21" fmla="*/ 24 h 401"/>
              <a:gd name="T22" fmla="*/ 176 w 577"/>
              <a:gd name="T23" fmla="*/ 24 h 401"/>
              <a:gd name="T24" fmla="*/ 51 w 577"/>
              <a:gd name="T25" fmla="*/ 75 h 401"/>
              <a:gd name="T26" fmla="*/ 51 w 577"/>
              <a:gd name="T27" fmla="*/ 175 h 401"/>
              <a:gd name="T28" fmla="*/ 51 w 577"/>
              <a:gd name="T29" fmla="*/ 224 h 401"/>
              <a:gd name="T30" fmla="*/ 51 w 577"/>
              <a:gd name="T31" fmla="*/ 249 h 401"/>
              <a:gd name="T32" fmla="*/ 76 w 577"/>
              <a:gd name="T33" fmla="*/ 324 h 401"/>
              <a:gd name="T34" fmla="*/ 151 w 577"/>
              <a:gd name="T35" fmla="*/ 324 h 401"/>
              <a:gd name="T36" fmla="*/ 151 w 577"/>
              <a:gd name="T37" fmla="*/ 374 h 401"/>
              <a:gd name="T38" fmla="*/ 225 w 577"/>
              <a:gd name="T39" fmla="*/ 400 h 401"/>
              <a:gd name="T40" fmla="*/ 225 w 577"/>
              <a:gd name="T41" fmla="*/ 400 h 401"/>
              <a:gd name="T42" fmla="*/ 300 w 577"/>
              <a:gd name="T43" fmla="*/ 34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7" h="401">
                <a:moveTo>
                  <a:pt x="300" y="349"/>
                </a:moveTo>
                <a:lnTo>
                  <a:pt x="300" y="349"/>
                </a:lnTo>
                <a:cubicBezTo>
                  <a:pt x="300" y="324"/>
                  <a:pt x="376" y="374"/>
                  <a:pt x="400" y="349"/>
                </a:cubicBezTo>
                <a:cubicBezTo>
                  <a:pt x="400" y="324"/>
                  <a:pt x="325" y="249"/>
                  <a:pt x="400" y="274"/>
                </a:cubicBezTo>
                <a:cubicBezTo>
                  <a:pt x="476" y="300"/>
                  <a:pt x="450" y="249"/>
                  <a:pt x="476" y="224"/>
                </a:cubicBezTo>
                <a:cubicBezTo>
                  <a:pt x="500" y="200"/>
                  <a:pt x="576" y="175"/>
                  <a:pt x="551" y="124"/>
                </a:cubicBezTo>
                <a:cubicBezTo>
                  <a:pt x="525" y="75"/>
                  <a:pt x="525" y="24"/>
                  <a:pt x="525" y="0"/>
                </a:cubicBezTo>
                <a:cubicBezTo>
                  <a:pt x="500" y="24"/>
                  <a:pt x="476" y="24"/>
                  <a:pt x="450" y="0"/>
                </a:cubicBezTo>
                <a:cubicBezTo>
                  <a:pt x="425" y="0"/>
                  <a:pt x="376" y="0"/>
                  <a:pt x="376" y="24"/>
                </a:cubicBezTo>
                <a:cubicBezTo>
                  <a:pt x="376" y="75"/>
                  <a:pt x="351" y="75"/>
                  <a:pt x="351" y="49"/>
                </a:cubicBezTo>
                <a:cubicBezTo>
                  <a:pt x="351" y="49"/>
                  <a:pt x="325" y="49"/>
                  <a:pt x="300" y="24"/>
                </a:cubicBezTo>
                <a:cubicBezTo>
                  <a:pt x="276" y="0"/>
                  <a:pt x="200" y="24"/>
                  <a:pt x="176" y="24"/>
                </a:cubicBezTo>
                <a:cubicBezTo>
                  <a:pt x="151" y="0"/>
                  <a:pt x="76" y="24"/>
                  <a:pt x="51" y="75"/>
                </a:cubicBezTo>
                <a:cubicBezTo>
                  <a:pt x="0" y="124"/>
                  <a:pt x="51" y="124"/>
                  <a:pt x="51" y="175"/>
                </a:cubicBezTo>
                <a:cubicBezTo>
                  <a:pt x="51" y="200"/>
                  <a:pt x="76" y="200"/>
                  <a:pt x="51" y="224"/>
                </a:cubicBezTo>
                <a:cubicBezTo>
                  <a:pt x="51" y="224"/>
                  <a:pt x="51" y="224"/>
                  <a:pt x="51" y="249"/>
                </a:cubicBezTo>
                <a:cubicBezTo>
                  <a:pt x="100" y="249"/>
                  <a:pt x="76" y="300"/>
                  <a:pt x="76" y="324"/>
                </a:cubicBezTo>
                <a:cubicBezTo>
                  <a:pt x="100" y="349"/>
                  <a:pt x="125" y="324"/>
                  <a:pt x="151" y="324"/>
                </a:cubicBezTo>
                <a:cubicBezTo>
                  <a:pt x="176" y="324"/>
                  <a:pt x="125" y="374"/>
                  <a:pt x="151" y="374"/>
                </a:cubicBezTo>
                <a:cubicBezTo>
                  <a:pt x="176" y="400"/>
                  <a:pt x="225" y="374"/>
                  <a:pt x="225" y="400"/>
                </a:cubicBezTo>
                <a:lnTo>
                  <a:pt x="225" y="400"/>
                </a:lnTo>
                <a:cubicBezTo>
                  <a:pt x="251" y="400"/>
                  <a:pt x="300" y="374"/>
                  <a:pt x="300" y="3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2" name="Freeform 60">
            <a:extLst>
              <a:ext uri="{FF2B5EF4-FFF2-40B4-BE49-F238E27FC236}">
                <a16:creationId xmlns:a16="http://schemas.microsoft.com/office/drawing/2014/main" id="{C14F42E0-890E-77A4-3D7D-68993C4B87CC}"/>
              </a:ext>
            </a:extLst>
          </p:cNvPr>
          <p:cNvSpPr>
            <a:spLocks noChangeArrowheads="1"/>
          </p:cNvSpPr>
          <p:nvPr/>
        </p:nvSpPr>
        <p:spPr bwMode="auto">
          <a:xfrm>
            <a:off x="5635299" y="3990824"/>
            <a:ext cx="223592" cy="271405"/>
          </a:xfrm>
          <a:custGeom>
            <a:avLst/>
            <a:gdLst>
              <a:gd name="T0" fmla="*/ 475 w 701"/>
              <a:gd name="T1" fmla="*/ 376 h 852"/>
              <a:gd name="T2" fmla="*/ 475 w 701"/>
              <a:gd name="T3" fmla="*/ 376 h 852"/>
              <a:gd name="T4" fmla="*/ 375 w 701"/>
              <a:gd name="T5" fmla="*/ 300 h 852"/>
              <a:gd name="T6" fmla="*/ 451 w 701"/>
              <a:gd name="T7" fmla="*/ 251 h 852"/>
              <a:gd name="T8" fmla="*/ 400 w 701"/>
              <a:gd name="T9" fmla="*/ 175 h 852"/>
              <a:gd name="T10" fmla="*/ 351 w 701"/>
              <a:gd name="T11" fmla="*/ 175 h 852"/>
              <a:gd name="T12" fmla="*/ 275 w 701"/>
              <a:gd name="T13" fmla="*/ 125 h 852"/>
              <a:gd name="T14" fmla="*/ 226 w 701"/>
              <a:gd name="T15" fmla="*/ 51 h 852"/>
              <a:gd name="T16" fmla="*/ 175 w 701"/>
              <a:gd name="T17" fmla="*/ 0 h 852"/>
              <a:gd name="T18" fmla="*/ 150 w 701"/>
              <a:gd name="T19" fmla="*/ 0 h 852"/>
              <a:gd name="T20" fmla="*/ 126 w 701"/>
              <a:gd name="T21" fmla="*/ 51 h 852"/>
              <a:gd name="T22" fmla="*/ 126 w 701"/>
              <a:gd name="T23" fmla="*/ 125 h 852"/>
              <a:gd name="T24" fmla="*/ 75 w 701"/>
              <a:gd name="T25" fmla="*/ 75 h 852"/>
              <a:gd name="T26" fmla="*/ 26 w 701"/>
              <a:gd name="T27" fmla="*/ 151 h 852"/>
              <a:gd name="T28" fmla="*/ 0 w 701"/>
              <a:gd name="T29" fmla="*/ 175 h 852"/>
              <a:gd name="T30" fmla="*/ 26 w 701"/>
              <a:gd name="T31" fmla="*/ 200 h 852"/>
              <a:gd name="T32" fmla="*/ 26 w 701"/>
              <a:gd name="T33" fmla="*/ 275 h 852"/>
              <a:gd name="T34" fmla="*/ 100 w 701"/>
              <a:gd name="T35" fmla="*/ 300 h 852"/>
              <a:gd name="T36" fmla="*/ 75 w 701"/>
              <a:gd name="T37" fmla="*/ 400 h 852"/>
              <a:gd name="T38" fmla="*/ 50 w 701"/>
              <a:gd name="T39" fmla="*/ 476 h 852"/>
              <a:gd name="T40" fmla="*/ 150 w 701"/>
              <a:gd name="T41" fmla="*/ 451 h 852"/>
              <a:gd name="T42" fmla="*/ 226 w 701"/>
              <a:gd name="T43" fmla="*/ 425 h 852"/>
              <a:gd name="T44" fmla="*/ 275 w 701"/>
              <a:gd name="T45" fmla="*/ 425 h 852"/>
              <a:gd name="T46" fmla="*/ 351 w 701"/>
              <a:gd name="T47" fmla="*/ 425 h 852"/>
              <a:gd name="T48" fmla="*/ 426 w 701"/>
              <a:gd name="T49" fmla="*/ 476 h 852"/>
              <a:gd name="T50" fmla="*/ 451 w 701"/>
              <a:gd name="T51" fmla="*/ 600 h 852"/>
              <a:gd name="T52" fmla="*/ 500 w 701"/>
              <a:gd name="T53" fmla="*/ 700 h 852"/>
              <a:gd name="T54" fmla="*/ 500 w 701"/>
              <a:gd name="T55" fmla="*/ 800 h 852"/>
              <a:gd name="T56" fmla="*/ 526 w 701"/>
              <a:gd name="T57" fmla="*/ 825 h 852"/>
              <a:gd name="T58" fmla="*/ 551 w 701"/>
              <a:gd name="T59" fmla="*/ 800 h 852"/>
              <a:gd name="T60" fmla="*/ 625 w 701"/>
              <a:gd name="T61" fmla="*/ 776 h 852"/>
              <a:gd name="T62" fmla="*/ 700 w 701"/>
              <a:gd name="T63" fmla="*/ 776 h 852"/>
              <a:gd name="T64" fmla="*/ 700 w 701"/>
              <a:gd name="T65" fmla="*/ 725 h 852"/>
              <a:gd name="T66" fmla="*/ 675 w 701"/>
              <a:gd name="T67" fmla="*/ 651 h 852"/>
              <a:gd name="T68" fmla="*/ 600 w 701"/>
              <a:gd name="T69" fmla="*/ 576 h 852"/>
              <a:gd name="T70" fmla="*/ 526 w 701"/>
              <a:gd name="T71" fmla="*/ 476 h 852"/>
              <a:gd name="T72" fmla="*/ 475 w 701"/>
              <a:gd name="T73" fmla="*/ 37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852">
                <a:moveTo>
                  <a:pt x="475" y="376"/>
                </a:moveTo>
                <a:lnTo>
                  <a:pt x="475" y="376"/>
                </a:lnTo>
                <a:cubicBezTo>
                  <a:pt x="475" y="351"/>
                  <a:pt x="351" y="325"/>
                  <a:pt x="375" y="300"/>
                </a:cubicBezTo>
                <a:cubicBezTo>
                  <a:pt x="375" y="275"/>
                  <a:pt x="451" y="275"/>
                  <a:pt x="451" y="251"/>
                </a:cubicBezTo>
                <a:cubicBezTo>
                  <a:pt x="451" y="225"/>
                  <a:pt x="426" y="225"/>
                  <a:pt x="400" y="175"/>
                </a:cubicBezTo>
                <a:cubicBezTo>
                  <a:pt x="400" y="151"/>
                  <a:pt x="375" y="151"/>
                  <a:pt x="351" y="175"/>
                </a:cubicBezTo>
                <a:cubicBezTo>
                  <a:pt x="326" y="175"/>
                  <a:pt x="275" y="151"/>
                  <a:pt x="275" y="125"/>
                </a:cubicBezTo>
                <a:cubicBezTo>
                  <a:pt x="275" y="100"/>
                  <a:pt x="226" y="75"/>
                  <a:pt x="226" y="51"/>
                </a:cubicBezTo>
                <a:cubicBezTo>
                  <a:pt x="226" y="25"/>
                  <a:pt x="200" y="25"/>
                  <a:pt x="175" y="0"/>
                </a:cubicBezTo>
                <a:lnTo>
                  <a:pt x="150" y="0"/>
                </a:lnTo>
                <a:lnTo>
                  <a:pt x="126" y="51"/>
                </a:lnTo>
                <a:cubicBezTo>
                  <a:pt x="150" y="51"/>
                  <a:pt x="150" y="125"/>
                  <a:pt x="126" y="125"/>
                </a:cubicBezTo>
                <a:cubicBezTo>
                  <a:pt x="100" y="125"/>
                  <a:pt x="100" y="75"/>
                  <a:pt x="75" y="75"/>
                </a:cubicBezTo>
                <a:cubicBezTo>
                  <a:pt x="75" y="75"/>
                  <a:pt x="26" y="125"/>
                  <a:pt x="26" y="151"/>
                </a:cubicBezTo>
                <a:cubicBezTo>
                  <a:pt x="26" y="175"/>
                  <a:pt x="26" y="175"/>
                  <a:pt x="0" y="175"/>
                </a:cubicBezTo>
                <a:cubicBezTo>
                  <a:pt x="0" y="200"/>
                  <a:pt x="26" y="200"/>
                  <a:pt x="26" y="200"/>
                </a:cubicBezTo>
                <a:cubicBezTo>
                  <a:pt x="26" y="225"/>
                  <a:pt x="26" y="251"/>
                  <a:pt x="26" y="275"/>
                </a:cubicBezTo>
                <a:cubicBezTo>
                  <a:pt x="50" y="300"/>
                  <a:pt x="75" y="251"/>
                  <a:pt x="100" y="300"/>
                </a:cubicBezTo>
                <a:cubicBezTo>
                  <a:pt x="100" y="351"/>
                  <a:pt x="75" y="351"/>
                  <a:pt x="75" y="400"/>
                </a:cubicBezTo>
                <a:cubicBezTo>
                  <a:pt x="75" y="451"/>
                  <a:pt x="50" y="425"/>
                  <a:pt x="50" y="476"/>
                </a:cubicBezTo>
                <a:cubicBezTo>
                  <a:pt x="75" y="500"/>
                  <a:pt x="126" y="476"/>
                  <a:pt x="150" y="451"/>
                </a:cubicBezTo>
                <a:cubicBezTo>
                  <a:pt x="175" y="425"/>
                  <a:pt x="200" y="425"/>
                  <a:pt x="226" y="425"/>
                </a:cubicBezTo>
                <a:cubicBezTo>
                  <a:pt x="226" y="451"/>
                  <a:pt x="275" y="451"/>
                  <a:pt x="275" y="425"/>
                </a:cubicBezTo>
                <a:cubicBezTo>
                  <a:pt x="275" y="400"/>
                  <a:pt x="351" y="400"/>
                  <a:pt x="351" y="425"/>
                </a:cubicBezTo>
                <a:cubicBezTo>
                  <a:pt x="375" y="451"/>
                  <a:pt x="400" y="476"/>
                  <a:pt x="426" y="476"/>
                </a:cubicBezTo>
                <a:cubicBezTo>
                  <a:pt x="451" y="500"/>
                  <a:pt x="400" y="600"/>
                  <a:pt x="451" y="600"/>
                </a:cubicBezTo>
                <a:cubicBezTo>
                  <a:pt x="475" y="600"/>
                  <a:pt x="500" y="651"/>
                  <a:pt x="500" y="700"/>
                </a:cubicBezTo>
                <a:cubicBezTo>
                  <a:pt x="500" y="751"/>
                  <a:pt x="526" y="776"/>
                  <a:pt x="500" y="800"/>
                </a:cubicBezTo>
                <a:cubicBezTo>
                  <a:pt x="500" y="825"/>
                  <a:pt x="526" y="825"/>
                  <a:pt x="526" y="825"/>
                </a:cubicBezTo>
                <a:cubicBezTo>
                  <a:pt x="526" y="851"/>
                  <a:pt x="551" y="851"/>
                  <a:pt x="551" y="800"/>
                </a:cubicBezTo>
                <a:cubicBezTo>
                  <a:pt x="551" y="776"/>
                  <a:pt x="600" y="776"/>
                  <a:pt x="625" y="776"/>
                </a:cubicBezTo>
                <a:cubicBezTo>
                  <a:pt x="651" y="800"/>
                  <a:pt x="675" y="800"/>
                  <a:pt x="700" y="776"/>
                </a:cubicBezTo>
                <a:cubicBezTo>
                  <a:pt x="700" y="751"/>
                  <a:pt x="700" y="751"/>
                  <a:pt x="700" y="725"/>
                </a:cubicBezTo>
                <a:cubicBezTo>
                  <a:pt x="700" y="700"/>
                  <a:pt x="700" y="651"/>
                  <a:pt x="675" y="651"/>
                </a:cubicBezTo>
                <a:cubicBezTo>
                  <a:pt x="651" y="625"/>
                  <a:pt x="600" y="600"/>
                  <a:pt x="600" y="576"/>
                </a:cubicBezTo>
                <a:cubicBezTo>
                  <a:pt x="575" y="525"/>
                  <a:pt x="526" y="500"/>
                  <a:pt x="526" y="476"/>
                </a:cubicBezTo>
                <a:cubicBezTo>
                  <a:pt x="500" y="425"/>
                  <a:pt x="475" y="400"/>
                  <a:pt x="475" y="3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3" name="Freeform 61">
            <a:extLst>
              <a:ext uri="{FF2B5EF4-FFF2-40B4-BE49-F238E27FC236}">
                <a16:creationId xmlns:a16="http://schemas.microsoft.com/office/drawing/2014/main" id="{7AE08F26-29D0-A0CF-9DE3-7E09F3B62EE2}"/>
              </a:ext>
            </a:extLst>
          </p:cNvPr>
          <p:cNvSpPr>
            <a:spLocks noChangeArrowheads="1"/>
          </p:cNvSpPr>
          <p:nvPr/>
        </p:nvSpPr>
        <p:spPr bwMode="auto">
          <a:xfrm>
            <a:off x="5556551" y="4047075"/>
            <a:ext cx="247499" cy="462653"/>
          </a:xfrm>
          <a:custGeom>
            <a:avLst/>
            <a:gdLst>
              <a:gd name="T0" fmla="*/ 476 w 777"/>
              <a:gd name="T1" fmla="*/ 776 h 1451"/>
              <a:gd name="T2" fmla="*/ 476 w 777"/>
              <a:gd name="T3" fmla="*/ 776 h 1451"/>
              <a:gd name="T4" fmla="*/ 476 w 777"/>
              <a:gd name="T5" fmla="*/ 676 h 1451"/>
              <a:gd name="T6" fmla="*/ 601 w 777"/>
              <a:gd name="T7" fmla="*/ 625 h 1451"/>
              <a:gd name="T8" fmla="*/ 725 w 777"/>
              <a:gd name="T9" fmla="*/ 625 h 1451"/>
              <a:gd name="T10" fmla="*/ 750 w 777"/>
              <a:gd name="T11" fmla="*/ 625 h 1451"/>
              <a:gd name="T12" fmla="*/ 750 w 777"/>
              <a:gd name="T13" fmla="*/ 525 h 1451"/>
              <a:gd name="T14" fmla="*/ 701 w 777"/>
              <a:gd name="T15" fmla="*/ 425 h 1451"/>
              <a:gd name="T16" fmla="*/ 676 w 777"/>
              <a:gd name="T17" fmla="*/ 301 h 1451"/>
              <a:gd name="T18" fmla="*/ 601 w 777"/>
              <a:gd name="T19" fmla="*/ 250 h 1451"/>
              <a:gd name="T20" fmla="*/ 525 w 777"/>
              <a:gd name="T21" fmla="*/ 250 h 1451"/>
              <a:gd name="T22" fmla="*/ 476 w 777"/>
              <a:gd name="T23" fmla="*/ 250 h 1451"/>
              <a:gd name="T24" fmla="*/ 400 w 777"/>
              <a:gd name="T25" fmla="*/ 276 h 1451"/>
              <a:gd name="T26" fmla="*/ 300 w 777"/>
              <a:gd name="T27" fmla="*/ 301 h 1451"/>
              <a:gd name="T28" fmla="*/ 325 w 777"/>
              <a:gd name="T29" fmla="*/ 225 h 1451"/>
              <a:gd name="T30" fmla="*/ 350 w 777"/>
              <a:gd name="T31" fmla="*/ 125 h 1451"/>
              <a:gd name="T32" fmla="*/ 276 w 777"/>
              <a:gd name="T33" fmla="*/ 100 h 1451"/>
              <a:gd name="T34" fmla="*/ 276 w 777"/>
              <a:gd name="T35" fmla="*/ 25 h 1451"/>
              <a:gd name="T36" fmla="*/ 250 w 777"/>
              <a:gd name="T37" fmla="*/ 0 h 1451"/>
              <a:gd name="T38" fmla="*/ 225 w 777"/>
              <a:gd name="T39" fmla="*/ 25 h 1451"/>
              <a:gd name="T40" fmla="*/ 150 w 777"/>
              <a:gd name="T41" fmla="*/ 76 h 1451"/>
              <a:gd name="T42" fmla="*/ 76 w 777"/>
              <a:gd name="T43" fmla="*/ 100 h 1451"/>
              <a:gd name="T44" fmla="*/ 25 w 777"/>
              <a:gd name="T45" fmla="*/ 125 h 1451"/>
              <a:gd name="T46" fmla="*/ 0 w 777"/>
              <a:gd name="T47" fmla="*/ 276 h 1451"/>
              <a:gd name="T48" fmla="*/ 76 w 777"/>
              <a:gd name="T49" fmla="*/ 350 h 1451"/>
              <a:gd name="T50" fmla="*/ 100 w 777"/>
              <a:gd name="T51" fmla="*/ 425 h 1451"/>
              <a:gd name="T52" fmla="*/ 100 w 777"/>
              <a:gd name="T53" fmla="*/ 476 h 1451"/>
              <a:gd name="T54" fmla="*/ 76 w 777"/>
              <a:gd name="T55" fmla="*/ 525 h 1451"/>
              <a:gd name="T56" fmla="*/ 125 w 777"/>
              <a:gd name="T57" fmla="*/ 625 h 1451"/>
              <a:gd name="T58" fmla="*/ 150 w 777"/>
              <a:gd name="T59" fmla="*/ 750 h 1451"/>
              <a:gd name="T60" fmla="*/ 176 w 777"/>
              <a:gd name="T61" fmla="*/ 825 h 1451"/>
              <a:gd name="T62" fmla="*/ 100 w 777"/>
              <a:gd name="T63" fmla="*/ 975 h 1451"/>
              <a:gd name="T64" fmla="*/ 76 w 777"/>
              <a:gd name="T65" fmla="*/ 1101 h 1451"/>
              <a:gd name="T66" fmla="*/ 76 w 777"/>
              <a:gd name="T67" fmla="*/ 1201 h 1451"/>
              <a:gd name="T68" fmla="*/ 200 w 777"/>
              <a:gd name="T69" fmla="*/ 1326 h 1451"/>
              <a:gd name="T70" fmla="*/ 225 w 777"/>
              <a:gd name="T71" fmla="*/ 1350 h 1451"/>
              <a:gd name="T72" fmla="*/ 276 w 777"/>
              <a:gd name="T73" fmla="*/ 1376 h 1451"/>
              <a:gd name="T74" fmla="*/ 325 w 777"/>
              <a:gd name="T75" fmla="*/ 1426 h 1451"/>
              <a:gd name="T76" fmla="*/ 400 w 777"/>
              <a:gd name="T77" fmla="*/ 1426 h 1451"/>
              <a:gd name="T78" fmla="*/ 425 w 777"/>
              <a:gd name="T79" fmla="*/ 1401 h 1451"/>
              <a:gd name="T80" fmla="*/ 325 w 777"/>
              <a:gd name="T81" fmla="*/ 1326 h 1451"/>
              <a:gd name="T82" fmla="*/ 250 w 777"/>
              <a:gd name="T83" fmla="*/ 1225 h 1451"/>
              <a:gd name="T84" fmla="*/ 225 w 777"/>
              <a:gd name="T85" fmla="*/ 1125 h 1451"/>
              <a:gd name="T86" fmla="*/ 176 w 777"/>
              <a:gd name="T87" fmla="*/ 1101 h 1451"/>
              <a:gd name="T88" fmla="*/ 176 w 777"/>
              <a:gd name="T89" fmla="*/ 950 h 1451"/>
              <a:gd name="T90" fmla="*/ 225 w 777"/>
              <a:gd name="T91" fmla="*/ 750 h 1451"/>
              <a:gd name="T92" fmla="*/ 300 w 777"/>
              <a:gd name="T93" fmla="*/ 725 h 1451"/>
              <a:gd name="T94" fmla="*/ 376 w 777"/>
              <a:gd name="T95" fmla="*/ 776 h 1451"/>
              <a:gd name="T96" fmla="*/ 476 w 777"/>
              <a:gd name="T97" fmla="*/ 825 h 1451"/>
              <a:gd name="T98" fmla="*/ 476 w 777"/>
              <a:gd name="T99" fmla="*/ 850 h 1451"/>
              <a:gd name="T100" fmla="*/ 476 w 777"/>
              <a:gd name="T101" fmla="*/ 825 h 1451"/>
              <a:gd name="T102" fmla="*/ 476 w 777"/>
              <a:gd name="T103" fmla="*/ 77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7" h="1451">
                <a:moveTo>
                  <a:pt x="476" y="776"/>
                </a:moveTo>
                <a:lnTo>
                  <a:pt x="476" y="776"/>
                </a:lnTo>
                <a:cubicBezTo>
                  <a:pt x="476" y="725"/>
                  <a:pt x="425" y="725"/>
                  <a:pt x="476" y="676"/>
                </a:cubicBezTo>
                <a:cubicBezTo>
                  <a:pt x="501" y="625"/>
                  <a:pt x="576" y="601"/>
                  <a:pt x="601" y="625"/>
                </a:cubicBezTo>
                <a:cubicBezTo>
                  <a:pt x="625" y="625"/>
                  <a:pt x="701" y="601"/>
                  <a:pt x="725" y="625"/>
                </a:cubicBezTo>
                <a:cubicBezTo>
                  <a:pt x="725" y="625"/>
                  <a:pt x="725" y="625"/>
                  <a:pt x="750" y="625"/>
                </a:cubicBezTo>
                <a:cubicBezTo>
                  <a:pt x="776" y="601"/>
                  <a:pt x="750" y="576"/>
                  <a:pt x="750" y="525"/>
                </a:cubicBezTo>
                <a:cubicBezTo>
                  <a:pt x="750" y="476"/>
                  <a:pt x="725" y="425"/>
                  <a:pt x="701" y="425"/>
                </a:cubicBezTo>
                <a:cubicBezTo>
                  <a:pt x="650" y="425"/>
                  <a:pt x="701" y="325"/>
                  <a:pt x="676" y="301"/>
                </a:cubicBezTo>
                <a:cubicBezTo>
                  <a:pt x="650" y="301"/>
                  <a:pt x="625" y="276"/>
                  <a:pt x="601" y="250"/>
                </a:cubicBezTo>
                <a:cubicBezTo>
                  <a:pt x="601" y="225"/>
                  <a:pt x="525" y="225"/>
                  <a:pt x="525" y="250"/>
                </a:cubicBezTo>
                <a:cubicBezTo>
                  <a:pt x="525" y="276"/>
                  <a:pt x="476" y="276"/>
                  <a:pt x="476" y="250"/>
                </a:cubicBezTo>
                <a:cubicBezTo>
                  <a:pt x="450" y="250"/>
                  <a:pt x="425" y="250"/>
                  <a:pt x="400" y="276"/>
                </a:cubicBezTo>
                <a:cubicBezTo>
                  <a:pt x="376" y="301"/>
                  <a:pt x="325" y="325"/>
                  <a:pt x="300" y="301"/>
                </a:cubicBezTo>
                <a:cubicBezTo>
                  <a:pt x="300" y="250"/>
                  <a:pt x="325" y="276"/>
                  <a:pt x="325" y="225"/>
                </a:cubicBezTo>
                <a:cubicBezTo>
                  <a:pt x="325" y="176"/>
                  <a:pt x="350" y="176"/>
                  <a:pt x="350" y="125"/>
                </a:cubicBezTo>
                <a:cubicBezTo>
                  <a:pt x="325" y="76"/>
                  <a:pt x="300" y="125"/>
                  <a:pt x="276" y="100"/>
                </a:cubicBezTo>
                <a:cubicBezTo>
                  <a:pt x="276" y="76"/>
                  <a:pt x="276" y="50"/>
                  <a:pt x="276" y="25"/>
                </a:cubicBezTo>
                <a:cubicBezTo>
                  <a:pt x="276" y="25"/>
                  <a:pt x="250" y="25"/>
                  <a:pt x="250" y="0"/>
                </a:cubicBezTo>
                <a:cubicBezTo>
                  <a:pt x="250" y="25"/>
                  <a:pt x="250" y="25"/>
                  <a:pt x="225" y="25"/>
                </a:cubicBezTo>
                <a:cubicBezTo>
                  <a:pt x="225" y="50"/>
                  <a:pt x="176" y="50"/>
                  <a:pt x="150" y="76"/>
                </a:cubicBezTo>
                <a:cubicBezTo>
                  <a:pt x="125" y="100"/>
                  <a:pt x="100" y="100"/>
                  <a:pt x="76" y="100"/>
                </a:cubicBezTo>
                <a:cubicBezTo>
                  <a:pt x="76" y="100"/>
                  <a:pt x="25" y="100"/>
                  <a:pt x="25" y="125"/>
                </a:cubicBezTo>
                <a:cubicBezTo>
                  <a:pt x="25" y="150"/>
                  <a:pt x="0" y="250"/>
                  <a:pt x="0" y="276"/>
                </a:cubicBezTo>
                <a:cubicBezTo>
                  <a:pt x="0" y="301"/>
                  <a:pt x="50" y="350"/>
                  <a:pt x="76" y="350"/>
                </a:cubicBezTo>
                <a:cubicBezTo>
                  <a:pt x="100" y="376"/>
                  <a:pt x="76" y="401"/>
                  <a:pt x="100" y="425"/>
                </a:cubicBezTo>
                <a:cubicBezTo>
                  <a:pt x="125" y="425"/>
                  <a:pt x="100" y="476"/>
                  <a:pt x="100" y="476"/>
                </a:cubicBezTo>
                <a:cubicBezTo>
                  <a:pt x="76" y="450"/>
                  <a:pt x="100" y="525"/>
                  <a:pt x="76" y="525"/>
                </a:cubicBezTo>
                <a:cubicBezTo>
                  <a:pt x="50" y="550"/>
                  <a:pt x="76" y="601"/>
                  <a:pt x="125" y="625"/>
                </a:cubicBezTo>
                <a:cubicBezTo>
                  <a:pt x="150" y="676"/>
                  <a:pt x="150" y="725"/>
                  <a:pt x="150" y="750"/>
                </a:cubicBezTo>
                <a:cubicBezTo>
                  <a:pt x="150" y="776"/>
                  <a:pt x="176" y="776"/>
                  <a:pt x="176" y="825"/>
                </a:cubicBezTo>
                <a:cubicBezTo>
                  <a:pt x="176" y="825"/>
                  <a:pt x="125" y="975"/>
                  <a:pt x="100" y="975"/>
                </a:cubicBezTo>
                <a:cubicBezTo>
                  <a:pt x="100" y="1025"/>
                  <a:pt x="76" y="1076"/>
                  <a:pt x="76" y="1101"/>
                </a:cubicBezTo>
                <a:cubicBezTo>
                  <a:pt x="76" y="1150"/>
                  <a:pt x="50" y="1201"/>
                  <a:pt x="76" y="1201"/>
                </a:cubicBezTo>
                <a:cubicBezTo>
                  <a:pt x="100" y="1201"/>
                  <a:pt x="150" y="1250"/>
                  <a:pt x="200" y="1326"/>
                </a:cubicBezTo>
                <a:cubicBezTo>
                  <a:pt x="225" y="1326"/>
                  <a:pt x="225" y="1350"/>
                  <a:pt x="225" y="1350"/>
                </a:cubicBezTo>
                <a:cubicBezTo>
                  <a:pt x="250" y="1350"/>
                  <a:pt x="276" y="1350"/>
                  <a:pt x="276" y="1376"/>
                </a:cubicBezTo>
                <a:cubicBezTo>
                  <a:pt x="325" y="1376"/>
                  <a:pt x="325" y="1401"/>
                  <a:pt x="325" y="1426"/>
                </a:cubicBezTo>
                <a:cubicBezTo>
                  <a:pt x="325" y="1450"/>
                  <a:pt x="400" y="1426"/>
                  <a:pt x="400" y="1426"/>
                </a:cubicBezTo>
                <a:cubicBezTo>
                  <a:pt x="425" y="1426"/>
                  <a:pt x="400" y="1401"/>
                  <a:pt x="425" y="1401"/>
                </a:cubicBezTo>
                <a:cubicBezTo>
                  <a:pt x="425" y="1376"/>
                  <a:pt x="376" y="1326"/>
                  <a:pt x="325" y="1326"/>
                </a:cubicBezTo>
                <a:cubicBezTo>
                  <a:pt x="276" y="1326"/>
                  <a:pt x="250" y="1250"/>
                  <a:pt x="250" y="1225"/>
                </a:cubicBezTo>
                <a:cubicBezTo>
                  <a:pt x="276" y="1201"/>
                  <a:pt x="225" y="1176"/>
                  <a:pt x="225" y="1125"/>
                </a:cubicBezTo>
                <a:cubicBezTo>
                  <a:pt x="225" y="1101"/>
                  <a:pt x="200" y="1101"/>
                  <a:pt x="176" y="1101"/>
                </a:cubicBezTo>
                <a:cubicBezTo>
                  <a:pt x="125" y="1076"/>
                  <a:pt x="176" y="975"/>
                  <a:pt x="176" y="950"/>
                </a:cubicBezTo>
                <a:cubicBezTo>
                  <a:pt x="176" y="901"/>
                  <a:pt x="250" y="776"/>
                  <a:pt x="225" y="750"/>
                </a:cubicBezTo>
                <a:cubicBezTo>
                  <a:pt x="200" y="725"/>
                  <a:pt x="300" y="676"/>
                  <a:pt x="300" y="725"/>
                </a:cubicBezTo>
                <a:cubicBezTo>
                  <a:pt x="325" y="776"/>
                  <a:pt x="325" y="776"/>
                  <a:pt x="376" y="776"/>
                </a:cubicBezTo>
                <a:cubicBezTo>
                  <a:pt x="425" y="776"/>
                  <a:pt x="425" y="825"/>
                  <a:pt x="476" y="825"/>
                </a:cubicBezTo>
                <a:cubicBezTo>
                  <a:pt x="476" y="825"/>
                  <a:pt x="476" y="825"/>
                  <a:pt x="476" y="850"/>
                </a:cubicBezTo>
                <a:cubicBezTo>
                  <a:pt x="476" y="825"/>
                  <a:pt x="476" y="825"/>
                  <a:pt x="476" y="825"/>
                </a:cubicBezTo>
                <a:cubicBezTo>
                  <a:pt x="501" y="801"/>
                  <a:pt x="476" y="801"/>
                  <a:pt x="476" y="7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7" name="Freeform 89">
            <a:extLst>
              <a:ext uri="{FF2B5EF4-FFF2-40B4-BE49-F238E27FC236}">
                <a16:creationId xmlns:a16="http://schemas.microsoft.com/office/drawing/2014/main" id="{C2E71320-B672-9805-4C6E-276295AC46FD}"/>
              </a:ext>
            </a:extLst>
          </p:cNvPr>
          <p:cNvSpPr>
            <a:spLocks noChangeArrowheads="1"/>
          </p:cNvSpPr>
          <p:nvPr/>
        </p:nvSpPr>
        <p:spPr bwMode="auto">
          <a:xfrm>
            <a:off x="5628268" y="4477384"/>
            <a:ext cx="582184" cy="184219"/>
          </a:xfrm>
          <a:custGeom>
            <a:avLst/>
            <a:gdLst>
              <a:gd name="T0" fmla="*/ 325 w 1826"/>
              <a:gd name="T1" fmla="*/ 200 h 577"/>
              <a:gd name="T2" fmla="*/ 325 w 1826"/>
              <a:gd name="T3" fmla="*/ 200 h 577"/>
              <a:gd name="T4" fmla="*/ 276 w 1826"/>
              <a:gd name="T5" fmla="*/ 100 h 577"/>
              <a:gd name="T6" fmla="*/ 225 w 1826"/>
              <a:gd name="T7" fmla="*/ 51 h 577"/>
              <a:gd name="T8" fmla="*/ 200 w 1826"/>
              <a:gd name="T9" fmla="*/ 51 h 577"/>
              <a:gd name="T10" fmla="*/ 175 w 1826"/>
              <a:gd name="T11" fmla="*/ 76 h 577"/>
              <a:gd name="T12" fmla="*/ 100 w 1826"/>
              <a:gd name="T13" fmla="*/ 76 h 577"/>
              <a:gd name="T14" fmla="*/ 51 w 1826"/>
              <a:gd name="T15" fmla="*/ 26 h 577"/>
              <a:gd name="T16" fmla="*/ 0 w 1826"/>
              <a:gd name="T17" fmla="*/ 0 h 577"/>
              <a:gd name="T18" fmla="*/ 25 w 1826"/>
              <a:gd name="T19" fmla="*/ 151 h 577"/>
              <a:gd name="T20" fmla="*/ 125 w 1826"/>
              <a:gd name="T21" fmla="*/ 326 h 577"/>
              <a:gd name="T22" fmla="*/ 225 w 1826"/>
              <a:gd name="T23" fmla="*/ 426 h 577"/>
              <a:gd name="T24" fmla="*/ 400 w 1826"/>
              <a:gd name="T25" fmla="*/ 526 h 577"/>
              <a:gd name="T26" fmla="*/ 325 w 1826"/>
              <a:gd name="T27" fmla="*/ 376 h 577"/>
              <a:gd name="T28" fmla="*/ 325 w 1826"/>
              <a:gd name="T29" fmla="*/ 200 h 577"/>
              <a:gd name="T30" fmla="*/ 1751 w 1826"/>
              <a:gd name="T31" fmla="*/ 100 h 577"/>
              <a:gd name="T32" fmla="*/ 1751 w 1826"/>
              <a:gd name="T33" fmla="*/ 100 h 577"/>
              <a:gd name="T34" fmla="*/ 1676 w 1826"/>
              <a:gd name="T35" fmla="*/ 76 h 577"/>
              <a:gd name="T36" fmla="*/ 1576 w 1826"/>
              <a:gd name="T37" fmla="*/ 0 h 577"/>
              <a:gd name="T38" fmla="*/ 1501 w 1826"/>
              <a:gd name="T39" fmla="*/ 100 h 577"/>
              <a:gd name="T40" fmla="*/ 1451 w 1826"/>
              <a:gd name="T41" fmla="*/ 151 h 577"/>
              <a:gd name="T42" fmla="*/ 1451 w 1826"/>
              <a:gd name="T43" fmla="*/ 176 h 577"/>
              <a:gd name="T44" fmla="*/ 1451 w 1826"/>
              <a:gd name="T45" fmla="*/ 251 h 577"/>
              <a:gd name="T46" fmla="*/ 1376 w 1826"/>
              <a:gd name="T47" fmla="*/ 251 h 577"/>
              <a:gd name="T48" fmla="*/ 1325 w 1826"/>
              <a:gd name="T49" fmla="*/ 200 h 577"/>
              <a:gd name="T50" fmla="*/ 1325 w 1826"/>
              <a:gd name="T51" fmla="*/ 200 h 577"/>
              <a:gd name="T52" fmla="*/ 1251 w 1826"/>
              <a:gd name="T53" fmla="*/ 326 h 577"/>
              <a:gd name="T54" fmla="*/ 1100 w 1826"/>
              <a:gd name="T55" fmla="*/ 376 h 577"/>
              <a:gd name="T56" fmla="*/ 1051 w 1826"/>
              <a:gd name="T57" fmla="*/ 476 h 577"/>
              <a:gd name="T58" fmla="*/ 900 w 1826"/>
              <a:gd name="T59" fmla="*/ 451 h 577"/>
              <a:gd name="T60" fmla="*/ 925 w 1826"/>
              <a:gd name="T61" fmla="*/ 500 h 577"/>
              <a:gd name="T62" fmla="*/ 1025 w 1826"/>
              <a:gd name="T63" fmla="*/ 551 h 577"/>
              <a:gd name="T64" fmla="*/ 1125 w 1826"/>
              <a:gd name="T65" fmla="*/ 551 h 577"/>
              <a:gd name="T66" fmla="*/ 1225 w 1826"/>
              <a:gd name="T67" fmla="*/ 500 h 577"/>
              <a:gd name="T68" fmla="*/ 1325 w 1826"/>
              <a:gd name="T69" fmla="*/ 526 h 577"/>
              <a:gd name="T70" fmla="*/ 1401 w 1826"/>
              <a:gd name="T71" fmla="*/ 451 h 577"/>
              <a:gd name="T72" fmla="*/ 1425 w 1826"/>
              <a:gd name="T73" fmla="*/ 376 h 577"/>
              <a:gd name="T74" fmla="*/ 1476 w 1826"/>
              <a:gd name="T75" fmla="*/ 300 h 577"/>
              <a:gd name="T76" fmla="*/ 1625 w 1826"/>
              <a:gd name="T77" fmla="*/ 226 h 577"/>
              <a:gd name="T78" fmla="*/ 1676 w 1826"/>
              <a:gd name="T79" fmla="*/ 251 h 577"/>
              <a:gd name="T80" fmla="*/ 1725 w 1826"/>
              <a:gd name="T81" fmla="*/ 176 h 577"/>
              <a:gd name="T82" fmla="*/ 1825 w 1826"/>
              <a:gd name="T83" fmla="*/ 151 h 577"/>
              <a:gd name="T84" fmla="*/ 1751 w 1826"/>
              <a:gd name="T85" fmla="*/ 10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6" h="577">
                <a:moveTo>
                  <a:pt x="325" y="200"/>
                </a:moveTo>
                <a:lnTo>
                  <a:pt x="325" y="200"/>
                </a:lnTo>
                <a:cubicBezTo>
                  <a:pt x="325" y="151"/>
                  <a:pt x="276" y="151"/>
                  <a:pt x="276" y="100"/>
                </a:cubicBezTo>
                <a:cubicBezTo>
                  <a:pt x="251" y="51"/>
                  <a:pt x="225" y="76"/>
                  <a:pt x="225" y="51"/>
                </a:cubicBezTo>
                <a:cubicBezTo>
                  <a:pt x="225" y="51"/>
                  <a:pt x="225" y="51"/>
                  <a:pt x="200" y="51"/>
                </a:cubicBezTo>
                <a:cubicBezTo>
                  <a:pt x="175" y="51"/>
                  <a:pt x="200" y="76"/>
                  <a:pt x="175" y="76"/>
                </a:cubicBezTo>
                <a:cubicBezTo>
                  <a:pt x="175" y="76"/>
                  <a:pt x="100" y="100"/>
                  <a:pt x="100" y="76"/>
                </a:cubicBezTo>
                <a:cubicBezTo>
                  <a:pt x="100" y="51"/>
                  <a:pt x="100" y="26"/>
                  <a:pt x="51" y="26"/>
                </a:cubicBezTo>
                <a:cubicBezTo>
                  <a:pt x="51" y="0"/>
                  <a:pt x="25" y="0"/>
                  <a:pt x="0" y="0"/>
                </a:cubicBezTo>
                <a:cubicBezTo>
                  <a:pt x="25" y="51"/>
                  <a:pt x="25" y="126"/>
                  <a:pt x="25" y="151"/>
                </a:cubicBezTo>
                <a:cubicBezTo>
                  <a:pt x="25" y="200"/>
                  <a:pt x="125" y="300"/>
                  <a:pt x="125" y="326"/>
                </a:cubicBezTo>
                <a:cubicBezTo>
                  <a:pt x="151" y="376"/>
                  <a:pt x="175" y="376"/>
                  <a:pt x="225" y="426"/>
                </a:cubicBezTo>
                <a:cubicBezTo>
                  <a:pt x="276" y="451"/>
                  <a:pt x="376" y="526"/>
                  <a:pt x="400" y="526"/>
                </a:cubicBezTo>
                <a:cubicBezTo>
                  <a:pt x="425" y="500"/>
                  <a:pt x="376" y="426"/>
                  <a:pt x="325" y="376"/>
                </a:cubicBezTo>
                <a:cubicBezTo>
                  <a:pt x="300" y="351"/>
                  <a:pt x="325" y="276"/>
                  <a:pt x="325" y="200"/>
                </a:cubicBezTo>
                <a:close/>
                <a:moveTo>
                  <a:pt x="1751" y="100"/>
                </a:moveTo>
                <a:lnTo>
                  <a:pt x="1751" y="100"/>
                </a:lnTo>
                <a:cubicBezTo>
                  <a:pt x="1725" y="100"/>
                  <a:pt x="1676" y="100"/>
                  <a:pt x="1676" y="76"/>
                </a:cubicBezTo>
                <a:cubicBezTo>
                  <a:pt x="1676" y="51"/>
                  <a:pt x="1625" y="0"/>
                  <a:pt x="1576" y="0"/>
                </a:cubicBezTo>
                <a:cubicBezTo>
                  <a:pt x="1551" y="0"/>
                  <a:pt x="1525" y="76"/>
                  <a:pt x="1501" y="100"/>
                </a:cubicBezTo>
                <a:cubicBezTo>
                  <a:pt x="1501" y="126"/>
                  <a:pt x="1451" y="126"/>
                  <a:pt x="1451" y="151"/>
                </a:cubicBezTo>
                <a:cubicBezTo>
                  <a:pt x="1476" y="176"/>
                  <a:pt x="1451" y="176"/>
                  <a:pt x="1451" y="176"/>
                </a:cubicBezTo>
                <a:cubicBezTo>
                  <a:pt x="1451" y="226"/>
                  <a:pt x="1451" y="251"/>
                  <a:pt x="1451" y="251"/>
                </a:cubicBezTo>
                <a:cubicBezTo>
                  <a:pt x="1425" y="226"/>
                  <a:pt x="1425" y="251"/>
                  <a:pt x="1376" y="251"/>
                </a:cubicBezTo>
                <a:cubicBezTo>
                  <a:pt x="1376" y="251"/>
                  <a:pt x="1351" y="226"/>
                  <a:pt x="1325" y="200"/>
                </a:cubicBezTo>
                <a:lnTo>
                  <a:pt x="1325" y="200"/>
                </a:lnTo>
                <a:cubicBezTo>
                  <a:pt x="1301" y="200"/>
                  <a:pt x="1251" y="276"/>
                  <a:pt x="1251" y="326"/>
                </a:cubicBezTo>
                <a:cubicBezTo>
                  <a:pt x="1225" y="376"/>
                  <a:pt x="1176" y="351"/>
                  <a:pt x="1100" y="376"/>
                </a:cubicBezTo>
                <a:cubicBezTo>
                  <a:pt x="1025" y="376"/>
                  <a:pt x="1076" y="451"/>
                  <a:pt x="1051" y="476"/>
                </a:cubicBezTo>
                <a:cubicBezTo>
                  <a:pt x="1025" y="526"/>
                  <a:pt x="951" y="451"/>
                  <a:pt x="900" y="451"/>
                </a:cubicBezTo>
                <a:cubicBezTo>
                  <a:pt x="925" y="476"/>
                  <a:pt x="925" y="500"/>
                  <a:pt x="925" y="500"/>
                </a:cubicBezTo>
                <a:cubicBezTo>
                  <a:pt x="951" y="500"/>
                  <a:pt x="1000" y="576"/>
                  <a:pt x="1025" y="551"/>
                </a:cubicBezTo>
                <a:cubicBezTo>
                  <a:pt x="1025" y="526"/>
                  <a:pt x="1100" y="551"/>
                  <a:pt x="1125" y="551"/>
                </a:cubicBezTo>
                <a:cubicBezTo>
                  <a:pt x="1176" y="526"/>
                  <a:pt x="1176" y="500"/>
                  <a:pt x="1225" y="500"/>
                </a:cubicBezTo>
                <a:cubicBezTo>
                  <a:pt x="1276" y="500"/>
                  <a:pt x="1276" y="551"/>
                  <a:pt x="1325" y="526"/>
                </a:cubicBezTo>
                <a:cubicBezTo>
                  <a:pt x="1376" y="500"/>
                  <a:pt x="1401" y="500"/>
                  <a:pt x="1401" y="451"/>
                </a:cubicBezTo>
                <a:cubicBezTo>
                  <a:pt x="1401" y="400"/>
                  <a:pt x="1425" y="400"/>
                  <a:pt x="1425" y="376"/>
                </a:cubicBezTo>
                <a:cubicBezTo>
                  <a:pt x="1425" y="326"/>
                  <a:pt x="1501" y="351"/>
                  <a:pt x="1476" y="300"/>
                </a:cubicBezTo>
                <a:cubicBezTo>
                  <a:pt x="1476" y="226"/>
                  <a:pt x="1576" y="226"/>
                  <a:pt x="1625" y="226"/>
                </a:cubicBezTo>
                <a:cubicBezTo>
                  <a:pt x="1651" y="226"/>
                  <a:pt x="1651" y="226"/>
                  <a:pt x="1676" y="251"/>
                </a:cubicBezTo>
                <a:cubicBezTo>
                  <a:pt x="1701" y="226"/>
                  <a:pt x="1751" y="200"/>
                  <a:pt x="1725" y="176"/>
                </a:cubicBezTo>
                <a:cubicBezTo>
                  <a:pt x="1701" y="176"/>
                  <a:pt x="1801" y="176"/>
                  <a:pt x="1825" y="151"/>
                </a:cubicBezTo>
                <a:cubicBezTo>
                  <a:pt x="1825" y="126"/>
                  <a:pt x="1776" y="100"/>
                  <a:pt x="1751" y="100"/>
                </a:cubicBezTo>
                <a:close/>
              </a:path>
            </a:pathLst>
          </a:custGeom>
          <a:solidFill>
            <a:srgbClr val="000C47"/>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8" name="Freeform 90">
            <a:extLst>
              <a:ext uri="{FF2B5EF4-FFF2-40B4-BE49-F238E27FC236}">
                <a16:creationId xmlns:a16="http://schemas.microsoft.com/office/drawing/2014/main" id="{B73F6F3D-F501-A23A-F902-27A993EB1A13}"/>
              </a:ext>
            </a:extLst>
          </p:cNvPr>
          <p:cNvSpPr>
            <a:spLocks noChangeArrowheads="1"/>
          </p:cNvSpPr>
          <p:nvPr/>
        </p:nvSpPr>
        <p:spPr bwMode="auto">
          <a:xfrm>
            <a:off x="6050142" y="4533633"/>
            <a:ext cx="40781" cy="23907"/>
          </a:xfrm>
          <a:custGeom>
            <a:avLst/>
            <a:gdLst>
              <a:gd name="T0" fmla="*/ 51 w 127"/>
              <a:gd name="T1" fmla="*/ 75 h 76"/>
              <a:gd name="T2" fmla="*/ 51 w 127"/>
              <a:gd name="T3" fmla="*/ 75 h 76"/>
              <a:gd name="T4" fmla="*/ 126 w 127"/>
              <a:gd name="T5" fmla="*/ 75 h 76"/>
              <a:gd name="T6" fmla="*/ 126 w 127"/>
              <a:gd name="T7" fmla="*/ 0 h 76"/>
              <a:gd name="T8" fmla="*/ 76 w 127"/>
              <a:gd name="T9" fmla="*/ 24 h 76"/>
              <a:gd name="T10" fmla="*/ 0 w 127"/>
              <a:gd name="T11" fmla="*/ 24 h 76"/>
              <a:gd name="T12" fmla="*/ 51 w 127"/>
              <a:gd name="T13" fmla="*/ 75 h 76"/>
            </a:gdLst>
            <a:ahLst/>
            <a:cxnLst>
              <a:cxn ang="0">
                <a:pos x="T0" y="T1"/>
              </a:cxn>
              <a:cxn ang="0">
                <a:pos x="T2" y="T3"/>
              </a:cxn>
              <a:cxn ang="0">
                <a:pos x="T4" y="T5"/>
              </a:cxn>
              <a:cxn ang="0">
                <a:pos x="T6" y="T7"/>
              </a:cxn>
              <a:cxn ang="0">
                <a:pos x="T8" y="T9"/>
              </a:cxn>
              <a:cxn ang="0">
                <a:pos x="T10" y="T11"/>
              </a:cxn>
              <a:cxn ang="0">
                <a:pos x="T12" y="T13"/>
              </a:cxn>
            </a:cxnLst>
            <a:rect l="0" t="0" r="r" b="b"/>
            <a:pathLst>
              <a:path w="127" h="76">
                <a:moveTo>
                  <a:pt x="51" y="75"/>
                </a:moveTo>
                <a:lnTo>
                  <a:pt x="51" y="75"/>
                </a:lnTo>
                <a:cubicBezTo>
                  <a:pt x="100" y="75"/>
                  <a:pt x="100" y="50"/>
                  <a:pt x="126" y="75"/>
                </a:cubicBezTo>
                <a:cubicBezTo>
                  <a:pt x="126" y="75"/>
                  <a:pt x="126" y="50"/>
                  <a:pt x="126" y="0"/>
                </a:cubicBezTo>
                <a:cubicBezTo>
                  <a:pt x="100" y="24"/>
                  <a:pt x="76" y="24"/>
                  <a:pt x="76" y="24"/>
                </a:cubicBezTo>
                <a:cubicBezTo>
                  <a:pt x="76" y="50"/>
                  <a:pt x="26" y="24"/>
                  <a:pt x="0" y="24"/>
                </a:cubicBezTo>
                <a:cubicBezTo>
                  <a:pt x="26" y="50"/>
                  <a:pt x="51" y="75"/>
                  <a:pt x="51"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89" name="Freeform 138">
            <a:extLst>
              <a:ext uri="{FF2B5EF4-FFF2-40B4-BE49-F238E27FC236}">
                <a16:creationId xmlns:a16="http://schemas.microsoft.com/office/drawing/2014/main" id="{D910404E-1622-2E2C-B909-43E42B9D732D}"/>
              </a:ext>
            </a:extLst>
          </p:cNvPr>
          <p:cNvSpPr>
            <a:spLocks noChangeArrowheads="1"/>
          </p:cNvSpPr>
          <p:nvPr/>
        </p:nvSpPr>
        <p:spPr bwMode="auto">
          <a:xfrm>
            <a:off x="4344372" y="3194891"/>
            <a:ext cx="525935" cy="310780"/>
          </a:xfrm>
          <a:custGeom>
            <a:avLst/>
            <a:gdLst>
              <a:gd name="T0" fmla="*/ 1600 w 1651"/>
              <a:gd name="T1" fmla="*/ 550 h 976"/>
              <a:gd name="T2" fmla="*/ 1600 w 1651"/>
              <a:gd name="T3" fmla="*/ 550 h 976"/>
              <a:gd name="T4" fmla="*/ 1475 w 1651"/>
              <a:gd name="T5" fmla="*/ 500 h 976"/>
              <a:gd name="T6" fmla="*/ 1400 w 1651"/>
              <a:gd name="T7" fmla="*/ 500 h 976"/>
              <a:gd name="T8" fmla="*/ 1325 w 1651"/>
              <a:gd name="T9" fmla="*/ 475 h 976"/>
              <a:gd name="T10" fmla="*/ 1225 w 1651"/>
              <a:gd name="T11" fmla="*/ 550 h 976"/>
              <a:gd name="T12" fmla="*/ 1175 w 1651"/>
              <a:gd name="T13" fmla="*/ 550 h 976"/>
              <a:gd name="T14" fmla="*/ 1100 w 1651"/>
              <a:gd name="T15" fmla="*/ 500 h 976"/>
              <a:gd name="T16" fmla="*/ 1025 w 1651"/>
              <a:gd name="T17" fmla="*/ 500 h 976"/>
              <a:gd name="T18" fmla="*/ 975 w 1651"/>
              <a:gd name="T19" fmla="*/ 400 h 976"/>
              <a:gd name="T20" fmla="*/ 949 w 1651"/>
              <a:gd name="T21" fmla="*/ 300 h 976"/>
              <a:gd name="T22" fmla="*/ 875 w 1651"/>
              <a:gd name="T23" fmla="*/ 250 h 976"/>
              <a:gd name="T24" fmla="*/ 675 w 1651"/>
              <a:gd name="T25" fmla="*/ 250 h 976"/>
              <a:gd name="T26" fmla="*/ 549 w 1651"/>
              <a:gd name="T27" fmla="*/ 250 h 976"/>
              <a:gd name="T28" fmla="*/ 449 w 1651"/>
              <a:gd name="T29" fmla="*/ 125 h 976"/>
              <a:gd name="T30" fmla="*/ 424 w 1651"/>
              <a:gd name="T31" fmla="*/ 175 h 976"/>
              <a:gd name="T32" fmla="*/ 300 w 1651"/>
              <a:gd name="T33" fmla="*/ 150 h 976"/>
              <a:gd name="T34" fmla="*/ 300 w 1651"/>
              <a:gd name="T35" fmla="*/ 25 h 976"/>
              <a:gd name="T36" fmla="*/ 249 w 1651"/>
              <a:gd name="T37" fmla="*/ 150 h 976"/>
              <a:gd name="T38" fmla="*/ 249 w 1651"/>
              <a:gd name="T39" fmla="*/ 0 h 976"/>
              <a:gd name="T40" fmla="*/ 0 w 1651"/>
              <a:gd name="T41" fmla="*/ 75 h 976"/>
              <a:gd name="T42" fmla="*/ 0 w 1651"/>
              <a:gd name="T43" fmla="*/ 475 h 976"/>
              <a:gd name="T44" fmla="*/ 0 w 1651"/>
              <a:gd name="T45" fmla="*/ 475 h 976"/>
              <a:gd name="T46" fmla="*/ 49 w 1651"/>
              <a:gd name="T47" fmla="*/ 500 h 976"/>
              <a:gd name="T48" fmla="*/ 100 w 1651"/>
              <a:gd name="T49" fmla="*/ 450 h 976"/>
              <a:gd name="T50" fmla="*/ 149 w 1651"/>
              <a:gd name="T51" fmla="*/ 400 h 976"/>
              <a:gd name="T52" fmla="*/ 200 w 1651"/>
              <a:gd name="T53" fmla="*/ 375 h 976"/>
              <a:gd name="T54" fmla="*/ 224 w 1651"/>
              <a:gd name="T55" fmla="*/ 350 h 976"/>
              <a:gd name="T56" fmla="*/ 300 w 1651"/>
              <a:gd name="T57" fmla="*/ 375 h 976"/>
              <a:gd name="T58" fmla="*/ 374 w 1651"/>
              <a:gd name="T59" fmla="*/ 400 h 976"/>
              <a:gd name="T60" fmla="*/ 400 w 1651"/>
              <a:gd name="T61" fmla="*/ 500 h 976"/>
              <a:gd name="T62" fmla="*/ 549 w 1651"/>
              <a:gd name="T63" fmla="*/ 500 h 976"/>
              <a:gd name="T64" fmla="*/ 575 w 1651"/>
              <a:gd name="T65" fmla="*/ 575 h 976"/>
              <a:gd name="T66" fmla="*/ 624 w 1651"/>
              <a:gd name="T67" fmla="*/ 650 h 976"/>
              <a:gd name="T68" fmla="*/ 725 w 1651"/>
              <a:gd name="T69" fmla="*/ 725 h 976"/>
              <a:gd name="T70" fmla="*/ 825 w 1651"/>
              <a:gd name="T71" fmla="*/ 775 h 976"/>
              <a:gd name="T72" fmla="*/ 925 w 1651"/>
              <a:gd name="T73" fmla="*/ 850 h 976"/>
              <a:gd name="T74" fmla="*/ 1000 w 1651"/>
              <a:gd name="T75" fmla="*/ 875 h 976"/>
              <a:gd name="T76" fmla="*/ 1025 w 1651"/>
              <a:gd name="T77" fmla="*/ 925 h 976"/>
              <a:gd name="T78" fmla="*/ 1025 w 1651"/>
              <a:gd name="T79" fmla="*/ 925 h 976"/>
              <a:gd name="T80" fmla="*/ 1100 w 1651"/>
              <a:gd name="T81" fmla="*/ 950 h 976"/>
              <a:gd name="T82" fmla="*/ 1125 w 1651"/>
              <a:gd name="T83" fmla="*/ 975 h 976"/>
              <a:gd name="T84" fmla="*/ 1175 w 1651"/>
              <a:gd name="T85" fmla="*/ 875 h 976"/>
              <a:gd name="T86" fmla="*/ 1175 w 1651"/>
              <a:gd name="T87" fmla="*/ 800 h 976"/>
              <a:gd name="T88" fmla="*/ 1100 w 1651"/>
              <a:gd name="T89" fmla="*/ 725 h 976"/>
              <a:gd name="T90" fmla="*/ 1200 w 1651"/>
              <a:gd name="T91" fmla="*/ 700 h 976"/>
              <a:gd name="T92" fmla="*/ 1225 w 1651"/>
              <a:gd name="T93" fmla="*/ 650 h 976"/>
              <a:gd name="T94" fmla="*/ 1275 w 1651"/>
              <a:gd name="T95" fmla="*/ 600 h 976"/>
              <a:gd name="T96" fmla="*/ 1349 w 1651"/>
              <a:gd name="T97" fmla="*/ 575 h 976"/>
              <a:gd name="T98" fmla="*/ 1400 w 1651"/>
              <a:gd name="T99" fmla="*/ 550 h 976"/>
              <a:gd name="T100" fmla="*/ 1375 w 1651"/>
              <a:gd name="T101" fmla="*/ 625 h 976"/>
              <a:gd name="T102" fmla="*/ 1475 w 1651"/>
              <a:gd name="T103" fmla="*/ 625 h 976"/>
              <a:gd name="T104" fmla="*/ 1575 w 1651"/>
              <a:gd name="T105" fmla="*/ 600 h 976"/>
              <a:gd name="T106" fmla="*/ 1600 w 1651"/>
              <a:gd name="T107" fmla="*/ 55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51" h="976">
                <a:moveTo>
                  <a:pt x="1600" y="550"/>
                </a:moveTo>
                <a:lnTo>
                  <a:pt x="1600" y="550"/>
                </a:lnTo>
                <a:cubicBezTo>
                  <a:pt x="1575" y="525"/>
                  <a:pt x="1500" y="475"/>
                  <a:pt x="1475" y="500"/>
                </a:cubicBezTo>
                <a:cubicBezTo>
                  <a:pt x="1475" y="525"/>
                  <a:pt x="1425" y="525"/>
                  <a:pt x="1400" y="500"/>
                </a:cubicBezTo>
                <a:cubicBezTo>
                  <a:pt x="1400" y="475"/>
                  <a:pt x="1375" y="450"/>
                  <a:pt x="1325" y="475"/>
                </a:cubicBezTo>
                <a:cubicBezTo>
                  <a:pt x="1249" y="500"/>
                  <a:pt x="1225" y="525"/>
                  <a:pt x="1225" y="550"/>
                </a:cubicBezTo>
                <a:cubicBezTo>
                  <a:pt x="1225" y="575"/>
                  <a:pt x="1175" y="600"/>
                  <a:pt x="1175" y="550"/>
                </a:cubicBezTo>
                <a:cubicBezTo>
                  <a:pt x="1175" y="525"/>
                  <a:pt x="1125" y="525"/>
                  <a:pt x="1100" y="500"/>
                </a:cubicBezTo>
                <a:cubicBezTo>
                  <a:pt x="1075" y="500"/>
                  <a:pt x="1025" y="525"/>
                  <a:pt x="1025" y="500"/>
                </a:cubicBezTo>
                <a:cubicBezTo>
                  <a:pt x="1025" y="450"/>
                  <a:pt x="975" y="425"/>
                  <a:pt x="975" y="400"/>
                </a:cubicBezTo>
                <a:cubicBezTo>
                  <a:pt x="949" y="350"/>
                  <a:pt x="975" y="300"/>
                  <a:pt x="949" y="300"/>
                </a:cubicBezTo>
                <a:cubicBezTo>
                  <a:pt x="925" y="300"/>
                  <a:pt x="900" y="250"/>
                  <a:pt x="875" y="250"/>
                </a:cubicBezTo>
                <a:cubicBezTo>
                  <a:pt x="849" y="250"/>
                  <a:pt x="700" y="250"/>
                  <a:pt x="675" y="250"/>
                </a:cubicBezTo>
                <a:cubicBezTo>
                  <a:pt x="649" y="225"/>
                  <a:pt x="575" y="275"/>
                  <a:pt x="549" y="250"/>
                </a:cubicBezTo>
                <a:cubicBezTo>
                  <a:pt x="549" y="225"/>
                  <a:pt x="475" y="150"/>
                  <a:pt x="449" y="125"/>
                </a:cubicBezTo>
                <a:cubicBezTo>
                  <a:pt x="449" y="150"/>
                  <a:pt x="424" y="150"/>
                  <a:pt x="424" y="175"/>
                </a:cubicBezTo>
                <a:cubicBezTo>
                  <a:pt x="349" y="225"/>
                  <a:pt x="275" y="200"/>
                  <a:pt x="300" y="150"/>
                </a:cubicBezTo>
                <a:cubicBezTo>
                  <a:pt x="324" y="100"/>
                  <a:pt x="324" y="25"/>
                  <a:pt x="300" y="25"/>
                </a:cubicBezTo>
                <a:cubicBezTo>
                  <a:pt x="249" y="25"/>
                  <a:pt x="275" y="150"/>
                  <a:pt x="249" y="150"/>
                </a:cubicBezTo>
                <a:cubicBezTo>
                  <a:pt x="224" y="150"/>
                  <a:pt x="224" y="50"/>
                  <a:pt x="249" y="0"/>
                </a:cubicBezTo>
                <a:cubicBezTo>
                  <a:pt x="0" y="75"/>
                  <a:pt x="0" y="75"/>
                  <a:pt x="0" y="75"/>
                </a:cubicBezTo>
                <a:cubicBezTo>
                  <a:pt x="0" y="475"/>
                  <a:pt x="0" y="475"/>
                  <a:pt x="0" y="475"/>
                </a:cubicBezTo>
                <a:lnTo>
                  <a:pt x="0" y="475"/>
                </a:lnTo>
                <a:cubicBezTo>
                  <a:pt x="24" y="500"/>
                  <a:pt x="49" y="500"/>
                  <a:pt x="49" y="500"/>
                </a:cubicBezTo>
                <a:cubicBezTo>
                  <a:pt x="100" y="500"/>
                  <a:pt x="100" y="475"/>
                  <a:pt x="100" y="450"/>
                </a:cubicBezTo>
                <a:cubicBezTo>
                  <a:pt x="100" y="450"/>
                  <a:pt x="124" y="400"/>
                  <a:pt x="149" y="400"/>
                </a:cubicBezTo>
                <a:cubicBezTo>
                  <a:pt x="175" y="400"/>
                  <a:pt x="175" y="375"/>
                  <a:pt x="200" y="375"/>
                </a:cubicBezTo>
                <a:cubicBezTo>
                  <a:pt x="200" y="375"/>
                  <a:pt x="224" y="375"/>
                  <a:pt x="224" y="350"/>
                </a:cubicBezTo>
                <a:cubicBezTo>
                  <a:pt x="249" y="350"/>
                  <a:pt x="275" y="350"/>
                  <a:pt x="300" y="375"/>
                </a:cubicBezTo>
                <a:cubicBezTo>
                  <a:pt x="300" y="375"/>
                  <a:pt x="349" y="400"/>
                  <a:pt x="374" y="400"/>
                </a:cubicBezTo>
                <a:cubicBezTo>
                  <a:pt x="400" y="400"/>
                  <a:pt x="400" y="475"/>
                  <a:pt x="400" y="500"/>
                </a:cubicBezTo>
                <a:cubicBezTo>
                  <a:pt x="400" y="500"/>
                  <a:pt x="524" y="500"/>
                  <a:pt x="549" y="500"/>
                </a:cubicBezTo>
                <a:cubicBezTo>
                  <a:pt x="549" y="525"/>
                  <a:pt x="549" y="550"/>
                  <a:pt x="575" y="575"/>
                </a:cubicBezTo>
                <a:cubicBezTo>
                  <a:pt x="600" y="600"/>
                  <a:pt x="624" y="625"/>
                  <a:pt x="624" y="650"/>
                </a:cubicBezTo>
                <a:cubicBezTo>
                  <a:pt x="624" y="675"/>
                  <a:pt x="700" y="700"/>
                  <a:pt x="725" y="725"/>
                </a:cubicBezTo>
                <a:cubicBezTo>
                  <a:pt x="725" y="750"/>
                  <a:pt x="775" y="775"/>
                  <a:pt x="825" y="775"/>
                </a:cubicBezTo>
                <a:cubicBezTo>
                  <a:pt x="875" y="800"/>
                  <a:pt x="900" y="850"/>
                  <a:pt x="925" y="850"/>
                </a:cubicBezTo>
                <a:cubicBezTo>
                  <a:pt x="949" y="850"/>
                  <a:pt x="1000" y="875"/>
                  <a:pt x="1000" y="875"/>
                </a:cubicBezTo>
                <a:cubicBezTo>
                  <a:pt x="1025" y="925"/>
                  <a:pt x="1025" y="925"/>
                  <a:pt x="1025" y="925"/>
                </a:cubicBezTo>
                <a:lnTo>
                  <a:pt x="1025" y="925"/>
                </a:lnTo>
                <a:cubicBezTo>
                  <a:pt x="1049" y="925"/>
                  <a:pt x="1075" y="950"/>
                  <a:pt x="1100" y="950"/>
                </a:cubicBezTo>
                <a:lnTo>
                  <a:pt x="1125" y="975"/>
                </a:lnTo>
                <a:cubicBezTo>
                  <a:pt x="1125" y="925"/>
                  <a:pt x="1149" y="900"/>
                  <a:pt x="1175" y="875"/>
                </a:cubicBezTo>
                <a:cubicBezTo>
                  <a:pt x="1200" y="850"/>
                  <a:pt x="1149" y="825"/>
                  <a:pt x="1175" y="800"/>
                </a:cubicBezTo>
                <a:cubicBezTo>
                  <a:pt x="1175" y="775"/>
                  <a:pt x="1100" y="750"/>
                  <a:pt x="1100" y="725"/>
                </a:cubicBezTo>
                <a:cubicBezTo>
                  <a:pt x="1100" y="700"/>
                  <a:pt x="1175" y="700"/>
                  <a:pt x="1200" y="700"/>
                </a:cubicBezTo>
                <a:cubicBezTo>
                  <a:pt x="1225" y="675"/>
                  <a:pt x="1200" y="650"/>
                  <a:pt x="1225" y="650"/>
                </a:cubicBezTo>
                <a:cubicBezTo>
                  <a:pt x="1249" y="650"/>
                  <a:pt x="1249" y="625"/>
                  <a:pt x="1275" y="600"/>
                </a:cubicBezTo>
                <a:cubicBezTo>
                  <a:pt x="1275" y="575"/>
                  <a:pt x="1325" y="600"/>
                  <a:pt x="1349" y="575"/>
                </a:cubicBezTo>
                <a:cubicBezTo>
                  <a:pt x="1375" y="550"/>
                  <a:pt x="1400" y="550"/>
                  <a:pt x="1400" y="550"/>
                </a:cubicBezTo>
                <a:cubicBezTo>
                  <a:pt x="1425" y="575"/>
                  <a:pt x="1375" y="625"/>
                  <a:pt x="1375" y="625"/>
                </a:cubicBezTo>
                <a:cubicBezTo>
                  <a:pt x="1400" y="625"/>
                  <a:pt x="1475" y="625"/>
                  <a:pt x="1475" y="625"/>
                </a:cubicBezTo>
                <a:cubicBezTo>
                  <a:pt x="1500" y="600"/>
                  <a:pt x="1549" y="625"/>
                  <a:pt x="1575" y="600"/>
                </a:cubicBezTo>
                <a:cubicBezTo>
                  <a:pt x="1600" y="575"/>
                  <a:pt x="1650" y="600"/>
                  <a:pt x="1600" y="5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0" name="Freeform 140">
            <a:extLst>
              <a:ext uri="{FF2B5EF4-FFF2-40B4-BE49-F238E27FC236}">
                <a16:creationId xmlns:a16="http://schemas.microsoft.com/office/drawing/2014/main" id="{E3756A8F-7F82-CFFB-2683-F1C45F64C3A7}"/>
              </a:ext>
            </a:extLst>
          </p:cNvPr>
          <p:cNvSpPr>
            <a:spLocks noChangeArrowheads="1"/>
          </p:cNvSpPr>
          <p:nvPr/>
        </p:nvSpPr>
        <p:spPr bwMode="auto">
          <a:xfrm>
            <a:off x="8527316" y="2382307"/>
            <a:ext cx="104061" cy="32343"/>
          </a:xfrm>
          <a:custGeom>
            <a:avLst/>
            <a:gdLst>
              <a:gd name="T0" fmla="*/ 150 w 326"/>
              <a:gd name="T1" fmla="*/ 0 h 101"/>
              <a:gd name="T2" fmla="*/ 150 w 326"/>
              <a:gd name="T3" fmla="*/ 0 h 101"/>
              <a:gd name="T4" fmla="*/ 25 w 326"/>
              <a:gd name="T5" fmla="*/ 49 h 101"/>
              <a:gd name="T6" fmla="*/ 200 w 326"/>
              <a:gd name="T7" fmla="*/ 74 h 101"/>
              <a:gd name="T8" fmla="*/ 325 w 326"/>
              <a:gd name="T9" fmla="*/ 74 h 101"/>
              <a:gd name="T10" fmla="*/ 150 w 326"/>
              <a:gd name="T11" fmla="*/ 0 h 101"/>
            </a:gdLst>
            <a:ahLst/>
            <a:cxnLst>
              <a:cxn ang="0">
                <a:pos x="T0" y="T1"/>
              </a:cxn>
              <a:cxn ang="0">
                <a:pos x="T2" y="T3"/>
              </a:cxn>
              <a:cxn ang="0">
                <a:pos x="T4" y="T5"/>
              </a:cxn>
              <a:cxn ang="0">
                <a:pos x="T6" y="T7"/>
              </a:cxn>
              <a:cxn ang="0">
                <a:pos x="T8" y="T9"/>
              </a:cxn>
              <a:cxn ang="0">
                <a:pos x="T10" y="T11"/>
              </a:cxn>
            </a:cxnLst>
            <a:rect l="0" t="0" r="r" b="b"/>
            <a:pathLst>
              <a:path w="326" h="101">
                <a:moveTo>
                  <a:pt x="150" y="0"/>
                </a:moveTo>
                <a:lnTo>
                  <a:pt x="150" y="0"/>
                </a:lnTo>
                <a:cubicBezTo>
                  <a:pt x="125" y="25"/>
                  <a:pt x="0" y="0"/>
                  <a:pt x="25" y="49"/>
                </a:cubicBezTo>
                <a:cubicBezTo>
                  <a:pt x="50" y="74"/>
                  <a:pt x="150" y="49"/>
                  <a:pt x="200" y="74"/>
                </a:cubicBezTo>
                <a:cubicBezTo>
                  <a:pt x="250" y="100"/>
                  <a:pt x="325" y="74"/>
                  <a:pt x="325" y="74"/>
                </a:cubicBezTo>
                <a:cubicBezTo>
                  <a:pt x="325" y="49"/>
                  <a:pt x="150" y="0"/>
                  <a:pt x="150"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1" name="Freeform 141">
            <a:extLst>
              <a:ext uri="{FF2B5EF4-FFF2-40B4-BE49-F238E27FC236}">
                <a16:creationId xmlns:a16="http://schemas.microsoft.com/office/drawing/2014/main" id="{070F47E2-77D0-7170-F663-F9E00B9B4902}"/>
              </a:ext>
            </a:extLst>
          </p:cNvPr>
          <p:cNvSpPr>
            <a:spLocks noChangeArrowheads="1"/>
          </p:cNvSpPr>
          <p:nvPr/>
        </p:nvSpPr>
        <p:spPr bwMode="auto">
          <a:xfrm>
            <a:off x="6521233" y="3201925"/>
            <a:ext cx="518903" cy="510465"/>
          </a:xfrm>
          <a:custGeom>
            <a:avLst/>
            <a:gdLst>
              <a:gd name="T0" fmla="*/ 1525 w 1626"/>
              <a:gd name="T1" fmla="*/ 175 h 1601"/>
              <a:gd name="T2" fmla="*/ 1225 w 1626"/>
              <a:gd name="T3" fmla="*/ 50 h 1601"/>
              <a:gd name="T4" fmla="*/ 1151 w 1626"/>
              <a:gd name="T5" fmla="*/ 175 h 1601"/>
              <a:gd name="T6" fmla="*/ 1051 w 1626"/>
              <a:gd name="T7" fmla="*/ 275 h 1601"/>
              <a:gd name="T8" fmla="*/ 1000 w 1626"/>
              <a:gd name="T9" fmla="*/ 400 h 1601"/>
              <a:gd name="T10" fmla="*/ 1051 w 1626"/>
              <a:gd name="T11" fmla="*/ 450 h 1601"/>
              <a:gd name="T12" fmla="*/ 1051 w 1626"/>
              <a:gd name="T13" fmla="*/ 375 h 1601"/>
              <a:gd name="T14" fmla="*/ 1275 w 1626"/>
              <a:gd name="T15" fmla="*/ 400 h 1601"/>
              <a:gd name="T16" fmla="*/ 1451 w 1626"/>
              <a:gd name="T17" fmla="*/ 300 h 1601"/>
              <a:gd name="T18" fmla="*/ 1625 w 1626"/>
              <a:gd name="T19" fmla="*/ 150 h 1601"/>
              <a:gd name="T20" fmla="*/ 1025 w 1626"/>
              <a:gd name="T21" fmla="*/ 550 h 1601"/>
              <a:gd name="T22" fmla="*/ 1000 w 1626"/>
              <a:gd name="T23" fmla="*/ 675 h 1601"/>
              <a:gd name="T24" fmla="*/ 900 w 1626"/>
              <a:gd name="T25" fmla="*/ 900 h 1601"/>
              <a:gd name="T26" fmla="*/ 750 w 1626"/>
              <a:gd name="T27" fmla="*/ 925 h 1601"/>
              <a:gd name="T28" fmla="*/ 625 w 1626"/>
              <a:gd name="T29" fmla="*/ 1100 h 1601"/>
              <a:gd name="T30" fmla="*/ 450 w 1626"/>
              <a:gd name="T31" fmla="*/ 1125 h 1601"/>
              <a:gd name="T32" fmla="*/ 175 w 1626"/>
              <a:gd name="T33" fmla="*/ 1250 h 1601"/>
              <a:gd name="T34" fmla="*/ 275 w 1626"/>
              <a:gd name="T35" fmla="*/ 1275 h 1601"/>
              <a:gd name="T36" fmla="*/ 550 w 1626"/>
              <a:gd name="T37" fmla="*/ 1300 h 1601"/>
              <a:gd name="T38" fmla="*/ 675 w 1626"/>
              <a:gd name="T39" fmla="*/ 1225 h 1601"/>
              <a:gd name="T40" fmla="*/ 825 w 1626"/>
              <a:gd name="T41" fmla="*/ 1200 h 1601"/>
              <a:gd name="T42" fmla="*/ 950 w 1626"/>
              <a:gd name="T43" fmla="*/ 1150 h 1601"/>
              <a:gd name="T44" fmla="*/ 1075 w 1626"/>
              <a:gd name="T45" fmla="*/ 1000 h 1601"/>
              <a:gd name="T46" fmla="*/ 1175 w 1626"/>
              <a:gd name="T47" fmla="*/ 775 h 1601"/>
              <a:gd name="T48" fmla="*/ 1025 w 1626"/>
              <a:gd name="T49" fmla="*/ 550 h 1601"/>
              <a:gd name="T50" fmla="*/ 400 w 1626"/>
              <a:gd name="T51" fmla="*/ 1275 h 1601"/>
              <a:gd name="T52" fmla="*/ 300 w 1626"/>
              <a:gd name="T53" fmla="*/ 1425 h 1601"/>
              <a:gd name="T54" fmla="*/ 425 w 1626"/>
              <a:gd name="T55" fmla="*/ 1375 h 1601"/>
              <a:gd name="T56" fmla="*/ 400 w 1626"/>
              <a:gd name="T57" fmla="*/ 1275 h 1601"/>
              <a:gd name="T58" fmla="*/ 225 w 1626"/>
              <a:gd name="T59" fmla="*/ 1375 h 1601"/>
              <a:gd name="T60" fmla="*/ 75 w 1626"/>
              <a:gd name="T61" fmla="*/ 1350 h 1601"/>
              <a:gd name="T62" fmla="*/ 75 w 1626"/>
              <a:gd name="T63" fmla="*/ 1400 h 1601"/>
              <a:gd name="T64" fmla="*/ 125 w 1626"/>
              <a:gd name="T65" fmla="*/ 1600 h 1601"/>
              <a:gd name="T66" fmla="*/ 225 w 1626"/>
              <a:gd name="T67" fmla="*/ 137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6" h="1601">
                <a:moveTo>
                  <a:pt x="1525" y="175"/>
                </a:moveTo>
                <a:lnTo>
                  <a:pt x="1525" y="175"/>
                </a:lnTo>
                <a:cubicBezTo>
                  <a:pt x="1500" y="150"/>
                  <a:pt x="1475" y="175"/>
                  <a:pt x="1425" y="200"/>
                </a:cubicBezTo>
                <a:cubicBezTo>
                  <a:pt x="1400" y="200"/>
                  <a:pt x="1251" y="100"/>
                  <a:pt x="1225" y="50"/>
                </a:cubicBezTo>
                <a:cubicBezTo>
                  <a:pt x="1200" y="0"/>
                  <a:pt x="1151" y="25"/>
                  <a:pt x="1175" y="75"/>
                </a:cubicBezTo>
                <a:cubicBezTo>
                  <a:pt x="1200" y="100"/>
                  <a:pt x="1151" y="125"/>
                  <a:pt x="1151" y="175"/>
                </a:cubicBezTo>
                <a:cubicBezTo>
                  <a:pt x="1151" y="225"/>
                  <a:pt x="1125" y="225"/>
                  <a:pt x="1125" y="250"/>
                </a:cubicBezTo>
                <a:cubicBezTo>
                  <a:pt x="1151" y="275"/>
                  <a:pt x="1100" y="275"/>
                  <a:pt x="1051" y="275"/>
                </a:cubicBezTo>
                <a:cubicBezTo>
                  <a:pt x="1025" y="275"/>
                  <a:pt x="1051" y="325"/>
                  <a:pt x="1025" y="325"/>
                </a:cubicBezTo>
                <a:cubicBezTo>
                  <a:pt x="975" y="350"/>
                  <a:pt x="975" y="375"/>
                  <a:pt x="1000" y="400"/>
                </a:cubicBezTo>
                <a:cubicBezTo>
                  <a:pt x="1025" y="400"/>
                  <a:pt x="1000" y="450"/>
                  <a:pt x="1000" y="475"/>
                </a:cubicBezTo>
                <a:cubicBezTo>
                  <a:pt x="1000" y="500"/>
                  <a:pt x="1025" y="475"/>
                  <a:pt x="1051" y="450"/>
                </a:cubicBezTo>
                <a:cubicBezTo>
                  <a:pt x="1075" y="425"/>
                  <a:pt x="1100" y="450"/>
                  <a:pt x="1100" y="425"/>
                </a:cubicBezTo>
                <a:cubicBezTo>
                  <a:pt x="1100" y="400"/>
                  <a:pt x="1051" y="400"/>
                  <a:pt x="1051" y="375"/>
                </a:cubicBezTo>
                <a:cubicBezTo>
                  <a:pt x="1051" y="325"/>
                  <a:pt x="1100" y="375"/>
                  <a:pt x="1125" y="350"/>
                </a:cubicBezTo>
                <a:cubicBezTo>
                  <a:pt x="1151" y="350"/>
                  <a:pt x="1225" y="350"/>
                  <a:pt x="1275" y="400"/>
                </a:cubicBezTo>
                <a:cubicBezTo>
                  <a:pt x="1300" y="425"/>
                  <a:pt x="1325" y="400"/>
                  <a:pt x="1325" y="375"/>
                </a:cubicBezTo>
                <a:cubicBezTo>
                  <a:pt x="1325" y="325"/>
                  <a:pt x="1400" y="300"/>
                  <a:pt x="1451" y="300"/>
                </a:cubicBezTo>
                <a:cubicBezTo>
                  <a:pt x="1525" y="300"/>
                  <a:pt x="1525" y="275"/>
                  <a:pt x="1500" y="250"/>
                </a:cubicBezTo>
                <a:cubicBezTo>
                  <a:pt x="1500" y="250"/>
                  <a:pt x="1625" y="175"/>
                  <a:pt x="1625" y="150"/>
                </a:cubicBezTo>
                <a:cubicBezTo>
                  <a:pt x="1600" y="125"/>
                  <a:pt x="1551" y="200"/>
                  <a:pt x="1525" y="175"/>
                </a:cubicBezTo>
                <a:close/>
                <a:moveTo>
                  <a:pt x="1025" y="550"/>
                </a:moveTo>
                <a:lnTo>
                  <a:pt x="1025" y="550"/>
                </a:lnTo>
                <a:cubicBezTo>
                  <a:pt x="1000" y="550"/>
                  <a:pt x="975" y="650"/>
                  <a:pt x="1000" y="675"/>
                </a:cubicBezTo>
                <a:cubicBezTo>
                  <a:pt x="1025" y="700"/>
                  <a:pt x="950" y="750"/>
                  <a:pt x="950" y="800"/>
                </a:cubicBezTo>
                <a:cubicBezTo>
                  <a:pt x="950" y="850"/>
                  <a:pt x="900" y="850"/>
                  <a:pt x="900" y="900"/>
                </a:cubicBezTo>
                <a:cubicBezTo>
                  <a:pt x="875" y="925"/>
                  <a:pt x="850" y="925"/>
                  <a:pt x="800" y="950"/>
                </a:cubicBezTo>
                <a:cubicBezTo>
                  <a:pt x="750" y="1000"/>
                  <a:pt x="725" y="950"/>
                  <a:pt x="750" y="925"/>
                </a:cubicBezTo>
                <a:cubicBezTo>
                  <a:pt x="750" y="900"/>
                  <a:pt x="675" y="950"/>
                  <a:pt x="675" y="1000"/>
                </a:cubicBezTo>
                <a:cubicBezTo>
                  <a:pt x="675" y="1050"/>
                  <a:pt x="600" y="1075"/>
                  <a:pt x="625" y="1100"/>
                </a:cubicBezTo>
                <a:cubicBezTo>
                  <a:pt x="650" y="1125"/>
                  <a:pt x="550" y="1150"/>
                  <a:pt x="550" y="1125"/>
                </a:cubicBezTo>
                <a:cubicBezTo>
                  <a:pt x="575" y="1100"/>
                  <a:pt x="500" y="1100"/>
                  <a:pt x="450" y="1125"/>
                </a:cubicBezTo>
                <a:cubicBezTo>
                  <a:pt x="375" y="1150"/>
                  <a:pt x="350" y="1100"/>
                  <a:pt x="300" y="1125"/>
                </a:cubicBezTo>
                <a:cubicBezTo>
                  <a:pt x="275" y="1175"/>
                  <a:pt x="200" y="1225"/>
                  <a:pt x="175" y="1250"/>
                </a:cubicBezTo>
                <a:cubicBezTo>
                  <a:pt x="125" y="1250"/>
                  <a:pt x="150" y="1300"/>
                  <a:pt x="175" y="1300"/>
                </a:cubicBezTo>
                <a:cubicBezTo>
                  <a:pt x="200" y="1275"/>
                  <a:pt x="250" y="1300"/>
                  <a:pt x="275" y="1275"/>
                </a:cubicBezTo>
                <a:cubicBezTo>
                  <a:pt x="275" y="1250"/>
                  <a:pt x="425" y="1225"/>
                  <a:pt x="500" y="1225"/>
                </a:cubicBezTo>
                <a:cubicBezTo>
                  <a:pt x="575" y="1225"/>
                  <a:pt x="525" y="1250"/>
                  <a:pt x="550" y="1300"/>
                </a:cubicBezTo>
                <a:cubicBezTo>
                  <a:pt x="550" y="1350"/>
                  <a:pt x="625" y="1325"/>
                  <a:pt x="650" y="1300"/>
                </a:cubicBezTo>
                <a:cubicBezTo>
                  <a:pt x="700" y="1250"/>
                  <a:pt x="725" y="1250"/>
                  <a:pt x="675" y="1225"/>
                </a:cubicBezTo>
                <a:cubicBezTo>
                  <a:pt x="650" y="1200"/>
                  <a:pt x="700" y="1175"/>
                  <a:pt x="725" y="1225"/>
                </a:cubicBezTo>
                <a:cubicBezTo>
                  <a:pt x="725" y="1250"/>
                  <a:pt x="800" y="1250"/>
                  <a:pt x="825" y="1200"/>
                </a:cubicBezTo>
                <a:cubicBezTo>
                  <a:pt x="850" y="1175"/>
                  <a:pt x="875" y="1225"/>
                  <a:pt x="900" y="1225"/>
                </a:cubicBezTo>
                <a:cubicBezTo>
                  <a:pt x="925" y="1200"/>
                  <a:pt x="950" y="1125"/>
                  <a:pt x="950" y="1150"/>
                </a:cubicBezTo>
                <a:cubicBezTo>
                  <a:pt x="950" y="1200"/>
                  <a:pt x="1025" y="1175"/>
                  <a:pt x="1051" y="1150"/>
                </a:cubicBezTo>
                <a:cubicBezTo>
                  <a:pt x="1075" y="1100"/>
                  <a:pt x="1051" y="1050"/>
                  <a:pt x="1075" y="1000"/>
                </a:cubicBezTo>
                <a:cubicBezTo>
                  <a:pt x="1100" y="975"/>
                  <a:pt x="1125" y="900"/>
                  <a:pt x="1100" y="875"/>
                </a:cubicBezTo>
                <a:cubicBezTo>
                  <a:pt x="1075" y="825"/>
                  <a:pt x="1151" y="800"/>
                  <a:pt x="1175" y="775"/>
                </a:cubicBezTo>
                <a:cubicBezTo>
                  <a:pt x="1225" y="725"/>
                  <a:pt x="1151" y="575"/>
                  <a:pt x="1125" y="525"/>
                </a:cubicBezTo>
                <a:cubicBezTo>
                  <a:pt x="1125" y="475"/>
                  <a:pt x="1051" y="525"/>
                  <a:pt x="1025" y="550"/>
                </a:cubicBezTo>
                <a:close/>
                <a:moveTo>
                  <a:pt x="400" y="1275"/>
                </a:moveTo>
                <a:lnTo>
                  <a:pt x="400" y="1275"/>
                </a:lnTo>
                <a:cubicBezTo>
                  <a:pt x="400" y="1300"/>
                  <a:pt x="350" y="1275"/>
                  <a:pt x="325" y="1300"/>
                </a:cubicBezTo>
                <a:cubicBezTo>
                  <a:pt x="275" y="1300"/>
                  <a:pt x="275" y="1400"/>
                  <a:pt x="300" y="1425"/>
                </a:cubicBezTo>
                <a:cubicBezTo>
                  <a:pt x="325" y="1425"/>
                  <a:pt x="350" y="1425"/>
                  <a:pt x="350" y="1400"/>
                </a:cubicBezTo>
                <a:cubicBezTo>
                  <a:pt x="375" y="1350"/>
                  <a:pt x="400" y="1350"/>
                  <a:pt x="425" y="1375"/>
                </a:cubicBezTo>
                <a:cubicBezTo>
                  <a:pt x="475" y="1375"/>
                  <a:pt x="500" y="1325"/>
                  <a:pt x="500" y="1275"/>
                </a:cubicBezTo>
                <a:cubicBezTo>
                  <a:pt x="500" y="1250"/>
                  <a:pt x="425" y="1250"/>
                  <a:pt x="400" y="1275"/>
                </a:cubicBezTo>
                <a:close/>
                <a:moveTo>
                  <a:pt x="225" y="1375"/>
                </a:moveTo>
                <a:lnTo>
                  <a:pt x="225" y="1375"/>
                </a:lnTo>
                <a:cubicBezTo>
                  <a:pt x="225" y="1350"/>
                  <a:pt x="150" y="1350"/>
                  <a:pt x="150" y="1325"/>
                </a:cubicBezTo>
                <a:cubicBezTo>
                  <a:pt x="150" y="1300"/>
                  <a:pt x="100" y="1325"/>
                  <a:pt x="75" y="1350"/>
                </a:cubicBezTo>
                <a:cubicBezTo>
                  <a:pt x="25" y="1375"/>
                  <a:pt x="0" y="1375"/>
                  <a:pt x="25" y="1425"/>
                </a:cubicBezTo>
                <a:cubicBezTo>
                  <a:pt x="50" y="1450"/>
                  <a:pt x="75" y="1425"/>
                  <a:pt x="75" y="1400"/>
                </a:cubicBezTo>
                <a:cubicBezTo>
                  <a:pt x="100" y="1350"/>
                  <a:pt x="125" y="1425"/>
                  <a:pt x="100" y="1475"/>
                </a:cubicBezTo>
                <a:cubicBezTo>
                  <a:pt x="75" y="1525"/>
                  <a:pt x="100" y="1600"/>
                  <a:pt x="125" y="1600"/>
                </a:cubicBezTo>
                <a:cubicBezTo>
                  <a:pt x="150" y="1600"/>
                  <a:pt x="200" y="1500"/>
                  <a:pt x="225" y="1450"/>
                </a:cubicBezTo>
                <a:cubicBezTo>
                  <a:pt x="275" y="1375"/>
                  <a:pt x="225" y="1400"/>
                  <a:pt x="225" y="137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2" name="Freeform 143">
            <a:extLst>
              <a:ext uri="{FF2B5EF4-FFF2-40B4-BE49-F238E27FC236}">
                <a16:creationId xmlns:a16="http://schemas.microsoft.com/office/drawing/2014/main" id="{D6956AD4-5A19-C550-E773-478B3F269ACA}"/>
              </a:ext>
            </a:extLst>
          </p:cNvPr>
          <p:cNvSpPr>
            <a:spLocks noChangeArrowheads="1"/>
          </p:cNvSpPr>
          <p:nvPr/>
        </p:nvSpPr>
        <p:spPr bwMode="auto">
          <a:xfrm>
            <a:off x="6145766" y="4111762"/>
            <a:ext cx="295311" cy="406404"/>
          </a:xfrm>
          <a:custGeom>
            <a:avLst/>
            <a:gdLst>
              <a:gd name="T0" fmla="*/ 501 w 927"/>
              <a:gd name="T1" fmla="*/ 500 h 1276"/>
              <a:gd name="T2" fmla="*/ 501 w 927"/>
              <a:gd name="T3" fmla="*/ 500 h 1276"/>
              <a:gd name="T4" fmla="*/ 601 w 927"/>
              <a:gd name="T5" fmla="*/ 575 h 1276"/>
              <a:gd name="T6" fmla="*/ 626 w 927"/>
              <a:gd name="T7" fmla="*/ 649 h 1276"/>
              <a:gd name="T8" fmla="*/ 676 w 927"/>
              <a:gd name="T9" fmla="*/ 700 h 1276"/>
              <a:gd name="T10" fmla="*/ 726 w 927"/>
              <a:gd name="T11" fmla="*/ 824 h 1276"/>
              <a:gd name="T12" fmla="*/ 751 w 927"/>
              <a:gd name="T13" fmla="*/ 800 h 1276"/>
              <a:gd name="T14" fmla="*/ 801 w 927"/>
              <a:gd name="T15" fmla="*/ 724 h 1276"/>
              <a:gd name="T16" fmla="*/ 776 w 927"/>
              <a:gd name="T17" fmla="*/ 624 h 1276"/>
              <a:gd name="T18" fmla="*/ 651 w 927"/>
              <a:gd name="T19" fmla="*/ 549 h 1276"/>
              <a:gd name="T20" fmla="*/ 601 w 927"/>
              <a:gd name="T21" fmla="*/ 475 h 1276"/>
              <a:gd name="T22" fmla="*/ 476 w 927"/>
              <a:gd name="T23" fmla="*/ 449 h 1276"/>
              <a:gd name="T24" fmla="*/ 426 w 927"/>
              <a:gd name="T25" fmla="*/ 349 h 1276"/>
              <a:gd name="T26" fmla="*/ 476 w 927"/>
              <a:gd name="T27" fmla="*/ 224 h 1276"/>
              <a:gd name="T28" fmla="*/ 476 w 927"/>
              <a:gd name="T29" fmla="*/ 75 h 1276"/>
              <a:gd name="T30" fmla="*/ 451 w 927"/>
              <a:gd name="T31" fmla="*/ 24 h 1276"/>
              <a:gd name="T32" fmla="*/ 325 w 927"/>
              <a:gd name="T33" fmla="*/ 24 h 1276"/>
              <a:gd name="T34" fmla="*/ 300 w 927"/>
              <a:gd name="T35" fmla="*/ 249 h 1276"/>
              <a:gd name="T36" fmla="*/ 251 w 927"/>
              <a:gd name="T37" fmla="*/ 224 h 1276"/>
              <a:gd name="T38" fmla="*/ 276 w 927"/>
              <a:gd name="T39" fmla="*/ 349 h 1276"/>
              <a:gd name="T40" fmla="*/ 300 w 927"/>
              <a:gd name="T41" fmla="*/ 424 h 1276"/>
              <a:gd name="T42" fmla="*/ 401 w 927"/>
              <a:gd name="T43" fmla="*/ 475 h 1276"/>
              <a:gd name="T44" fmla="*/ 501 w 927"/>
              <a:gd name="T45" fmla="*/ 500 h 1276"/>
              <a:gd name="T46" fmla="*/ 325 w 927"/>
              <a:gd name="T47" fmla="*/ 524 h 1276"/>
              <a:gd name="T48" fmla="*/ 325 w 927"/>
              <a:gd name="T49" fmla="*/ 524 h 1276"/>
              <a:gd name="T50" fmla="*/ 401 w 927"/>
              <a:gd name="T51" fmla="*/ 624 h 1276"/>
              <a:gd name="T52" fmla="*/ 325 w 927"/>
              <a:gd name="T53" fmla="*/ 524 h 1276"/>
              <a:gd name="T54" fmla="*/ 476 w 927"/>
              <a:gd name="T55" fmla="*/ 774 h 1276"/>
              <a:gd name="T56" fmla="*/ 476 w 927"/>
              <a:gd name="T57" fmla="*/ 774 h 1276"/>
              <a:gd name="T58" fmla="*/ 525 w 927"/>
              <a:gd name="T59" fmla="*/ 749 h 1276"/>
              <a:gd name="T60" fmla="*/ 525 w 927"/>
              <a:gd name="T61" fmla="*/ 824 h 1276"/>
              <a:gd name="T62" fmla="*/ 551 w 927"/>
              <a:gd name="T63" fmla="*/ 924 h 1276"/>
              <a:gd name="T64" fmla="*/ 651 w 927"/>
              <a:gd name="T65" fmla="*/ 774 h 1276"/>
              <a:gd name="T66" fmla="*/ 601 w 927"/>
              <a:gd name="T67" fmla="*/ 774 h 1276"/>
              <a:gd name="T68" fmla="*/ 476 w 927"/>
              <a:gd name="T69" fmla="*/ 649 h 1276"/>
              <a:gd name="T70" fmla="*/ 476 w 927"/>
              <a:gd name="T71" fmla="*/ 774 h 1276"/>
              <a:gd name="T72" fmla="*/ 151 w 927"/>
              <a:gd name="T73" fmla="*/ 849 h 1276"/>
              <a:gd name="T74" fmla="*/ 151 w 927"/>
              <a:gd name="T75" fmla="*/ 849 h 1276"/>
              <a:gd name="T76" fmla="*/ 26 w 927"/>
              <a:gd name="T77" fmla="*/ 1000 h 1276"/>
              <a:gd name="T78" fmla="*/ 200 w 927"/>
              <a:gd name="T79" fmla="*/ 824 h 1276"/>
              <a:gd name="T80" fmla="*/ 226 w 927"/>
              <a:gd name="T81" fmla="*/ 724 h 1276"/>
              <a:gd name="T82" fmla="*/ 151 w 927"/>
              <a:gd name="T83" fmla="*/ 849 h 1276"/>
              <a:gd name="T84" fmla="*/ 626 w 927"/>
              <a:gd name="T85" fmla="*/ 900 h 1276"/>
              <a:gd name="T86" fmla="*/ 626 w 927"/>
              <a:gd name="T87" fmla="*/ 900 h 1276"/>
              <a:gd name="T88" fmla="*/ 701 w 927"/>
              <a:gd name="T89" fmla="*/ 849 h 1276"/>
              <a:gd name="T90" fmla="*/ 626 w 927"/>
              <a:gd name="T91" fmla="*/ 900 h 1276"/>
              <a:gd name="T92" fmla="*/ 876 w 927"/>
              <a:gd name="T93" fmla="*/ 1100 h 1276"/>
              <a:gd name="T94" fmla="*/ 876 w 927"/>
              <a:gd name="T95" fmla="*/ 1100 h 1276"/>
              <a:gd name="T96" fmla="*/ 876 w 927"/>
              <a:gd name="T97" fmla="*/ 900 h 1276"/>
              <a:gd name="T98" fmla="*/ 801 w 927"/>
              <a:gd name="T99" fmla="*/ 900 h 1276"/>
              <a:gd name="T100" fmla="*/ 751 w 927"/>
              <a:gd name="T101" fmla="*/ 949 h 1276"/>
              <a:gd name="T102" fmla="*/ 701 w 927"/>
              <a:gd name="T103" fmla="*/ 1000 h 1276"/>
              <a:gd name="T104" fmla="*/ 601 w 927"/>
              <a:gd name="T105" fmla="*/ 975 h 1276"/>
              <a:gd name="T106" fmla="*/ 501 w 927"/>
              <a:gd name="T107" fmla="*/ 1024 h 1276"/>
              <a:gd name="T108" fmla="*/ 451 w 927"/>
              <a:gd name="T109" fmla="*/ 1125 h 1276"/>
              <a:gd name="T110" fmla="*/ 551 w 927"/>
              <a:gd name="T111" fmla="*/ 1075 h 1276"/>
              <a:gd name="T112" fmla="*/ 626 w 927"/>
              <a:gd name="T113" fmla="*/ 1049 h 1276"/>
              <a:gd name="T114" fmla="*/ 701 w 927"/>
              <a:gd name="T115" fmla="*/ 1225 h 1276"/>
              <a:gd name="T116" fmla="*/ 801 w 927"/>
              <a:gd name="T117" fmla="*/ 1275 h 1276"/>
              <a:gd name="T118" fmla="*/ 776 w 927"/>
              <a:gd name="T119" fmla="*/ 1149 h 1276"/>
              <a:gd name="T120" fmla="*/ 876 w 927"/>
              <a:gd name="T121" fmla="*/ 110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 h="1276">
                <a:moveTo>
                  <a:pt x="501" y="500"/>
                </a:moveTo>
                <a:lnTo>
                  <a:pt x="501" y="500"/>
                </a:lnTo>
                <a:cubicBezTo>
                  <a:pt x="551" y="475"/>
                  <a:pt x="626" y="549"/>
                  <a:pt x="601" y="575"/>
                </a:cubicBezTo>
                <a:cubicBezTo>
                  <a:pt x="601" y="600"/>
                  <a:pt x="601" y="674"/>
                  <a:pt x="626" y="649"/>
                </a:cubicBezTo>
                <a:cubicBezTo>
                  <a:pt x="651" y="624"/>
                  <a:pt x="701" y="674"/>
                  <a:pt x="676" y="700"/>
                </a:cubicBezTo>
                <a:cubicBezTo>
                  <a:pt x="651" y="724"/>
                  <a:pt x="701" y="774"/>
                  <a:pt x="726" y="824"/>
                </a:cubicBezTo>
                <a:cubicBezTo>
                  <a:pt x="726" y="849"/>
                  <a:pt x="751" y="824"/>
                  <a:pt x="751" y="800"/>
                </a:cubicBezTo>
                <a:cubicBezTo>
                  <a:pt x="751" y="749"/>
                  <a:pt x="751" y="749"/>
                  <a:pt x="801" y="724"/>
                </a:cubicBezTo>
                <a:cubicBezTo>
                  <a:pt x="826" y="700"/>
                  <a:pt x="801" y="674"/>
                  <a:pt x="776" y="624"/>
                </a:cubicBezTo>
                <a:cubicBezTo>
                  <a:pt x="751" y="575"/>
                  <a:pt x="651" y="600"/>
                  <a:pt x="651" y="549"/>
                </a:cubicBezTo>
                <a:cubicBezTo>
                  <a:pt x="651" y="500"/>
                  <a:pt x="601" y="500"/>
                  <a:pt x="601" y="475"/>
                </a:cubicBezTo>
                <a:cubicBezTo>
                  <a:pt x="601" y="449"/>
                  <a:pt x="525" y="424"/>
                  <a:pt x="476" y="449"/>
                </a:cubicBezTo>
                <a:cubicBezTo>
                  <a:pt x="426" y="475"/>
                  <a:pt x="451" y="400"/>
                  <a:pt x="426" y="349"/>
                </a:cubicBezTo>
                <a:cubicBezTo>
                  <a:pt x="376" y="324"/>
                  <a:pt x="451" y="275"/>
                  <a:pt x="476" y="224"/>
                </a:cubicBezTo>
                <a:cubicBezTo>
                  <a:pt x="525" y="175"/>
                  <a:pt x="476" y="100"/>
                  <a:pt x="476" y="75"/>
                </a:cubicBezTo>
                <a:cubicBezTo>
                  <a:pt x="476" y="24"/>
                  <a:pt x="476" y="24"/>
                  <a:pt x="451" y="24"/>
                </a:cubicBezTo>
                <a:cubicBezTo>
                  <a:pt x="451" y="49"/>
                  <a:pt x="351" y="0"/>
                  <a:pt x="325" y="24"/>
                </a:cubicBezTo>
                <a:cubicBezTo>
                  <a:pt x="300" y="49"/>
                  <a:pt x="325" y="224"/>
                  <a:pt x="300" y="249"/>
                </a:cubicBezTo>
                <a:cubicBezTo>
                  <a:pt x="300" y="249"/>
                  <a:pt x="276" y="224"/>
                  <a:pt x="251" y="224"/>
                </a:cubicBezTo>
                <a:cubicBezTo>
                  <a:pt x="251" y="249"/>
                  <a:pt x="276" y="349"/>
                  <a:pt x="276" y="349"/>
                </a:cubicBezTo>
                <a:cubicBezTo>
                  <a:pt x="300" y="349"/>
                  <a:pt x="325" y="400"/>
                  <a:pt x="300" y="424"/>
                </a:cubicBezTo>
                <a:cubicBezTo>
                  <a:pt x="300" y="475"/>
                  <a:pt x="351" y="475"/>
                  <a:pt x="401" y="475"/>
                </a:cubicBezTo>
                <a:cubicBezTo>
                  <a:pt x="451" y="449"/>
                  <a:pt x="451" y="500"/>
                  <a:pt x="501" y="500"/>
                </a:cubicBezTo>
                <a:close/>
                <a:moveTo>
                  <a:pt x="325" y="524"/>
                </a:moveTo>
                <a:lnTo>
                  <a:pt x="325" y="524"/>
                </a:lnTo>
                <a:cubicBezTo>
                  <a:pt x="325" y="549"/>
                  <a:pt x="351" y="624"/>
                  <a:pt x="401" y="624"/>
                </a:cubicBezTo>
                <a:cubicBezTo>
                  <a:pt x="476" y="600"/>
                  <a:pt x="300" y="475"/>
                  <a:pt x="325" y="524"/>
                </a:cubicBezTo>
                <a:close/>
                <a:moveTo>
                  <a:pt x="476" y="774"/>
                </a:moveTo>
                <a:lnTo>
                  <a:pt x="476" y="774"/>
                </a:lnTo>
                <a:cubicBezTo>
                  <a:pt x="476" y="774"/>
                  <a:pt x="525" y="774"/>
                  <a:pt x="525" y="749"/>
                </a:cubicBezTo>
                <a:cubicBezTo>
                  <a:pt x="525" y="724"/>
                  <a:pt x="551" y="800"/>
                  <a:pt x="525" y="824"/>
                </a:cubicBezTo>
                <a:cubicBezTo>
                  <a:pt x="501" y="849"/>
                  <a:pt x="501" y="924"/>
                  <a:pt x="551" y="924"/>
                </a:cubicBezTo>
                <a:cubicBezTo>
                  <a:pt x="576" y="949"/>
                  <a:pt x="651" y="800"/>
                  <a:pt x="651" y="774"/>
                </a:cubicBezTo>
                <a:cubicBezTo>
                  <a:pt x="626" y="749"/>
                  <a:pt x="601" y="800"/>
                  <a:pt x="601" y="774"/>
                </a:cubicBezTo>
                <a:cubicBezTo>
                  <a:pt x="626" y="724"/>
                  <a:pt x="501" y="649"/>
                  <a:pt x="476" y="649"/>
                </a:cubicBezTo>
                <a:cubicBezTo>
                  <a:pt x="426" y="674"/>
                  <a:pt x="426" y="800"/>
                  <a:pt x="476" y="774"/>
                </a:cubicBezTo>
                <a:close/>
                <a:moveTo>
                  <a:pt x="151" y="849"/>
                </a:moveTo>
                <a:lnTo>
                  <a:pt x="151" y="849"/>
                </a:lnTo>
                <a:cubicBezTo>
                  <a:pt x="100" y="900"/>
                  <a:pt x="0" y="975"/>
                  <a:pt x="26" y="1000"/>
                </a:cubicBezTo>
                <a:cubicBezTo>
                  <a:pt x="51" y="1024"/>
                  <a:pt x="151" y="875"/>
                  <a:pt x="200" y="824"/>
                </a:cubicBezTo>
                <a:cubicBezTo>
                  <a:pt x="251" y="800"/>
                  <a:pt x="226" y="774"/>
                  <a:pt x="226" y="724"/>
                </a:cubicBezTo>
                <a:cubicBezTo>
                  <a:pt x="200" y="700"/>
                  <a:pt x="176" y="800"/>
                  <a:pt x="151" y="849"/>
                </a:cubicBezTo>
                <a:close/>
                <a:moveTo>
                  <a:pt x="626" y="900"/>
                </a:moveTo>
                <a:lnTo>
                  <a:pt x="626" y="900"/>
                </a:lnTo>
                <a:cubicBezTo>
                  <a:pt x="651" y="924"/>
                  <a:pt x="726" y="875"/>
                  <a:pt x="701" y="849"/>
                </a:cubicBezTo>
                <a:cubicBezTo>
                  <a:pt x="676" y="824"/>
                  <a:pt x="626" y="875"/>
                  <a:pt x="626" y="900"/>
                </a:cubicBezTo>
                <a:close/>
                <a:moveTo>
                  <a:pt x="876" y="1100"/>
                </a:moveTo>
                <a:lnTo>
                  <a:pt x="876" y="1100"/>
                </a:lnTo>
                <a:cubicBezTo>
                  <a:pt x="926" y="1075"/>
                  <a:pt x="876" y="975"/>
                  <a:pt x="876" y="900"/>
                </a:cubicBezTo>
                <a:cubicBezTo>
                  <a:pt x="876" y="824"/>
                  <a:pt x="776" y="849"/>
                  <a:pt x="801" y="900"/>
                </a:cubicBezTo>
                <a:cubicBezTo>
                  <a:pt x="826" y="949"/>
                  <a:pt x="751" y="900"/>
                  <a:pt x="751" y="949"/>
                </a:cubicBezTo>
                <a:cubicBezTo>
                  <a:pt x="751" y="1000"/>
                  <a:pt x="676" y="949"/>
                  <a:pt x="701" y="1000"/>
                </a:cubicBezTo>
                <a:cubicBezTo>
                  <a:pt x="701" y="1024"/>
                  <a:pt x="626" y="1000"/>
                  <a:pt x="601" y="975"/>
                </a:cubicBezTo>
                <a:cubicBezTo>
                  <a:pt x="576" y="949"/>
                  <a:pt x="551" y="1024"/>
                  <a:pt x="501" y="1024"/>
                </a:cubicBezTo>
                <a:cubicBezTo>
                  <a:pt x="451" y="1049"/>
                  <a:pt x="426" y="1125"/>
                  <a:pt x="451" y="1125"/>
                </a:cubicBezTo>
                <a:cubicBezTo>
                  <a:pt x="501" y="1125"/>
                  <a:pt x="501" y="1075"/>
                  <a:pt x="551" y="1075"/>
                </a:cubicBezTo>
                <a:cubicBezTo>
                  <a:pt x="576" y="1100"/>
                  <a:pt x="576" y="1049"/>
                  <a:pt x="626" y="1049"/>
                </a:cubicBezTo>
                <a:cubicBezTo>
                  <a:pt x="651" y="1075"/>
                  <a:pt x="626" y="1200"/>
                  <a:pt x="701" y="1225"/>
                </a:cubicBezTo>
                <a:cubicBezTo>
                  <a:pt x="751" y="1225"/>
                  <a:pt x="751" y="1275"/>
                  <a:pt x="801" y="1275"/>
                </a:cubicBezTo>
                <a:cubicBezTo>
                  <a:pt x="826" y="1275"/>
                  <a:pt x="776" y="1175"/>
                  <a:pt x="776" y="1149"/>
                </a:cubicBezTo>
                <a:cubicBezTo>
                  <a:pt x="801" y="1125"/>
                  <a:pt x="851" y="1149"/>
                  <a:pt x="876" y="1100"/>
                </a:cubicBezTo>
                <a:close/>
              </a:path>
            </a:pathLst>
          </a:custGeom>
          <a:solidFill>
            <a:srgbClr val="2B7A88"/>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3" name="Freeform 144">
            <a:extLst>
              <a:ext uri="{FF2B5EF4-FFF2-40B4-BE49-F238E27FC236}">
                <a16:creationId xmlns:a16="http://schemas.microsoft.com/office/drawing/2014/main" id="{323386C4-8738-DB98-463E-97E1064D6C38}"/>
              </a:ext>
            </a:extLst>
          </p:cNvPr>
          <p:cNvSpPr>
            <a:spLocks noChangeArrowheads="1"/>
          </p:cNvSpPr>
          <p:nvPr/>
        </p:nvSpPr>
        <p:spPr bwMode="auto">
          <a:xfrm>
            <a:off x="6864354" y="4764258"/>
            <a:ext cx="383904" cy="240468"/>
          </a:xfrm>
          <a:custGeom>
            <a:avLst/>
            <a:gdLst>
              <a:gd name="T0" fmla="*/ 850 w 1202"/>
              <a:gd name="T1" fmla="*/ 701 h 752"/>
              <a:gd name="T2" fmla="*/ 850 w 1202"/>
              <a:gd name="T3" fmla="*/ 701 h 752"/>
              <a:gd name="T4" fmla="*/ 800 w 1202"/>
              <a:gd name="T5" fmla="*/ 626 h 752"/>
              <a:gd name="T6" fmla="*/ 700 w 1202"/>
              <a:gd name="T7" fmla="*/ 601 h 752"/>
              <a:gd name="T8" fmla="*/ 625 w 1202"/>
              <a:gd name="T9" fmla="*/ 476 h 752"/>
              <a:gd name="T10" fmla="*/ 600 w 1202"/>
              <a:gd name="T11" fmla="*/ 401 h 752"/>
              <a:gd name="T12" fmla="*/ 625 w 1202"/>
              <a:gd name="T13" fmla="*/ 326 h 752"/>
              <a:gd name="T14" fmla="*/ 450 w 1202"/>
              <a:gd name="T15" fmla="*/ 226 h 752"/>
              <a:gd name="T16" fmla="*/ 76 w 1202"/>
              <a:gd name="T17" fmla="*/ 25 h 752"/>
              <a:gd name="T18" fmla="*/ 0 w 1202"/>
              <a:gd name="T19" fmla="*/ 0 h 752"/>
              <a:gd name="T20" fmla="*/ 0 w 1202"/>
              <a:gd name="T21" fmla="*/ 601 h 752"/>
              <a:gd name="T22" fmla="*/ 100 w 1202"/>
              <a:gd name="T23" fmla="*/ 626 h 752"/>
              <a:gd name="T24" fmla="*/ 225 w 1202"/>
              <a:gd name="T25" fmla="*/ 576 h 752"/>
              <a:gd name="T26" fmla="*/ 276 w 1202"/>
              <a:gd name="T27" fmla="*/ 501 h 752"/>
              <a:gd name="T28" fmla="*/ 476 w 1202"/>
              <a:gd name="T29" fmla="*/ 551 h 752"/>
              <a:gd name="T30" fmla="*/ 676 w 1202"/>
              <a:gd name="T31" fmla="*/ 726 h 752"/>
              <a:gd name="T32" fmla="*/ 876 w 1202"/>
              <a:gd name="T33" fmla="*/ 751 h 752"/>
              <a:gd name="T34" fmla="*/ 850 w 1202"/>
              <a:gd name="T35" fmla="*/ 701 h 752"/>
              <a:gd name="T36" fmla="*/ 1025 w 1202"/>
              <a:gd name="T37" fmla="*/ 200 h 752"/>
              <a:gd name="T38" fmla="*/ 1025 w 1202"/>
              <a:gd name="T39" fmla="*/ 200 h 752"/>
              <a:gd name="T40" fmla="*/ 901 w 1202"/>
              <a:gd name="T41" fmla="*/ 276 h 752"/>
              <a:gd name="T42" fmla="*/ 700 w 1202"/>
              <a:gd name="T43" fmla="*/ 276 h 752"/>
              <a:gd name="T44" fmla="*/ 850 w 1202"/>
              <a:gd name="T45" fmla="*/ 351 h 752"/>
              <a:gd name="T46" fmla="*/ 1050 w 1202"/>
              <a:gd name="T47" fmla="*/ 251 h 752"/>
              <a:gd name="T48" fmla="*/ 1075 w 1202"/>
              <a:gd name="T49" fmla="*/ 176 h 752"/>
              <a:gd name="T50" fmla="*/ 1025 w 1202"/>
              <a:gd name="T51" fmla="*/ 200 h 752"/>
              <a:gd name="T52" fmla="*/ 1125 w 1202"/>
              <a:gd name="T53" fmla="*/ 100 h 752"/>
              <a:gd name="T54" fmla="*/ 1125 w 1202"/>
              <a:gd name="T55" fmla="*/ 100 h 752"/>
              <a:gd name="T56" fmla="*/ 1075 w 1202"/>
              <a:gd name="T57" fmla="*/ 100 h 752"/>
              <a:gd name="T58" fmla="*/ 1150 w 1202"/>
              <a:gd name="T59" fmla="*/ 200 h 752"/>
              <a:gd name="T60" fmla="*/ 1125 w 1202"/>
              <a:gd name="T61" fmla="*/ 10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2" h="752">
                <a:moveTo>
                  <a:pt x="850" y="701"/>
                </a:moveTo>
                <a:lnTo>
                  <a:pt x="850" y="701"/>
                </a:lnTo>
                <a:cubicBezTo>
                  <a:pt x="850" y="701"/>
                  <a:pt x="800" y="651"/>
                  <a:pt x="800" y="626"/>
                </a:cubicBezTo>
                <a:cubicBezTo>
                  <a:pt x="800" y="626"/>
                  <a:pt x="750" y="626"/>
                  <a:pt x="700" y="601"/>
                </a:cubicBezTo>
                <a:cubicBezTo>
                  <a:pt x="650" y="576"/>
                  <a:pt x="676" y="476"/>
                  <a:pt x="625" y="476"/>
                </a:cubicBezTo>
                <a:cubicBezTo>
                  <a:pt x="600" y="451"/>
                  <a:pt x="550" y="376"/>
                  <a:pt x="600" y="401"/>
                </a:cubicBezTo>
                <a:cubicBezTo>
                  <a:pt x="650" y="401"/>
                  <a:pt x="676" y="376"/>
                  <a:pt x="625" y="326"/>
                </a:cubicBezTo>
                <a:cubicBezTo>
                  <a:pt x="600" y="301"/>
                  <a:pt x="450" y="276"/>
                  <a:pt x="450" y="226"/>
                </a:cubicBezTo>
                <a:cubicBezTo>
                  <a:pt x="450" y="176"/>
                  <a:pt x="176" y="51"/>
                  <a:pt x="76" y="25"/>
                </a:cubicBezTo>
                <a:cubicBezTo>
                  <a:pt x="50" y="25"/>
                  <a:pt x="25" y="0"/>
                  <a:pt x="0" y="0"/>
                </a:cubicBezTo>
                <a:cubicBezTo>
                  <a:pt x="0" y="601"/>
                  <a:pt x="0" y="601"/>
                  <a:pt x="0" y="601"/>
                </a:cubicBezTo>
                <a:cubicBezTo>
                  <a:pt x="25" y="601"/>
                  <a:pt x="76" y="626"/>
                  <a:pt x="100" y="626"/>
                </a:cubicBezTo>
                <a:cubicBezTo>
                  <a:pt x="225" y="626"/>
                  <a:pt x="200" y="576"/>
                  <a:pt x="225" y="576"/>
                </a:cubicBezTo>
                <a:cubicBezTo>
                  <a:pt x="250" y="576"/>
                  <a:pt x="250" y="526"/>
                  <a:pt x="276" y="501"/>
                </a:cubicBezTo>
                <a:cubicBezTo>
                  <a:pt x="300" y="476"/>
                  <a:pt x="400" y="501"/>
                  <a:pt x="476" y="551"/>
                </a:cubicBezTo>
                <a:cubicBezTo>
                  <a:pt x="525" y="601"/>
                  <a:pt x="600" y="726"/>
                  <a:pt x="676" y="726"/>
                </a:cubicBezTo>
                <a:cubicBezTo>
                  <a:pt x="750" y="701"/>
                  <a:pt x="825" y="751"/>
                  <a:pt x="876" y="751"/>
                </a:cubicBezTo>
                <a:cubicBezTo>
                  <a:pt x="925" y="751"/>
                  <a:pt x="876" y="701"/>
                  <a:pt x="850" y="701"/>
                </a:cubicBezTo>
                <a:close/>
                <a:moveTo>
                  <a:pt x="1025" y="200"/>
                </a:moveTo>
                <a:lnTo>
                  <a:pt x="1025" y="200"/>
                </a:lnTo>
                <a:cubicBezTo>
                  <a:pt x="1025" y="226"/>
                  <a:pt x="976" y="251"/>
                  <a:pt x="901" y="276"/>
                </a:cubicBezTo>
                <a:cubicBezTo>
                  <a:pt x="825" y="301"/>
                  <a:pt x="700" y="251"/>
                  <a:pt x="700" y="276"/>
                </a:cubicBezTo>
                <a:cubicBezTo>
                  <a:pt x="700" y="301"/>
                  <a:pt x="776" y="351"/>
                  <a:pt x="850" y="351"/>
                </a:cubicBezTo>
                <a:cubicBezTo>
                  <a:pt x="925" y="351"/>
                  <a:pt x="1050" y="276"/>
                  <a:pt x="1050" y="251"/>
                </a:cubicBezTo>
                <a:cubicBezTo>
                  <a:pt x="1050" y="226"/>
                  <a:pt x="1101" y="200"/>
                  <a:pt x="1075" y="176"/>
                </a:cubicBezTo>
                <a:cubicBezTo>
                  <a:pt x="1050" y="151"/>
                  <a:pt x="1025" y="176"/>
                  <a:pt x="1025" y="200"/>
                </a:cubicBezTo>
                <a:close/>
                <a:moveTo>
                  <a:pt x="1125" y="100"/>
                </a:moveTo>
                <a:lnTo>
                  <a:pt x="1125" y="100"/>
                </a:lnTo>
                <a:cubicBezTo>
                  <a:pt x="1075" y="76"/>
                  <a:pt x="1025" y="51"/>
                  <a:pt x="1075" y="100"/>
                </a:cubicBezTo>
                <a:cubicBezTo>
                  <a:pt x="1150" y="151"/>
                  <a:pt x="1101" y="200"/>
                  <a:pt x="1150" y="200"/>
                </a:cubicBezTo>
                <a:cubicBezTo>
                  <a:pt x="1201" y="176"/>
                  <a:pt x="1150" y="126"/>
                  <a:pt x="1125" y="10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4" name="Freeform 145">
            <a:extLst>
              <a:ext uri="{FF2B5EF4-FFF2-40B4-BE49-F238E27FC236}">
                <a16:creationId xmlns:a16="http://schemas.microsoft.com/office/drawing/2014/main" id="{A30B35F2-38F0-46D8-5644-CC5AA379DFEB}"/>
              </a:ext>
            </a:extLst>
          </p:cNvPr>
          <p:cNvSpPr>
            <a:spLocks noChangeArrowheads="1"/>
          </p:cNvSpPr>
          <p:nvPr/>
        </p:nvSpPr>
        <p:spPr bwMode="auto">
          <a:xfrm>
            <a:off x="5053117" y="4390197"/>
            <a:ext cx="64687" cy="119531"/>
          </a:xfrm>
          <a:custGeom>
            <a:avLst/>
            <a:gdLst>
              <a:gd name="T0" fmla="*/ 50 w 201"/>
              <a:gd name="T1" fmla="*/ 0 h 375"/>
              <a:gd name="T2" fmla="*/ 50 w 201"/>
              <a:gd name="T3" fmla="*/ 0 h 375"/>
              <a:gd name="T4" fmla="*/ 25 w 201"/>
              <a:gd name="T5" fmla="*/ 74 h 375"/>
              <a:gd name="T6" fmla="*/ 25 w 201"/>
              <a:gd name="T7" fmla="*/ 200 h 375"/>
              <a:gd name="T8" fmla="*/ 50 w 201"/>
              <a:gd name="T9" fmla="*/ 350 h 375"/>
              <a:gd name="T10" fmla="*/ 200 w 201"/>
              <a:gd name="T11" fmla="*/ 225 h 375"/>
              <a:gd name="T12" fmla="*/ 50 w 201"/>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201" h="375">
                <a:moveTo>
                  <a:pt x="50" y="0"/>
                </a:moveTo>
                <a:lnTo>
                  <a:pt x="50" y="0"/>
                </a:lnTo>
                <a:cubicBezTo>
                  <a:pt x="25" y="0"/>
                  <a:pt x="25" y="49"/>
                  <a:pt x="25" y="74"/>
                </a:cubicBezTo>
                <a:cubicBezTo>
                  <a:pt x="0" y="125"/>
                  <a:pt x="0" y="149"/>
                  <a:pt x="25" y="200"/>
                </a:cubicBezTo>
                <a:cubicBezTo>
                  <a:pt x="25" y="250"/>
                  <a:pt x="25" y="325"/>
                  <a:pt x="50" y="350"/>
                </a:cubicBezTo>
                <a:cubicBezTo>
                  <a:pt x="125" y="374"/>
                  <a:pt x="200" y="300"/>
                  <a:pt x="200" y="225"/>
                </a:cubicBezTo>
                <a:cubicBezTo>
                  <a:pt x="200" y="125"/>
                  <a:pt x="75" y="0"/>
                  <a:pt x="50" y="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5" name="Freeform 149">
            <a:extLst>
              <a:ext uri="{FF2B5EF4-FFF2-40B4-BE49-F238E27FC236}">
                <a16:creationId xmlns:a16="http://schemas.microsoft.com/office/drawing/2014/main" id="{2EEE3BF3-70EA-FE54-AC27-CD1E8BA5219F}"/>
              </a:ext>
            </a:extLst>
          </p:cNvPr>
          <p:cNvSpPr>
            <a:spLocks noChangeArrowheads="1"/>
          </p:cNvSpPr>
          <p:nvPr/>
        </p:nvSpPr>
        <p:spPr bwMode="auto">
          <a:xfrm>
            <a:off x="7279196" y="4844414"/>
            <a:ext cx="247499" cy="175780"/>
          </a:xfrm>
          <a:custGeom>
            <a:avLst/>
            <a:gdLst>
              <a:gd name="T0" fmla="*/ 0 w 776"/>
              <a:gd name="T1" fmla="*/ 25 h 551"/>
              <a:gd name="T2" fmla="*/ 0 w 776"/>
              <a:gd name="T3" fmla="*/ 25 h 551"/>
              <a:gd name="T4" fmla="*/ 124 w 776"/>
              <a:gd name="T5" fmla="*/ 150 h 551"/>
              <a:gd name="T6" fmla="*/ 0 w 776"/>
              <a:gd name="T7" fmla="*/ 25 h 551"/>
              <a:gd name="T8" fmla="*/ 175 w 776"/>
              <a:gd name="T9" fmla="*/ 150 h 551"/>
              <a:gd name="T10" fmla="*/ 175 w 776"/>
              <a:gd name="T11" fmla="*/ 150 h 551"/>
              <a:gd name="T12" fmla="*/ 275 w 776"/>
              <a:gd name="T13" fmla="*/ 200 h 551"/>
              <a:gd name="T14" fmla="*/ 175 w 776"/>
              <a:gd name="T15" fmla="*/ 150 h 551"/>
              <a:gd name="T16" fmla="*/ 500 w 776"/>
              <a:gd name="T17" fmla="*/ 300 h 551"/>
              <a:gd name="T18" fmla="*/ 500 w 776"/>
              <a:gd name="T19" fmla="*/ 300 h 551"/>
              <a:gd name="T20" fmla="*/ 375 w 776"/>
              <a:gd name="T21" fmla="*/ 225 h 551"/>
              <a:gd name="T22" fmla="*/ 500 w 776"/>
              <a:gd name="T23" fmla="*/ 300 h 551"/>
              <a:gd name="T24" fmla="*/ 475 w 776"/>
              <a:gd name="T25" fmla="*/ 400 h 551"/>
              <a:gd name="T26" fmla="*/ 475 w 776"/>
              <a:gd name="T27" fmla="*/ 400 h 551"/>
              <a:gd name="T28" fmla="*/ 575 w 776"/>
              <a:gd name="T29" fmla="*/ 450 h 551"/>
              <a:gd name="T30" fmla="*/ 475 w 776"/>
              <a:gd name="T31" fmla="*/ 400 h 551"/>
              <a:gd name="T32" fmla="*/ 649 w 776"/>
              <a:gd name="T33" fmla="*/ 475 h 551"/>
              <a:gd name="T34" fmla="*/ 649 w 776"/>
              <a:gd name="T35" fmla="*/ 475 h 551"/>
              <a:gd name="T36" fmla="*/ 749 w 776"/>
              <a:gd name="T37" fmla="*/ 525 h 551"/>
              <a:gd name="T38" fmla="*/ 649 w 776"/>
              <a:gd name="T39" fmla="*/ 475 h 551"/>
              <a:gd name="T40" fmla="*/ 575 w 776"/>
              <a:gd name="T41" fmla="*/ 300 h 551"/>
              <a:gd name="T42" fmla="*/ 575 w 776"/>
              <a:gd name="T43" fmla="*/ 300 h 551"/>
              <a:gd name="T44" fmla="*/ 649 w 776"/>
              <a:gd name="T45" fmla="*/ 425 h 551"/>
              <a:gd name="T46" fmla="*/ 575 w 776"/>
              <a:gd name="T47" fmla="*/ 30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6" h="551">
                <a:moveTo>
                  <a:pt x="0" y="25"/>
                </a:moveTo>
                <a:lnTo>
                  <a:pt x="0" y="25"/>
                </a:lnTo>
                <a:cubicBezTo>
                  <a:pt x="0" y="50"/>
                  <a:pt x="100" y="175"/>
                  <a:pt x="124" y="150"/>
                </a:cubicBezTo>
                <a:cubicBezTo>
                  <a:pt x="175" y="125"/>
                  <a:pt x="24" y="0"/>
                  <a:pt x="0" y="25"/>
                </a:cubicBezTo>
                <a:close/>
                <a:moveTo>
                  <a:pt x="175" y="150"/>
                </a:moveTo>
                <a:lnTo>
                  <a:pt x="175" y="150"/>
                </a:lnTo>
                <a:cubicBezTo>
                  <a:pt x="175" y="150"/>
                  <a:pt x="249" y="225"/>
                  <a:pt x="275" y="200"/>
                </a:cubicBezTo>
                <a:cubicBezTo>
                  <a:pt x="275" y="200"/>
                  <a:pt x="200" y="125"/>
                  <a:pt x="175" y="150"/>
                </a:cubicBezTo>
                <a:close/>
                <a:moveTo>
                  <a:pt x="500" y="300"/>
                </a:moveTo>
                <a:lnTo>
                  <a:pt x="500" y="300"/>
                </a:lnTo>
                <a:cubicBezTo>
                  <a:pt x="525" y="300"/>
                  <a:pt x="375" y="200"/>
                  <a:pt x="375" y="225"/>
                </a:cubicBezTo>
                <a:cubicBezTo>
                  <a:pt x="375" y="250"/>
                  <a:pt x="475" y="325"/>
                  <a:pt x="500" y="300"/>
                </a:cubicBezTo>
                <a:close/>
                <a:moveTo>
                  <a:pt x="475" y="400"/>
                </a:moveTo>
                <a:lnTo>
                  <a:pt x="475" y="400"/>
                </a:lnTo>
                <a:cubicBezTo>
                  <a:pt x="500" y="425"/>
                  <a:pt x="549" y="450"/>
                  <a:pt x="575" y="450"/>
                </a:cubicBezTo>
                <a:cubicBezTo>
                  <a:pt x="600" y="425"/>
                  <a:pt x="475" y="350"/>
                  <a:pt x="475" y="400"/>
                </a:cubicBezTo>
                <a:close/>
                <a:moveTo>
                  <a:pt x="649" y="475"/>
                </a:moveTo>
                <a:lnTo>
                  <a:pt x="649" y="475"/>
                </a:lnTo>
                <a:cubicBezTo>
                  <a:pt x="649" y="500"/>
                  <a:pt x="700" y="550"/>
                  <a:pt x="749" y="525"/>
                </a:cubicBezTo>
                <a:cubicBezTo>
                  <a:pt x="775" y="500"/>
                  <a:pt x="649" y="475"/>
                  <a:pt x="649" y="475"/>
                </a:cubicBezTo>
                <a:close/>
                <a:moveTo>
                  <a:pt x="575" y="300"/>
                </a:moveTo>
                <a:lnTo>
                  <a:pt x="575" y="300"/>
                </a:lnTo>
                <a:cubicBezTo>
                  <a:pt x="549" y="350"/>
                  <a:pt x="649" y="425"/>
                  <a:pt x="649" y="425"/>
                </a:cubicBezTo>
                <a:cubicBezTo>
                  <a:pt x="675" y="425"/>
                  <a:pt x="600" y="275"/>
                  <a:pt x="575" y="30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6" name="Freeform 150">
            <a:extLst>
              <a:ext uri="{FF2B5EF4-FFF2-40B4-BE49-F238E27FC236}">
                <a16:creationId xmlns:a16="http://schemas.microsoft.com/office/drawing/2014/main" id="{C9A7C861-2987-17D4-BCFE-1F581B9B280D}"/>
              </a:ext>
            </a:extLst>
          </p:cNvPr>
          <p:cNvSpPr>
            <a:spLocks noChangeArrowheads="1"/>
          </p:cNvSpPr>
          <p:nvPr/>
        </p:nvSpPr>
        <p:spPr bwMode="auto">
          <a:xfrm>
            <a:off x="7279196" y="4844414"/>
            <a:ext cx="247499" cy="175780"/>
          </a:xfrm>
          <a:custGeom>
            <a:avLst/>
            <a:gdLst>
              <a:gd name="T0" fmla="*/ 0 w 776"/>
              <a:gd name="T1" fmla="*/ 25 h 551"/>
              <a:gd name="T2" fmla="*/ 0 w 776"/>
              <a:gd name="T3" fmla="*/ 25 h 551"/>
              <a:gd name="T4" fmla="*/ 124 w 776"/>
              <a:gd name="T5" fmla="*/ 150 h 551"/>
              <a:gd name="T6" fmla="*/ 0 w 776"/>
              <a:gd name="T7" fmla="*/ 25 h 551"/>
              <a:gd name="T8" fmla="*/ 175 w 776"/>
              <a:gd name="T9" fmla="*/ 150 h 551"/>
              <a:gd name="T10" fmla="*/ 175 w 776"/>
              <a:gd name="T11" fmla="*/ 150 h 551"/>
              <a:gd name="T12" fmla="*/ 275 w 776"/>
              <a:gd name="T13" fmla="*/ 200 h 551"/>
              <a:gd name="T14" fmla="*/ 175 w 776"/>
              <a:gd name="T15" fmla="*/ 150 h 551"/>
              <a:gd name="T16" fmla="*/ 500 w 776"/>
              <a:gd name="T17" fmla="*/ 300 h 551"/>
              <a:gd name="T18" fmla="*/ 500 w 776"/>
              <a:gd name="T19" fmla="*/ 300 h 551"/>
              <a:gd name="T20" fmla="*/ 375 w 776"/>
              <a:gd name="T21" fmla="*/ 225 h 551"/>
              <a:gd name="T22" fmla="*/ 500 w 776"/>
              <a:gd name="T23" fmla="*/ 300 h 551"/>
              <a:gd name="T24" fmla="*/ 475 w 776"/>
              <a:gd name="T25" fmla="*/ 400 h 551"/>
              <a:gd name="T26" fmla="*/ 475 w 776"/>
              <a:gd name="T27" fmla="*/ 400 h 551"/>
              <a:gd name="T28" fmla="*/ 575 w 776"/>
              <a:gd name="T29" fmla="*/ 450 h 551"/>
              <a:gd name="T30" fmla="*/ 475 w 776"/>
              <a:gd name="T31" fmla="*/ 400 h 551"/>
              <a:gd name="T32" fmla="*/ 649 w 776"/>
              <a:gd name="T33" fmla="*/ 475 h 551"/>
              <a:gd name="T34" fmla="*/ 649 w 776"/>
              <a:gd name="T35" fmla="*/ 475 h 551"/>
              <a:gd name="T36" fmla="*/ 749 w 776"/>
              <a:gd name="T37" fmla="*/ 525 h 551"/>
              <a:gd name="T38" fmla="*/ 649 w 776"/>
              <a:gd name="T39" fmla="*/ 475 h 551"/>
              <a:gd name="T40" fmla="*/ 575 w 776"/>
              <a:gd name="T41" fmla="*/ 300 h 551"/>
              <a:gd name="T42" fmla="*/ 575 w 776"/>
              <a:gd name="T43" fmla="*/ 300 h 551"/>
              <a:gd name="T44" fmla="*/ 649 w 776"/>
              <a:gd name="T45" fmla="*/ 425 h 551"/>
              <a:gd name="T46" fmla="*/ 575 w 776"/>
              <a:gd name="T47" fmla="*/ 30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6" h="551">
                <a:moveTo>
                  <a:pt x="0" y="25"/>
                </a:moveTo>
                <a:lnTo>
                  <a:pt x="0" y="25"/>
                </a:lnTo>
                <a:cubicBezTo>
                  <a:pt x="0" y="50"/>
                  <a:pt x="100" y="175"/>
                  <a:pt x="124" y="150"/>
                </a:cubicBezTo>
                <a:cubicBezTo>
                  <a:pt x="175" y="125"/>
                  <a:pt x="24" y="0"/>
                  <a:pt x="0" y="25"/>
                </a:cubicBezTo>
                <a:close/>
                <a:moveTo>
                  <a:pt x="175" y="150"/>
                </a:moveTo>
                <a:lnTo>
                  <a:pt x="175" y="150"/>
                </a:lnTo>
                <a:cubicBezTo>
                  <a:pt x="175" y="150"/>
                  <a:pt x="249" y="225"/>
                  <a:pt x="275" y="200"/>
                </a:cubicBezTo>
                <a:cubicBezTo>
                  <a:pt x="275" y="200"/>
                  <a:pt x="200" y="125"/>
                  <a:pt x="175" y="150"/>
                </a:cubicBezTo>
                <a:close/>
                <a:moveTo>
                  <a:pt x="500" y="300"/>
                </a:moveTo>
                <a:lnTo>
                  <a:pt x="500" y="300"/>
                </a:lnTo>
                <a:cubicBezTo>
                  <a:pt x="525" y="300"/>
                  <a:pt x="375" y="200"/>
                  <a:pt x="375" y="225"/>
                </a:cubicBezTo>
                <a:cubicBezTo>
                  <a:pt x="375" y="250"/>
                  <a:pt x="475" y="325"/>
                  <a:pt x="500" y="300"/>
                </a:cubicBezTo>
                <a:close/>
                <a:moveTo>
                  <a:pt x="475" y="400"/>
                </a:moveTo>
                <a:lnTo>
                  <a:pt x="475" y="400"/>
                </a:lnTo>
                <a:cubicBezTo>
                  <a:pt x="500" y="425"/>
                  <a:pt x="549" y="450"/>
                  <a:pt x="575" y="450"/>
                </a:cubicBezTo>
                <a:cubicBezTo>
                  <a:pt x="600" y="425"/>
                  <a:pt x="475" y="350"/>
                  <a:pt x="475" y="400"/>
                </a:cubicBezTo>
                <a:close/>
                <a:moveTo>
                  <a:pt x="649" y="475"/>
                </a:moveTo>
                <a:lnTo>
                  <a:pt x="649" y="475"/>
                </a:lnTo>
                <a:cubicBezTo>
                  <a:pt x="649" y="500"/>
                  <a:pt x="700" y="550"/>
                  <a:pt x="749" y="525"/>
                </a:cubicBezTo>
                <a:cubicBezTo>
                  <a:pt x="775" y="500"/>
                  <a:pt x="649" y="475"/>
                  <a:pt x="649" y="475"/>
                </a:cubicBezTo>
                <a:close/>
                <a:moveTo>
                  <a:pt x="575" y="300"/>
                </a:moveTo>
                <a:lnTo>
                  <a:pt x="575" y="300"/>
                </a:lnTo>
                <a:cubicBezTo>
                  <a:pt x="549" y="350"/>
                  <a:pt x="649" y="425"/>
                  <a:pt x="649" y="425"/>
                </a:cubicBezTo>
                <a:cubicBezTo>
                  <a:pt x="675" y="425"/>
                  <a:pt x="600" y="275"/>
                  <a:pt x="575" y="30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7" name="Freeform 154">
            <a:extLst>
              <a:ext uri="{FF2B5EF4-FFF2-40B4-BE49-F238E27FC236}">
                <a16:creationId xmlns:a16="http://schemas.microsoft.com/office/drawing/2014/main" id="{C604034B-18A0-4691-C897-9384BDADE33C}"/>
              </a:ext>
            </a:extLst>
          </p:cNvPr>
          <p:cNvSpPr>
            <a:spLocks noChangeArrowheads="1"/>
          </p:cNvSpPr>
          <p:nvPr/>
        </p:nvSpPr>
        <p:spPr bwMode="auto">
          <a:xfrm>
            <a:off x="4240310" y="3305986"/>
            <a:ext cx="430309" cy="271404"/>
          </a:xfrm>
          <a:custGeom>
            <a:avLst/>
            <a:gdLst>
              <a:gd name="T0" fmla="*/ 1325 w 1351"/>
              <a:gd name="T1" fmla="*/ 525 h 851"/>
              <a:gd name="T2" fmla="*/ 1325 w 1351"/>
              <a:gd name="T3" fmla="*/ 525 h 851"/>
              <a:gd name="T4" fmla="*/ 1250 w 1351"/>
              <a:gd name="T5" fmla="*/ 500 h 851"/>
              <a:gd name="T6" fmla="*/ 1150 w 1351"/>
              <a:gd name="T7" fmla="*/ 425 h 851"/>
              <a:gd name="T8" fmla="*/ 1050 w 1351"/>
              <a:gd name="T9" fmla="*/ 375 h 851"/>
              <a:gd name="T10" fmla="*/ 949 w 1351"/>
              <a:gd name="T11" fmla="*/ 300 h 851"/>
              <a:gd name="T12" fmla="*/ 900 w 1351"/>
              <a:gd name="T13" fmla="*/ 225 h 851"/>
              <a:gd name="T14" fmla="*/ 874 w 1351"/>
              <a:gd name="T15" fmla="*/ 150 h 851"/>
              <a:gd name="T16" fmla="*/ 725 w 1351"/>
              <a:gd name="T17" fmla="*/ 150 h 851"/>
              <a:gd name="T18" fmla="*/ 699 w 1351"/>
              <a:gd name="T19" fmla="*/ 50 h 851"/>
              <a:gd name="T20" fmla="*/ 625 w 1351"/>
              <a:gd name="T21" fmla="*/ 25 h 851"/>
              <a:gd name="T22" fmla="*/ 549 w 1351"/>
              <a:gd name="T23" fmla="*/ 0 h 851"/>
              <a:gd name="T24" fmla="*/ 525 w 1351"/>
              <a:gd name="T25" fmla="*/ 25 h 851"/>
              <a:gd name="T26" fmla="*/ 474 w 1351"/>
              <a:gd name="T27" fmla="*/ 50 h 851"/>
              <a:gd name="T28" fmla="*/ 425 w 1351"/>
              <a:gd name="T29" fmla="*/ 100 h 851"/>
              <a:gd name="T30" fmla="*/ 374 w 1351"/>
              <a:gd name="T31" fmla="*/ 150 h 851"/>
              <a:gd name="T32" fmla="*/ 325 w 1351"/>
              <a:gd name="T33" fmla="*/ 125 h 851"/>
              <a:gd name="T34" fmla="*/ 249 w 1351"/>
              <a:gd name="T35" fmla="*/ 125 h 851"/>
              <a:gd name="T36" fmla="*/ 124 w 1351"/>
              <a:gd name="T37" fmla="*/ 25 h 851"/>
              <a:gd name="T38" fmla="*/ 49 w 1351"/>
              <a:gd name="T39" fmla="*/ 75 h 851"/>
              <a:gd name="T40" fmla="*/ 74 w 1351"/>
              <a:gd name="T41" fmla="*/ 75 h 851"/>
              <a:gd name="T42" fmla="*/ 149 w 1351"/>
              <a:gd name="T43" fmla="*/ 150 h 851"/>
              <a:gd name="T44" fmla="*/ 200 w 1351"/>
              <a:gd name="T45" fmla="*/ 200 h 851"/>
              <a:gd name="T46" fmla="*/ 100 w 1351"/>
              <a:gd name="T47" fmla="*/ 225 h 851"/>
              <a:gd name="T48" fmla="*/ 24 w 1351"/>
              <a:gd name="T49" fmla="*/ 225 h 851"/>
              <a:gd name="T50" fmla="*/ 49 w 1351"/>
              <a:gd name="T51" fmla="*/ 300 h 851"/>
              <a:gd name="T52" fmla="*/ 49 w 1351"/>
              <a:gd name="T53" fmla="*/ 375 h 851"/>
              <a:gd name="T54" fmla="*/ 100 w 1351"/>
              <a:gd name="T55" fmla="*/ 375 h 851"/>
              <a:gd name="T56" fmla="*/ 124 w 1351"/>
              <a:gd name="T57" fmla="*/ 450 h 851"/>
              <a:gd name="T58" fmla="*/ 124 w 1351"/>
              <a:gd name="T59" fmla="*/ 575 h 851"/>
              <a:gd name="T60" fmla="*/ 200 w 1351"/>
              <a:gd name="T61" fmla="*/ 575 h 851"/>
              <a:gd name="T62" fmla="*/ 274 w 1351"/>
              <a:gd name="T63" fmla="*/ 525 h 851"/>
              <a:gd name="T64" fmla="*/ 349 w 1351"/>
              <a:gd name="T65" fmla="*/ 500 h 851"/>
              <a:gd name="T66" fmla="*/ 449 w 1351"/>
              <a:gd name="T67" fmla="*/ 500 h 851"/>
              <a:gd name="T68" fmla="*/ 525 w 1351"/>
              <a:gd name="T69" fmla="*/ 550 h 851"/>
              <a:gd name="T70" fmla="*/ 574 w 1351"/>
              <a:gd name="T71" fmla="*/ 550 h 851"/>
              <a:gd name="T72" fmla="*/ 649 w 1351"/>
              <a:gd name="T73" fmla="*/ 575 h 851"/>
              <a:gd name="T74" fmla="*/ 699 w 1351"/>
              <a:gd name="T75" fmla="*/ 625 h 851"/>
              <a:gd name="T76" fmla="*/ 749 w 1351"/>
              <a:gd name="T77" fmla="*/ 675 h 851"/>
              <a:gd name="T78" fmla="*/ 825 w 1351"/>
              <a:gd name="T79" fmla="*/ 675 h 851"/>
              <a:gd name="T80" fmla="*/ 825 w 1351"/>
              <a:gd name="T81" fmla="*/ 800 h 851"/>
              <a:gd name="T82" fmla="*/ 849 w 1351"/>
              <a:gd name="T83" fmla="*/ 800 h 851"/>
              <a:gd name="T84" fmla="*/ 925 w 1351"/>
              <a:gd name="T85" fmla="*/ 825 h 851"/>
              <a:gd name="T86" fmla="*/ 1000 w 1351"/>
              <a:gd name="T87" fmla="*/ 775 h 851"/>
              <a:gd name="T88" fmla="*/ 1150 w 1351"/>
              <a:gd name="T89" fmla="*/ 700 h 851"/>
              <a:gd name="T90" fmla="*/ 1200 w 1351"/>
              <a:gd name="T91" fmla="*/ 625 h 851"/>
              <a:gd name="T92" fmla="*/ 1274 w 1351"/>
              <a:gd name="T93" fmla="*/ 575 h 851"/>
              <a:gd name="T94" fmla="*/ 1350 w 1351"/>
              <a:gd name="T95" fmla="*/ 575 h 851"/>
              <a:gd name="T96" fmla="*/ 1325 w 1351"/>
              <a:gd name="T97" fmla="*/ 525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1" h="851">
                <a:moveTo>
                  <a:pt x="1325" y="525"/>
                </a:moveTo>
                <a:lnTo>
                  <a:pt x="1325" y="525"/>
                </a:lnTo>
                <a:cubicBezTo>
                  <a:pt x="1325" y="525"/>
                  <a:pt x="1274" y="500"/>
                  <a:pt x="1250" y="500"/>
                </a:cubicBezTo>
                <a:cubicBezTo>
                  <a:pt x="1225" y="500"/>
                  <a:pt x="1200" y="450"/>
                  <a:pt x="1150" y="425"/>
                </a:cubicBezTo>
                <a:cubicBezTo>
                  <a:pt x="1100" y="425"/>
                  <a:pt x="1050" y="400"/>
                  <a:pt x="1050" y="375"/>
                </a:cubicBezTo>
                <a:cubicBezTo>
                  <a:pt x="1025" y="350"/>
                  <a:pt x="949" y="325"/>
                  <a:pt x="949" y="300"/>
                </a:cubicBezTo>
                <a:cubicBezTo>
                  <a:pt x="949" y="275"/>
                  <a:pt x="925" y="250"/>
                  <a:pt x="900" y="225"/>
                </a:cubicBezTo>
                <a:cubicBezTo>
                  <a:pt x="874" y="200"/>
                  <a:pt x="874" y="175"/>
                  <a:pt x="874" y="150"/>
                </a:cubicBezTo>
                <a:cubicBezTo>
                  <a:pt x="849" y="150"/>
                  <a:pt x="725" y="150"/>
                  <a:pt x="725" y="150"/>
                </a:cubicBezTo>
                <a:cubicBezTo>
                  <a:pt x="725" y="125"/>
                  <a:pt x="725" y="50"/>
                  <a:pt x="699" y="50"/>
                </a:cubicBezTo>
                <a:cubicBezTo>
                  <a:pt x="674" y="50"/>
                  <a:pt x="625" y="25"/>
                  <a:pt x="625" y="25"/>
                </a:cubicBezTo>
                <a:cubicBezTo>
                  <a:pt x="600" y="0"/>
                  <a:pt x="574" y="0"/>
                  <a:pt x="549" y="0"/>
                </a:cubicBezTo>
                <a:cubicBezTo>
                  <a:pt x="549" y="25"/>
                  <a:pt x="525" y="25"/>
                  <a:pt x="525" y="25"/>
                </a:cubicBezTo>
                <a:cubicBezTo>
                  <a:pt x="500" y="25"/>
                  <a:pt x="500" y="50"/>
                  <a:pt x="474" y="50"/>
                </a:cubicBezTo>
                <a:cubicBezTo>
                  <a:pt x="449" y="50"/>
                  <a:pt x="425" y="100"/>
                  <a:pt x="425" y="100"/>
                </a:cubicBezTo>
                <a:cubicBezTo>
                  <a:pt x="425" y="125"/>
                  <a:pt x="425" y="150"/>
                  <a:pt x="374" y="150"/>
                </a:cubicBezTo>
                <a:cubicBezTo>
                  <a:pt x="374" y="150"/>
                  <a:pt x="349" y="150"/>
                  <a:pt x="325" y="125"/>
                </a:cubicBezTo>
                <a:cubicBezTo>
                  <a:pt x="325" y="150"/>
                  <a:pt x="274" y="150"/>
                  <a:pt x="249" y="125"/>
                </a:cubicBezTo>
                <a:cubicBezTo>
                  <a:pt x="225" y="75"/>
                  <a:pt x="174" y="25"/>
                  <a:pt x="124" y="25"/>
                </a:cubicBezTo>
                <a:cubicBezTo>
                  <a:pt x="100" y="25"/>
                  <a:pt x="24" y="25"/>
                  <a:pt x="49" y="75"/>
                </a:cubicBezTo>
                <a:cubicBezTo>
                  <a:pt x="49" y="75"/>
                  <a:pt x="49" y="75"/>
                  <a:pt x="74" y="75"/>
                </a:cubicBezTo>
                <a:cubicBezTo>
                  <a:pt x="149" y="75"/>
                  <a:pt x="124" y="150"/>
                  <a:pt x="149" y="150"/>
                </a:cubicBezTo>
                <a:cubicBezTo>
                  <a:pt x="200" y="150"/>
                  <a:pt x="225" y="200"/>
                  <a:pt x="200" y="200"/>
                </a:cubicBezTo>
                <a:cubicBezTo>
                  <a:pt x="174" y="200"/>
                  <a:pt x="149" y="250"/>
                  <a:pt x="100" y="225"/>
                </a:cubicBezTo>
                <a:cubicBezTo>
                  <a:pt x="74" y="225"/>
                  <a:pt x="24" y="200"/>
                  <a:pt x="24" y="225"/>
                </a:cubicBezTo>
                <a:cubicBezTo>
                  <a:pt x="0" y="275"/>
                  <a:pt x="0" y="300"/>
                  <a:pt x="49" y="300"/>
                </a:cubicBezTo>
                <a:cubicBezTo>
                  <a:pt x="74" y="300"/>
                  <a:pt x="74" y="325"/>
                  <a:pt x="49" y="375"/>
                </a:cubicBezTo>
                <a:cubicBezTo>
                  <a:pt x="24" y="400"/>
                  <a:pt x="100" y="350"/>
                  <a:pt x="100" y="375"/>
                </a:cubicBezTo>
                <a:cubicBezTo>
                  <a:pt x="100" y="425"/>
                  <a:pt x="124" y="425"/>
                  <a:pt x="124" y="450"/>
                </a:cubicBezTo>
                <a:cubicBezTo>
                  <a:pt x="100" y="500"/>
                  <a:pt x="124" y="550"/>
                  <a:pt x="124" y="575"/>
                </a:cubicBezTo>
                <a:cubicBezTo>
                  <a:pt x="149" y="575"/>
                  <a:pt x="174" y="575"/>
                  <a:pt x="200" y="575"/>
                </a:cubicBezTo>
                <a:cubicBezTo>
                  <a:pt x="200" y="550"/>
                  <a:pt x="249" y="525"/>
                  <a:pt x="274" y="525"/>
                </a:cubicBezTo>
                <a:cubicBezTo>
                  <a:pt x="300" y="525"/>
                  <a:pt x="325" y="525"/>
                  <a:pt x="349" y="500"/>
                </a:cubicBezTo>
                <a:cubicBezTo>
                  <a:pt x="349" y="475"/>
                  <a:pt x="449" y="500"/>
                  <a:pt x="449" y="500"/>
                </a:cubicBezTo>
                <a:cubicBezTo>
                  <a:pt x="474" y="525"/>
                  <a:pt x="500" y="550"/>
                  <a:pt x="525" y="550"/>
                </a:cubicBezTo>
                <a:cubicBezTo>
                  <a:pt x="525" y="550"/>
                  <a:pt x="549" y="575"/>
                  <a:pt x="574" y="550"/>
                </a:cubicBezTo>
                <a:cubicBezTo>
                  <a:pt x="600" y="550"/>
                  <a:pt x="649" y="575"/>
                  <a:pt x="649" y="575"/>
                </a:cubicBezTo>
                <a:cubicBezTo>
                  <a:pt x="649" y="600"/>
                  <a:pt x="674" y="625"/>
                  <a:pt x="699" y="625"/>
                </a:cubicBezTo>
                <a:cubicBezTo>
                  <a:pt x="699" y="625"/>
                  <a:pt x="725" y="675"/>
                  <a:pt x="749" y="675"/>
                </a:cubicBezTo>
                <a:cubicBezTo>
                  <a:pt x="774" y="675"/>
                  <a:pt x="825" y="675"/>
                  <a:pt x="825" y="675"/>
                </a:cubicBezTo>
                <a:cubicBezTo>
                  <a:pt x="825" y="700"/>
                  <a:pt x="825" y="750"/>
                  <a:pt x="825" y="800"/>
                </a:cubicBezTo>
                <a:cubicBezTo>
                  <a:pt x="849" y="800"/>
                  <a:pt x="849" y="800"/>
                  <a:pt x="849" y="800"/>
                </a:cubicBezTo>
                <a:cubicBezTo>
                  <a:pt x="874" y="800"/>
                  <a:pt x="925" y="800"/>
                  <a:pt x="925" y="825"/>
                </a:cubicBezTo>
                <a:cubicBezTo>
                  <a:pt x="925" y="850"/>
                  <a:pt x="1000" y="825"/>
                  <a:pt x="1000" y="775"/>
                </a:cubicBezTo>
                <a:cubicBezTo>
                  <a:pt x="1000" y="750"/>
                  <a:pt x="1125" y="750"/>
                  <a:pt x="1150" y="700"/>
                </a:cubicBezTo>
                <a:cubicBezTo>
                  <a:pt x="1150" y="675"/>
                  <a:pt x="1174" y="600"/>
                  <a:pt x="1200" y="625"/>
                </a:cubicBezTo>
                <a:cubicBezTo>
                  <a:pt x="1225" y="625"/>
                  <a:pt x="1250" y="575"/>
                  <a:pt x="1274" y="575"/>
                </a:cubicBezTo>
                <a:cubicBezTo>
                  <a:pt x="1300" y="575"/>
                  <a:pt x="1300" y="600"/>
                  <a:pt x="1350" y="575"/>
                </a:cubicBezTo>
                <a:lnTo>
                  <a:pt x="1325" y="525"/>
                </a:ln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8" name="Freeform 155">
            <a:extLst>
              <a:ext uri="{FF2B5EF4-FFF2-40B4-BE49-F238E27FC236}">
                <a16:creationId xmlns:a16="http://schemas.microsoft.com/office/drawing/2014/main" id="{05D9E3C1-8623-9F96-2EC8-B8A12825EEBA}"/>
              </a:ext>
            </a:extLst>
          </p:cNvPr>
          <p:cNvSpPr>
            <a:spLocks noChangeArrowheads="1"/>
          </p:cNvSpPr>
          <p:nvPr/>
        </p:nvSpPr>
        <p:spPr bwMode="auto">
          <a:xfrm>
            <a:off x="3977342" y="3401611"/>
            <a:ext cx="590621" cy="502028"/>
          </a:xfrm>
          <a:custGeom>
            <a:avLst/>
            <a:gdLst>
              <a:gd name="T0" fmla="*/ 1800 w 1852"/>
              <a:gd name="T1" fmla="*/ 1350 h 1575"/>
              <a:gd name="T2" fmla="*/ 1800 w 1852"/>
              <a:gd name="T3" fmla="*/ 1350 h 1575"/>
              <a:gd name="T4" fmla="*/ 1775 w 1852"/>
              <a:gd name="T5" fmla="*/ 1250 h 1575"/>
              <a:gd name="T6" fmla="*/ 1675 w 1852"/>
              <a:gd name="T7" fmla="*/ 1175 h 1575"/>
              <a:gd name="T8" fmla="*/ 1600 w 1852"/>
              <a:gd name="T9" fmla="*/ 1075 h 1575"/>
              <a:gd name="T10" fmla="*/ 1700 w 1852"/>
              <a:gd name="T11" fmla="*/ 950 h 1575"/>
              <a:gd name="T12" fmla="*/ 1600 w 1852"/>
              <a:gd name="T13" fmla="*/ 900 h 1575"/>
              <a:gd name="T14" fmla="*/ 1600 w 1852"/>
              <a:gd name="T15" fmla="*/ 800 h 1575"/>
              <a:gd name="T16" fmla="*/ 1600 w 1852"/>
              <a:gd name="T17" fmla="*/ 700 h 1575"/>
              <a:gd name="T18" fmla="*/ 1600 w 1852"/>
              <a:gd name="T19" fmla="*/ 625 h 1575"/>
              <a:gd name="T20" fmla="*/ 1651 w 1852"/>
              <a:gd name="T21" fmla="*/ 550 h 1575"/>
              <a:gd name="T22" fmla="*/ 1651 w 1852"/>
              <a:gd name="T23" fmla="*/ 500 h 1575"/>
              <a:gd name="T24" fmla="*/ 1651 w 1852"/>
              <a:gd name="T25" fmla="*/ 375 h 1575"/>
              <a:gd name="T26" fmla="*/ 1575 w 1852"/>
              <a:gd name="T27" fmla="*/ 375 h 1575"/>
              <a:gd name="T28" fmla="*/ 1525 w 1852"/>
              <a:gd name="T29" fmla="*/ 325 h 1575"/>
              <a:gd name="T30" fmla="*/ 1475 w 1852"/>
              <a:gd name="T31" fmla="*/ 275 h 1575"/>
              <a:gd name="T32" fmla="*/ 1400 w 1852"/>
              <a:gd name="T33" fmla="*/ 250 h 1575"/>
              <a:gd name="T34" fmla="*/ 1351 w 1852"/>
              <a:gd name="T35" fmla="*/ 250 h 1575"/>
              <a:gd name="T36" fmla="*/ 1275 w 1852"/>
              <a:gd name="T37" fmla="*/ 200 h 1575"/>
              <a:gd name="T38" fmla="*/ 1175 w 1852"/>
              <a:gd name="T39" fmla="*/ 200 h 1575"/>
              <a:gd name="T40" fmla="*/ 1100 w 1852"/>
              <a:gd name="T41" fmla="*/ 225 h 1575"/>
              <a:gd name="T42" fmla="*/ 1026 w 1852"/>
              <a:gd name="T43" fmla="*/ 275 h 1575"/>
              <a:gd name="T44" fmla="*/ 950 w 1852"/>
              <a:gd name="T45" fmla="*/ 275 h 1575"/>
              <a:gd name="T46" fmla="*/ 950 w 1852"/>
              <a:gd name="T47" fmla="*/ 325 h 1575"/>
              <a:gd name="T48" fmla="*/ 726 w 1852"/>
              <a:gd name="T49" fmla="*/ 375 h 1575"/>
              <a:gd name="T50" fmla="*/ 575 w 1852"/>
              <a:gd name="T51" fmla="*/ 275 h 1575"/>
              <a:gd name="T52" fmla="*/ 450 w 1852"/>
              <a:gd name="T53" fmla="*/ 175 h 1575"/>
              <a:gd name="T54" fmla="*/ 375 w 1852"/>
              <a:gd name="T55" fmla="*/ 125 h 1575"/>
              <a:gd name="T56" fmla="*/ 375 w 1852"/>
              <a:gd name="T57" fmla="*/ 25 h 1575"/>
              <a:gd name="T58" fmla="*/ 175 w 1852"/>
              <a:gd name="T59" fmla="*/ 125 h 1575"/>
              <a:gd name="T60" fmla="*/ 126 w 1852"/>
              <a:gd name="T61" fmla="*/ 75 h 1575"/>
              <a:gd name="T62" fmla="*/ 50 w 1852"/>
              <a:gd name="T63" fmla="*/ 0 h 1575"/>
              <a:gd name="T64" fmla="*/ 25 w 1852"/>
              <a:gd name="T65" fmla="*/ 50 h 1575"/>
              <a:gd name="T66" fmla="*/ 25 w 1852"/>
              <a:gd name="T67" fmla="*/ 125 h 1575"/>
              <a:gd name="T68" fmla="*/ 25 w 1852"/>
              <a:gd name="T69" fmla="*/ 225 h 1575"/>
              <a:gd name="T70" fmla="*/ 75 w 1852"/>
              <a:gd name="T71" fmla="*/ 300 h 1575"/>
              <a:gd name="T72" fmla="*/ 100 w 1852"/>
              <a:gd name="T73" fmla="*/ 375 h 1575"/>
              <a:gd name="T74" fmla="*/ 150 w 1852"/>
              <a:gd name="T75" fmla="*/ 425 h 1575"/>
              <a:gd name="T76" fmla="*/ 200 w 1852"/>
              <a:gd name="T77" fmla="*/ 475 h 1575"/>
              <a:gd name="T78" fmla="*/ 175 w 1852"/>
              <a:gd name="T79" fmla="*/ 525 h 1575"/>
              <a:gd name="T80" fmla="*/ 150 w 1852"/>
              <a:gd name="T81" fmla="*/ 600 h 1575"/>
              <a:gd name="T82" fmla="*/ 150 w 1852"/>
              <a:gd name="T83" fmla="*/ 675 h 1575"/>
              <a:gd name="T84" fmla="*/ 200 w 1852"/>
              <a:gd name="T85" fmla="*/ 725 h 1575"/>
              <a:gd name="T86" fmla="*/ 300 w 1852"/>
              <a:gd name="T87" fmla="*/ 800 h 1575"/>
              <a:gd name="T88" fmla="*/ 350 w 1852"/>
              <a:gd name="T89" fmla="*/ 850 h 1575"/>
              <a:gd name="T90" fmla="*/ 350 w 1852"/>
              <a:gd name="T91" fmla="*/ 925 h 1575"/>
              <a:gd name="T92" fmla="*/ 375 w 1852"/>
              <a:gd name="T93" fmla="*/ 1001 h 1575"/>
              <a:gd name="T94" fmla="*/ 426 w 1852"/>
              <a:gd name="T95" fmla="*/ 1050 h 1575"/>
              <a:gd name="T96" fmla="*/ 450 w 1852"/>
              <a:gd name="T97" fmla="*/ 1050 h 1575"/>
              <a:gd name="T98" fmla="*/ 500 w 1852"/>
              <a:gd name="T99" fmla="*/ 1050 h 1575"/>
              <a:gd name="T100" fmla="*/ 550 w 1852"/>
              <a:gd name="T101" fmla="*/ 1050 h 1575"/>
              <a:gd name="T102" fmla="*/ 650 w 1852"/>
              <a:gd name="T103" fmla="*/ 1201 h 1575"/>
              <a:gd name="T104" fmla="*/ 700 w 1852"/>
              <a:gd name="T105" fmla="*/ 1275 h 1575"/>
              <a:gd name="T106" fmla="*/ 826 w 1852"/>
              <a:gd name="T107" fmla="*/ 1325 h 1575"/>
              <a:gd name="T108" fmla="*/ 1051 w 1852"/>
              <a:gd name="T109" fmla="*/ 1425 h 1575"/>
              <a:gd name="T110" fmla="*/ 1200 w 1852"/>
              <a:gd name="T111" fmla="*/ 1375 h 1575"/>
              <a:gd name="T112" fmla="*/ 1251 w 1852"/>
              <a:gd name="T113" fmla="*/ 1501 h 1575"/>
              <a:gd name="T114" fmla="*/ 1600 w 1852"/>
              <a:gd name="T115" fmla="*/ 1550 h 1575"/>
              <a:gd name="T116" fmla="*/ 1700 w 1852"/>
              <a:gd name="T117" fmla="*/ 1574 h 1575"/>
              <a:gd name="T118" fmla="*/ 1675 w 1852"/>
              <a:gd name="T119" fmla="*/ 1550 h 1575"/>
              <a:gd name="T120" fmla="*/ 1751 w 1852"/>
              <a:gd name="T121" fmla="*/ 1450 h 1575"/>
              <a:gd name="T122" fmla="*/ 1826 w 1852"/>
              <a:gd name="T123" fmla="*/ 1425 h 1575"/>
              <a:gd name="T124" fmla="*/ 1800 w 1852"/>
              <a:gd name="T125" fmla="*/ 1350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2" h="1575">
                <a:moveTo>
                  <a:pt x="1800" y="1350"/>
                </a:moveTo>
                <a:lnTo>
                  <a:pt x="1800" y="1350"/>
                </a:lnTo>
                <a:cubicBezTo>
                  <a:pt x="1775" y="1350"/>
                  <a:pt x="1800" y="1275"/>
                  <a:pt x="1775" y="1250"/>
                </a:cubicBezTo>
                <a:cubicBezTo>
                  <a:pt x="1726" y="1225"/>
                  <a:pt x="1675" y="1201"/>
                  <a:pt x="1675" y="1175"/>
                </a:cubicBezTo>
                <a:cubicBezTo>
                  <a:pt x="1651" y="1125"/>
                  <a:pt x="1600" y="1101"/>
                  <a:pt x="1600" y="1075"/>
                </a:cubicBezTo>
                <a:cubicBezTo>
                  <a:pt x="1600" y="1075"/>
                  <a:pt x="1726" y="1001"/>
                  <a:pt x="1700" y="950"/>
                </a:cubicBezTo>
                <a:cubicBezTo>
                  <a:pt x="1675" y="900"/>
                  <a:pt x="1626" y="925"/>
                  <a:pt x="1600" y="900"/>
                </a:cubicBezTo>
                <a:cubicBezTo>
                  <a:pt x="1600" y="900"/>
                  <a:pt x="1600" y="825"/>
                  <a:pt x="1600" y="800"/>
                </a:cubicBezTo>
                <a:cubicBezTo>
                  <a:pt x="1575" y="750"/>
                  <a:pt x="1600" y="725"/>
                  <a:pt x="1600" y="700"/>
                </a:cubicBezTo>
                <a:cubicBezTo>
                  <a:pt x="1575" y="675"/>
                  <a:pt x="1600" y="625"/>
                  <a:pt x="1600" y="625"/>
                </a:cubicBezTo>
                <a:cubicBezTo>
                  <a:pt x="1600" y="600"/>
                  <a:pt x="1651" y="575"/>
                  <a:pt x="1651" y="550"/>
                </a:cubicBezTo>
                <a:cubicBezTo>
                  <a:pt x="1651" y="525"/>
                  <a:pt x="1651" y="500"/>
                  <a:pt x="1651" y="500"/>
                </a:cubicBezTo>
                <a:cubicBezTo>
                  <a:pt x="1651" y="450"/>
                  <a:pt x="1651" y="400"/>
                  <a:pt x="1651" y="375"/>
                </a:cubicBezTo>
                <a:cubicBezTo>
                  <a:pt x="1651" y="375"/>
                  <a:pt x="1600" y="375"/>
                  <a:pt x="1575" y="375"/>
                </a:cubicBezTo>
                <a:cubicBezTo>
                  <a:pt x="1551" y="375"/>
                  <a:pt x="1525" y="325"/>
                  <a:pt x="1525" y="325"/>
                </a:cubicBezTo>
                <a:cubicBezTo>
                  <a:pt x="1500" y="325"/>
                  <a:pt x="1475" y="300"/>
                  <a:pt x="1475" y="275"/>
                </a:cubicBezTo>
                <a:cubicBezTo>
                  <a:pt x="1475" y="275"/>
                  <a:pt x="1426" y="250"/>
                  <a:pt x="1400" y="250"/>
                </a:cubicBezTo>
                <a:cubicBezTo>
                  <a:pt x="1375" y="275"/>
                  <a:pt x="1351" y="250"/>
                  <a:pt x="1351" y="250"/>
                </a:cubicBezTo>
                <a:cubicBezTo>
                  <a:pt x="1326" y="250"/>
                  <a:pt x="1300" y="225"/>
                  <a:pt x="1275" y="200"/>
                </a:cubicBezTo>
                <a:cubicBezTo>
                  <a:pt x="1275" y="200"/>
                  <a:pt x="1175" y="175"/>
                  <a:pt x="1175" y="200"/>
                </a:cubicBezTo>
                <a:cubicBezTo>
                  <a:pt x="1151" y="225"/>
                  <a:pt x="1126" y="225"/>
                  <a:pt x="1100" y="225"/>
                </a:cubicBezTo>
                <a:cubicBezTo>
                  <a:pt x="1075" y="225"/>
                  <a:pt x="1026" y="250"/>
                  <a:pt x="1026" y="275"/>
                </a:cubicBezTo>
                <a:cubicBezTo>
                  <a:pt x="1000" y="275"/>
                  <a:pt x="975" y="275"/>
                  <a:pt x="950" y="275"/>
                </a:cubicBezTo>
                <a:cubicBezTo>
                  <a:pt x="950" y="300"/>
                  <a:pt x="950" y="325"/>
                  <a:pt x="950" y="325"/>
                </a:cubicBezTo>
                <a:cubicBezTo>
                  <a:pt x="926" y="350"/>
                  <a:pt x="826" y="375"/>
                  <a:pt x="726" y="375"/>
                </a:cubicBezTo>
                <a:cubicBezTo>
                  <a:pt x="650" y="375"/>
                  <a:pt x="650" y="275"/>
                  <a:pt x="575" y="275"/>
                </a:cubicBezTo>
                <a:cubicBezTo>
                  <a:pt x="500" y="275"/>
                  <a:pt x="450" y="225"/>
                  <a:pt x="450" y="175"/>
                </a:cubicBezTo>
                <a:cubicBezTo>
                  <a:pt x="426" y="150"/>
                  <a:pt x="375" y="125"/>
                  <a:pt x="375" y="125"/>
                </a:cubicBezTo>
                <a:cubicBezTo>
                  <a:pt x="400" y="100"/>
                  <a:pt x="400" y="0"/>
                  <a:pt x="375" y="25"/>
                </a:cubicBezTo>
                <a:cubicBezTo>
                  <a:pt x="326" y="50"/>
                  <a:pt x="250" y="125"/>
                  <a:pt x="175" y="125"/>
                </a:cubicBezTo>
                <a:cubicBezTo>
                  <a:pt x="100" y="100"/>
                  <a:pt x="150" y="100"/>
                  <a:pt x="126" y="75"/>
                </a:cubicBezTo>
                <a:cubicBezTo>
                  <a:pt x="75" y="50"/>
                  <a:pt x="100" y="25"/>
                  <a:pt x="50" y="0"/>
                </a:cubicBezTo>
                <a:cubicBezTo>
                  <a:pt x="25" y="0"/>
                  <a:pt x="50" y="50"/>
                  <a:pt x="25" y="50"/>
                </a:cubicBezTo>
                <a:cubicBezTo>
                  <a:pt x="0" y="50"/>
                  <a:pt x="25" y="125"/>
                  <a:pt x="25" y="125"/>
                </a:cubicBezTo>
                <a:cubicBezTo>
                  <a:pt x="25" y="150"/>
                  <a:pt x="25" y="225"/>
                  <a:pt x="25" y="225"/>
                </a:cubicBezTo>
                <a:cubicBezTo>
                  <a:pt x="50" y="225"/>
                  <a:pt x="75" y="300"/>
                  <a:pt x="75" y="300"/>
                </a:cubicBezTo>
                <a:cubicBezTo>
                  <a:pt x="75" y="325"/>
                  <a:pt x="100" y="350"/>
                  <a:pt x="100" y="375"/>
                </a:cubicBezTo>
                <a:cubicBezTo>
                  <a:pt x="100" y="400"/>
                  <a:pt x="150" y="425"/>
                  <a:pt x="150" y="425"/>
                </a:cubicBezTo>
                <a:cubicBezTo>
                  <a:pt x="175" y="425"/>
                  <a:pt x="200" y="450"/>
                  <a:pt x="200" y="475"/>
                </a:cubicBezTo>
                <a:cubicBezTo>
                  <a:pt x="175" y="500"/>
                  <a:pt x="200" y="525"/>
                  <a:pt x="175" y="525"/>
                </a:cubicBezTo>
                <a:cubicBezTo>
                  <a:pt x="150" y="525"/>
                  <a:pt x="175" y="600"/>
                  <a:pt x="150" y="600"/>
                </a:cubicBezTo>
                <a:cubicBezTo>
                  <a:pt x="126" y="600"/>
                  <a:pt x="150" y="675"/>
                  <a:pt x="150" y="675"/>
                </a:cubicBezTo>
                <a:cubicBezTo>
                  <a:pt x="175" y="700"/>
                  <a:pt x="200" y="700"/>
                  <a:pt x="200" y="725"/>
                </a:cubicBezTo>
                <a:cubicBezTo>
                  <a:pt x="200" y="750"/>
                  <a:pt x="275" y="800"/>
                  <a:pt x="300" y="800"/>
                </a:cubicBezTo>
                <a:cubicBezTo>
                  <a:pt x="326" y="800"/>
                  <a:pt x="326" y="850"/>
                  <a:pt x="350" y="850"/>
                </a:cubicBezTo>
                <a:cubicBezTo>
                  <a:pt x="375" y="875"/>
                  <a:pt x="350" y="900"/>
                  <a:pt x="350" y="925"/>
                </a:cubicBezTo>
                <a:cubicBezTo>
                  <a:pt x="350" y="950"/>
                  <a:pt x="375" y="950"/>
                  <a:pt x="375" y="1001"/>
                </a:cubicBezTo>
                <a:cubicBezTo>
                  <a:pt x="375" y="1001"/>
                  <a:pt x="400" y="1025"/>
                  <a:pt x="426" y="1050"/>
                </a:cubicBezTo>
                <a:lnTo>
                  <a:pt x="450" y="1050"/>
                </a:lnTo>
                <a:cubicBezTo>
                  <a:pt x="475" y="1050"/>
                  <a:pt x="475" y="1025"/>
                  <a:pt x="500" y="1050"/>
                </a:cubicBezTo>
                <a:cubicBezTo>
                  <a:pt x="526" y="1075"/>
                  <a:pt x="550" y="1050"/>
                  <a:pt x="550" y="1050"/>
                </a:cubicBezTo>
                <a:cubicBezTo>
                  <a:pt x="575" y="1050"/>
                  <a:pt x="626" y="1150"/>
                  <a:pt x="650" y="1201"/>
                </a:cubicBezTo>
                <a:cubicBezTo>
                  <a:pt x="675" y="1250"/>
                  <a:pt x="675" y="1250"/>
                  <a:pt x="700" y="1275"/>
                </a:cubicBezTo>
                <a:cubicBezTo>
                  <a:pt x="750" y="1301"/>
                  <a:pt x="775" y="1301"/>
                  <a:pt x="826" y="1325"/>
                </a:cubicBezTo>
                <a:cubicBezTo>
                  <a:pt x="875" y="1375"/>
                  <a:pt x="1000" y="1425"/>
                  <a:pt x="1051" y="1425"/>
                </a:cubicBezTo>
                <a:cubicBezTo>
                  <a:pt x="1100" y="1425"/>
                  <a:pt x="1126" y="1375"/>
                  <a:pt x="1200" y="1375"/>
                </a:cubicBezTo>
                <a:cubicBezTo>
                  <a:pt x="1251" y="1401"/>
                  <a:pt x="1251" y="1475"/>
                  <a:pt x="1251" y="1501"/>
                </a:cubicBezTo>
                <a:cubicBezTo>
                  <a:pt x="1275" y="1525"/>
                  <a:pt x="1551" y="1550"/>
                  <a:pt x="1600" y="1550"/>
                </a:cubicBezTo>
                <a:cubicBezTo>
                  <a:pt x="1600" y="1574"/>
                  <a:pt x="1651" y="1574"/>
                  <a:pt x="1700" y="1574"/>
                </a:cubicBezTo>
                <a:cubicBezTo>
                  <a:pt x="1675" y="1550"/>
                  <a:pt x="1675" y="1550"/>
                  <a:pt x="1675" y="1550"/>
                </a:cubicBezTo>
                <a:cubicBezTo>
                  <a:pt x="1675" y="1501"/>
                  <a:pt x="1726" y="1475"/>
                  <a:pt x="1751" y="1450"/>
                </a:cubicBezTo>
                <a:cubicBezTo>
                  <a:pt x="1775" y="1425"/>
                  <a:pt x="1800" y="1425"/>
                  <a:pt x="1826" y="1425"/>
                </a:cubicBezTo>
                <a:cubicBezTo>
                  <a:pt x="1851" y="1425"/>
                  <a:pt x="1826" y="1350"/>
                  <a:pt x="1800" y="13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99" name="Freeform 156">
            <a:extLst>
              <a:ext uri="{FF2B5EF4-FFF2-40B4-BE49-F238E27FC236}">
                <a16:creationId xmlns:a16="http://schemas.microsoft.com/office/drawing/2014/main" id="{E2F07C42-8706-473B-C4A5-6A286A82073B}"/>
              </a:ext>
            </a:extLst>
          </p:cNvPr>
          <p:cNvSpPr>
            <a:spLocks noChangeArrowheads="1"/>
          </p:cNvSpPr>
          <p:nvPr/>
        </p:nvSpPr>
        <p:spPr bwMode="auto">
          <a:xfrm>
            <a:off x="4056092" y="2812393"/>
            <a:ext cx="1220617" cy="573747"/>
          </a:xfrm>
          <a:custGeom>
            <a:avLst/>
            <a:gdLst>
              <a:gd name="T0" fmla="*/ 3776 w 3827"/>
              <a:gd name="T1" fmla="*/ 725 h 1801"/>
              <a:gd name="T2" fmla="*/ 3626 w 3827"/>
              <a:gd name="T3" fmla="*/ 649 h 1801"/>
              <a:gd name="T4" fmla="*/ 3401 w 3827"/>
              <a:gd name="T5" fmla="*/ 600 h 1801"/>
              <a:gd name="T6" fmla="*/ 3201 w 3827"/>
              <a:gd name="T7" fmla="*/ 575 h 1801"/>
              <a:gd name="T8" fmla="*/ 2901 w 3827"/>
              <a:gd name="T9" fmla="*/ 150 h 1801"/>
              <a:gd name="T10" fmla="*/ 2651 w 3827"/>
              <a:gd name="T11" fmla="*/ 224 h 1801"/>
              <a:gd name="T12" fmla="*/ 2551 w 3827"/>
              <a:gd name="T13" fmla="*/ 175 h 1801"/>
              <a:gd name="T14" fmla="*/ 2450 w 3827"/>
              <a:gd name="T15" fmla="*/ 150 h 1801"/>
              <a:gd name="T16" fmla="*/ 2350 w 3827"/>
              <a:gd name="T17" fmla="*/ 50 h 1801"/>
              <a:gd name="T18" fmla="*/ 2101 w 3827"/>
              <a:gd name="T19" fmla="*/ 24 h 1801"/>
              <a:gd name="T20" fmla="*/ 1750 w 3827"/>
              <a:gd name="T21" fmla="*/ 124 h 1801"/>
              <a:gd name="T22" fmla="*/ 1401 w 3827"/>
              <a:gd name="T23" fmla="*/ 175 h 1801"/>
              <a:gd name="T24" fmla="*/ 1401 w 3827"/>
              <a:gd name="T25" fmla="*/ 300 h 1801"/>
              <a:gd name="T26" fmla="*/ 1350 w 3827"/>
              <a:gd name="T27" fmla="*/ 475 h 1801"/>
              <a:gd name="T28" fmla="*/ 1376 w 3827"/>
              <a:gd name="T29" fmla="*/ 600 h 1801"/>
              <a:gd name="T30" fmla="*/ 1225 w 3827"/>
              <a:gd name="T31" fmla="*/ 575 h 1801"/>
              <a:gd name="T32" fmla="*/ 1025 w 3827"/>
              <a:gd name="T33" fmla="*/ 550 h 1801"/>
              <a:gd name="T34" fmla="*/ 776 w 3827"/>
              <a:gd name="T35" fmla="*/ 575 h 1801"/>
              <a:gd name="T36" fmla="*/ 576 w 3827"/>
              <a:gd name="T37" fmla="*/ 475 h 1801"/>
              <a:gd name="T38" fmla="*/ 376 w 3827"/>
              <a:gd name="T39" fmla="*/ 500 h 1801"/>
              <a:gd name="T40" fmla="*/ 200 w 3827"/>
              <a:gd name="T41" fmla="*/ 625 h 1801"/>
              <a:gd name="T42" fmla="*/ 76 w 3827"/>
              <a:gd name="T43" fmla="*/ 675 h 1801"/>
              <a:gd name="T44" fmla="*/ 25 w 3827"/>
              <a:gd name="T45" fmla="*/ 800 h 1801"/>
              <a:gd name="T46" fmla="*/ 76 w 3827"/>
              <a:gd name="T47" fmla="*/ 950 h 1801"/>
              <a:gd name="T48" fmla="*/ 200 w 3827"/>
              <a:gd name="T49" fmla="*/ 1075 h 1801"/>
              <a:gd name="T50" fmla="*/ 276 w 3827"/>
              <a:gd name="T51" fmla="*/ 1100 h 1801"/>
              <a:gd name="T52" fmla="*/ 625 w 3827"/>
              <a:gd name="T53" fmla="*/ 1225 h 1801"/>
              <a:gd name="T54" fmla="*/ 400 w 3827"/>
              <a:gd name="T55" fmla="*/ 1325 h 1801"/>
              <a:gd name="T56" fmla="*/ 450 w 3827"/>
              <a:gd name="T57" fmla="*/ 1500 h 1801"/>
              <a:gd name="T58" fmla="*/ 600 w 3827"/>
              <a:gd name="T59" fmla="*/ 1700 h 1801"/>
              <a:gd name="T60" fmla="*/ 825 w 3827"/>
              <a:gd name="T61" fmla="*/ 1675 h 1801"/>
              <a:gd name="T62" fmla="*/ 1150 w 3827"/>
              <a:gd name="T63" fmla="*/ 1200 h 1801"/>
              <a:gd name="T64" fmla="*/ 1275 w 3827"/>
              <a:gd name="T65" fmla="*/ 1150 h 1801"/>
              <a:gd name="T66" fmla="*/ 1450 w 3827"/>
              <a:gd name="T67" fmla="*/ 1450 h 1801"/>
              <a:gd name="T68" fmla="*/ 1850 w 3827"/>
              <a:gd name="T69" fmla="*/ 1500 h 1801"/>
              <a:gd name="T70" fmla="*/ 2001 w 3827"/>
              <a:gd name="T71" fmla="*/ 1700 h 1801"/>
              <a:gd name="T72" fmla="*/ 2226 w 3827"/>
              <a:gd name="T73" fmla="*/ 1675 h 1801"/>
              <a:gd name="T74" fmla="*/ 2350 w 3827"/>
              <a:gd name="T75" fmla="*/ 1550 h 1801"/>
              <a:gd name="T76" fmla="*/ 2676 w 3827"/>
              <a:gd name="T77" fmla="*/ 1500 h 1801"/>
              <a:gd name="T78" fmla="*/ 3126 w 3827"/>
              <a:gd name="T79" fmla="*/ 1575 h 1801"/>
              <a:gd name="T80" fmla="*/ 3251 w 3827"/>
              <a:gd name="T81" fmla="*/ 1500 h 1801"/>
              <a:gd name="T82" fmla="*/ 3251 w 3827"/>
              <a:gd name="T83" fmla="*/ 1275 h 1801"/>
              <a:gd name="T84" fmla="*/ 3401 w 3827"/>
              <a:gd name="T85" fmla="*/ 1225 h 1801"/>
              <a:gd name="T86" fmla="*/ 3601 w 3827"/>
              <a:gd name="T87" fmla="*/ 1050 h 1801"/>
              <a:gd name="T88" fmla="*/ 3751 w 3827"/>
              <a:gd name="T89" fmla="*/ 875 h 1801"/>
              <a:gd name="T90" fmla="*/ 3801 w 3827"/>
              <a:gd name="T91" fmla="*/ 725 h 1801"/>
              <a:gd name="T92" fmla="*/ 1301 w 3827"/>
              <a:gd name="T93" fmla="*/ 1100 h 1801"/>
              <a:gd name="T94" fmla="*/ 3001 w 3827"/>
              <a:gd name="T95" fmla="*/ 1125 h 1801"/>
              <a:gd name="T96" fmla="*/ 2626 w 3827"/>
              <a:gd name="T97" fmla="*/ 1125 h 1801"/>
              <a:gd name="T98" fmla="*/ 3001 w 3827"/>
              <a:gd name="T99" fmla="*/ 1125 h 1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27" h="1801">
                <a:moveTo>
                  <a:pt x="3801" y="725"/>
                </a:moveTo>
                <a:lnTo>
                  <a:pt x="3801" y="725"/>
                </a:lnTo>
                <a:cubicBezTo>
                  <a:pt x="3801" y="700"/>
                  <a:pt x="3776" y="725"/>
                  <a:pt x="3776" y="725"/>
                </a:cubicBezTo>
                <a:cubicBezTo>
                  <a:pt x="3751" y="725"/>
                  <a:pt x="3701" y="725"/>
                  <a:pt x="3701" y="725"/>
                </a:cubicBezTo>
                <a:cubicBezTo>
                  <a:pt x="3676" y="725"/>
                  <a:pt x="3651" y="725"/>
                  <a:pt x="3651" y="700"/>
                </a:cubicBezTo>
                <a:cubicBezTo>
                  <a:pt x="3651" y="675"/>
                  <a:pt x="3651" y="649"/>
                  <a:pt x="3626" y="649"/>
                </a:cubicBezTo>
                <a:cubicBezTo>
                  <a:pt x="3601" y="649"/>
                  <a:pt x="3576" y="649"/>
                  <a:pt x="3576" y="625"/>
                </a:cubicBezTo>
                <a:cubicBezTo>
                  <a:pt x="3551" y="575"/>
                  <a:pt x="3526" y="575"/>
                  <a:pt x="3501" y="575"/>
                </a:cubicBezTo>
                <a:cubicBezTo>
                  <a:pt x="3476" y="550"/>
                  <a:pt x="3426" y="575"/>
                  <a:pt x="3401" y="600"/>
                </a:cubicBezTo>
                <a:cubicBezTo>
                  <a:pt x="3376" y="600"/>
                  <a:pt x="3351" y="575"/>
                  <a:pt x="3326" y="575"/>
                </a:cubicBezTo>
                <a:cubicBezTo>
                  <a:pt x="3301" y="575"/>
                  <a:pt x="3276" y="525"/>
                  <a:pt x="3251" y="525"/>
                </a:cubicBezTo>
                <a:cubicBezTo>
                  <a:pt x="3226" y="525"/>
                  <a:pt x="3201" y="575"/>
                  <a:pt x="3201" y="575"/>
                </a:cubicBezTo>
                <a:cubicBezTo>
                  <a:pt x="3176" y="575"/>
                  <a:pt x="3126" y="475"/>
                  <a:pt x="3101" y="424"/>
                </a:cubicBezTo>
                <a:cubicBezTo>
                  <a:pt x="3051" y="350"/>
                  <a:pt x="2976" y="224"/>
                  <a:pt x="2926" y="200"/>
                </a:cubicBezTo>
                <a:cubicBezTo>
                  <a:pt x="2851" y="200"/>
                  <a:pt x="2876" y="150"/>
                  <a:pt x="2901" y="150"/>
                </a:cubicBezTo>
                <a:cubicBezTo>
                  <a:pt x="2901" y="124"/>
                  <a:pt x="2851" y="124"/>
                  <a:pt x="2826" y="124"/>
                </a:cubicBezTo>
                <a:cubicBezTo>
                  <a:pt x="2801" y="150"/>
                  <a:pt x="2775" y="175"/>
                  <a:pt x="2751" y="175"/>
                </a:cubicBezTo>
                <a:cubicBezTo>
                  <a:pt x="2726" y="200"/>
                  <a:pt x="2676" y="224"/>
                  <a:pt x="2651" y="224"/>
                </a:cubicBezTo>
                <a:cubicBezTo>
                  <a:pt x="2601" y="224"/>
                  <a:pt x="2601" y="275"/>
                  <a:pt x="2575" y="250"/>
                </a:cubicBezTo>
                <a:cubicBezTo>
                  <a:pt x="2551" y="224"/>
                  <a:pt x="2601" y="200"/>
                  <a:pt x="2601" y="175"/>
                </a:cubicBezTo>
                <a:cubicBezTo>
                  <a:pt x="2601" y="150"/>
                  <a:pt x="2575" y="175"/>
                  <a:pt x="2551" y="175"/>
                </a:cubicBezTo>
                <a:cubicBezTo>
                  <a:pt x="2551" y="150"/>
                  <a:pt x="2501" y="150"/>
                  <a:pt x="2501" y="175"/>
                </a:cubicBezTo>
                <a:cubicBezTo>
                  <a:pt x="2501" y="175"/>
                  <a:pt x="2476" y="175"/>
                  <a:pt x="2476" y="150"/>
                </a:cubicBezTo>
                <a:cubicBezTo>
                  <a:pt x="2476" y="150"/>
                  <a:pt x="2476" y="124"/>
                  <a:pt x="2450" y="150"/>
                </a:cubicBezTo>
                <a:cubicBezTo>
                  <a:pt x="2426" y="150"/>
                  <a:pt x="2376" y="175"/>
                  <a:pt x="2376" y="150"/>
                </a:cubicBezTo>
                <a:cubicBezTo>
                  <a:pt x="2350" y="150"/>
                  <a:pt x="2376" y="124"/>
                  <a:pt x="2376" y="124"/>
                </a:cubicBezTo>
                <a:cubicBezTo>
                  <a:pt x="2376" y="100"/>
                  <a:pt x="2350" y="75"/>
                  <a:pt x="2350" y="50"/>
                </a:cubicBezTo>
                <a:cubicBezTo>
                  <a:pt x="2350" y="24"/>
                  <a:pt x="2326" y="0"/>
                  <a:pt x="2301" y="0"/>
                </a:cubicBezTo>
                <a:cubicBezTo>
                  <a:pt x="2276" y="24"/>
                  <a:pt x="2250" y="0"/>
                  <a:pt x="2226" y="0"/>
                </a:cubicBezTo>
                <a:cubicBezTo>
                  <a:pt x="2201" y="0"/>
                  <a:pt x="2101" y="0"/>
                  <a:pt x="2101" y="24"/>
                </a:cubicBezTo>
                <a:cubicBezTo>
                  <a:pt x="2101" y="50"/>
                  <a:pt x="2001" y="75"/>
                  <a:pt x="1976" y="75"/>
                </a:cubicBezTo>
                <a:cubicBezTo>
                  <a:pt x="1950" y="75"/>
                  <a:pt x="1876" y="100"/>
                  <a:pt x="1826" y="100"/>
                </a:cubicBezTo>
                <a:cubicBezTo>
                  <a:pt x="1801" y="100"/>
                  <a:pt x="1776" y="124"/>
                  <a:pt x="1750" y="124"/>
                </a:cubicBezTo>
                <a:cubicBezTo>
                  <a:pt x="1701" y="124"/>
                  <a:pt x="1626" y="124"/>
                  <a:pt x="1601" y="150"/>
                </a:cubicBezTo>
                <a:cubicBezTo>
                  <a:pt x="1576" y="175"/>
                  <a:pt x="1501" y="150"/>
                  <a:pt x="1476" y="175"/>
                </a:cubicBezTo>
                <a:cubicBezTo>
                  <a:pt x="1450" y="175"/>
                  <a:pt x="1425" y="175"/>
                  <a:pt x="1401" y="175"/>
                </a:cubicBezTo>
                <a:cubicBezTo>
                  <a:pt x="1401" y="175"/>
                  <a:pt x="1401" y="224"/>
                  <a:pt x="1401" y="250"/>
                </a:cubicBezTo>
                <a:cubicBezTo>
                  <a:pt x="1425" y="275"/>
                  <a:pt x="1501" y="275"/>
                  <a:pt x="1501" y="300"/>
                </a:cubicBezTo>
                <a:cubicBezTo>
                  <a:pt x="1501" y="300"/>
                  <a:pt x="1425" y="300"/>
                  <a:pt x="1401" y="300"/>
                </a:cubicBezTo>
                <a:cubicBezTo>
                  <a:pt x="1350" y="324"/>
                  <a:pt x="1376" y="350"/>
                  <a:pt x="1376" y="375"/>
                </a:cubicBezTo>
                <a:cubicBezTo>
                  <a:pt x="1376" y="400"/>
                  <a:pt x="1350" y="424"/>
                  <a:pt x="1325" y="424"/>
                </a:cubicBezTo>
                <a:cubicBezTo>
                  <a:pt x="1301" y="424"/>
                  <a:pt x="1325" y="475"/>
                  <a:pt x="1350" y="475"/>
                </a:cubicBezTo>
                <a:cubicBezTo>
                  <a:pt x="1376" y="475"/>
                  <a:pt x="1401" y="500"/>
                  <a:pt x="1401" y="500"/>
                </a:cubicBezTo>
                <a:cubicBezTo>
                  <a:pt x="1425" y="500"/>
                  <a:pt x="1425" y="550"/>
                  <a:pt x="1425" y="575"/>
                </a:cubicBezTo>
                <a:cubicBezTo>
                  <a:pt x="1425" y="600"/>
                  <a:pt x="1401" y="600"/>
                  <a:pt x="1376" y="600"/>
                </a:cubicBezTo>
                <a:cubicBezTo>
                  <a:pt x="1350" y="600"/>
                  <a:pt x="1325" y="575"/>
                  <a:pt x="1301" y="575"/>
                </a:cubicBezTo>
                <a:cubicBezTo>
                  <a:pt x="1275" y="575"/>
                  <a:pt x="1301" y="600"/>
                  <a:pt x="1275" y="625"/>
                </a:cubicBezTo>
                <a:cubicBezTo>
                  <a:pt x="1250" y="625"/>
                  <a:pt x="1250" y="575"/>
                  <a:pt x="1225" y="575"/>
                </a:cubicBezTo>
                <a:cubicBezTo>
                  <a:pt x="1201" y="575"/>
                  <a:pt x="1176" y="575"/>
                  <a:pt x="1176" y="550"/>
                </a:cubicBezTo>
                <a:cubicBezTo>
                  <a:pt x="1150" y="525"/>
                  <a:pt x="1101" y="525"/>
                  <a:pt x="1076" y="550"/>
                </a:cubicBezTo>
                <a:cubicBezTo>
                  <a:pt x="1050" y="575"/>
                  <a:pt x="1050" y="575"/>
                  <a:pt x="1025" y="550"/>
                </a:cubicBezTo>
                <a:cubicBezTo>
                  <a:pt x="1001" y="525"/>
                  <a:pt x="925" y="550"/>
                  <a:pt x="925" y="575"/>
                </a:cubicBezTo>
                <a:cubicBezTo>
                  <a:pt x="925" y="600"/>
                  <a:pt x="876" y="600"/>
                  <a:pt x="850" y="575"/>
                </a:cubicBezTo>
                <a:cubicBezTo>
                  <a:pt x="801" y="575"/>
                  <a:pt x="776" y="550"/>
                  <a:pt x="776" y="575"/>
                </a:cubicBezTo>
                <a:cubicBezTo>
                  <a:pt x="776" y="625"/>
                  <a:pt x="750" y="600"/>
                  <a:pt x="750" y="575"/>
                </a:cubicBezTo>
                <a:cubicBezTo>
                  <a:pt x="750" y="550"/>
                  <a:pt x="700" y="525"/>
                  <a:pt x="676" y="500"/>
                </a:cubicBezTo>
                <a:cubicBezTo>
                  <a:pt x="650" y="500"/>
                  <a:pt x="576" y="500"/>
                  <a:pt x="576" y="475"/>
                </a:cubicBezTo>
                <a:cubicBezTo>
                  <a:pt x="576" y="450"/>
                  <a:pt x="525" y="450"/>
                  <a:pt x="500" y="475"/>
                </a:cubicBezTo>
                <a:cubicBezTo>
                  <a:pt x="500" y="500"/>
                  <a:pt x="476" y="475"/>
                  <a:pt x="450" y="475"/>
                </a:cubicBezTo>
                <a:cubicBezTo>
                  <a:pt x="450" y="475"/>
                  <a:pt x="400" y="475"/>
                  <a:pt x="376" y="500"/>
                </a:cubicBezTo>
                <a:cubicBezTo>
                  <a:pt x="376" y="500"/>
                  <a:pt x="325" y="550"/>
                  <a:pt x="276" y="550"/>
                </a:cubicBezTo>
                <a:cubicBezTo>
                  <a:pt x="250" y="550"/>
                  <a:pt x="276" y="575"/>
                  <a:pt x="225" y="575"/>
                </a:cubicBezTo>
                <a:cubicBezTo>
                  <a:pt x="200" y="600"/>
                  <a:pt x="200" y="625"/>
                  <a:pt x="200" y="625"/>
                </a:cubicBezTo>
                <a:cubicBezTo>
                  <a:pt x="225" y="649"/>
                  <a:pt x="225" y="675"/>
                  <a:pt x="200" y="700"/>
                </a:cubicBezTo>
                <a:cubicBezTo>
                  <a:pt x="176" y="700"/>
                  <a:pt x="150" y="649"/>
                  <a:pt x="125" y="625"/>
                </a:cubicBezTo>
                <a:cubicBezTo>
                  <a:pt x="100" y="600"/>
                  <a:pt x="76" y="625"/>
                  <a:pt x="76" y="675"/>
                </a:cubicBezTo>
                <a:cubicBezTo>
                  <a:pt x="76" y="700"/>
                  <a:pt x="50" y="700"/>
                  <a:pt x="25" y="725"/>
                </a:cubicBezTo>
                <a:cubicBezTo>
                  <a:pt x="0" y="749"/>
                  <a:pt x="50" y="749"/>
                  <a:pt x="50" y="775"/>
                </a:cubicBezTo>
                <a:lnTo>
                  <a:pt x="25" y="800"/>
                </a:lnTo>
                <a:cubicBezTo>
                  <a:pt x="0" y="800"/>
                  <a:pt x="0" y="850"/>
                  <a:pt x="0" y="850"/>
                </a:cubicBezTo>
                <a:cubicBezTo>
                  <a:pt x="0" y="875"/>
                  <a:pt x="50" y="875"/>
                  <a:pt x="50" y="900"/>
                </a:cubicBezTo>
                <a:cubicBezTo>
                  <a:pt x="50" y="925"/>
                  <a:pt x="50" y="950"/>
                  <a:pt x="76" y="950"/>
                </a:cubicBezTo>
                <a:cubicBezTo>
                  <a:pt x="100" y="925"/>
                  <a:pt x="125" y="950"/>
                  <a:pt x="125" y="950"/>
                </a:cubicBezTo>
                <a:cubicBezTo>
                  <a:pt x="150" y="950"/>
                  <a:pt x="176" y="975"/>
                  <a:pt x="200" y="1000"/>
                </a:cubicBezTo>
                <a:cubicBezTo>
                  <a:pt x="225" y="1050"/>
                  <a:pt x="225" y="1050"/>
                  <a:pt x="200" y="1075"/>
                </a:cubicBezTo>
                <a:cubicBezTo>
                  <a:pt x="176" y="1075"/>
                  <a:pt x="200" y="1100"/>
                  <a:pt x="225" y="1100"/>
                </a:cubicBezTo>
                <a:cubicBezTo>
                  <a:pt x="250" y="1100"/>
                  <a:pt x="250" y="1125"/>
                  <a:pt x="250" y="1125"/>
                </a:cubicBezTo>
                <a:cubicBezTo>
                  <a:pt x="276" y="1125"/>
                  <a:pt x="276" y="1125"/>
                  <a:pt x="276" y="1100"/>
                </a:cubicBezTo>
                <a:cubicBezTo>
                  <a:pt x="325" y="1075"/>
                  <a:pt x="400" y="1025"/>
                  <a:pt x="476" y="1050"/>
                </a:cubicBezTo>
                <a:cubicBezTo>
                  <a:pt x="525" y="1075"/>
                  <a:pt x="600" y="1025"/>
                  <a:pt x="625" y="1075"/>
                </a:cubicBezTo>
                <a:cubicBezTo>
                  <a:pt x="650" y="1125"/>
                  <a:pt x="625" y="1175"/>
                  <a:pt x="625" y="1225"/>
                </a:cubicBezTo>
                <a:cubicBezTo>
                  <a:pt x="650" y="1250"/>
                  <a:pt x="576" y="1250"/>
                  <a:pt x="525" y="1250"/>
                </a:cubicBezTo>
                <a:cubicBezTo>
                  <a:pt x="500" y="1225"/>
                  <a:pt x="400" y="1250"/>
                  <a:pt x="425" y="1275"/>
                </a:cubicBezTo>
                <a:cubicBezTo>
                  <a:pt x="425" y="1300"/>
                  <a:pt x="450" y="1375"/>
                  <a:pt x="400" y="1325"/>
                </a:cubicBezTo>
                <a:cubicBezTo>
                  <a:pt x="350" y="1300"/>
                  <a:pt x="325" y="1375"/>
                  <a:pt x="350" y="1375"/>
                </a:cubicBezTo>
                <a:cubicBezTo>
                  <a:pt x="400" y="1375"/>
                  <a:pt x="425" y="1400"/>
                  <a:pt x="425" y="1425"/>
                </a:cubicBezTo>
                <a:cubicBezTo>
                  <a:pt x="425" y="1450"/>
                  <a:pt x="425" y="1500"/>
                  <a:pt x="450" y="1500"/>
                </a:cubicBezTo>
                <a:cubicBezTo>
                  <a:pt x="500" y="1500"/>
                  <a:pt x="500" y="1550"/>
                  <a:pt x="525" y="1525"/>
                </a:cubicBezTo>
                <a:cubicBezTo>
                  <a:pt x="576" y="1525"/>
                  <a:pt x="600" y="1550"/>
                  <a:pt x="576" y="1575"/>
                </a:cubicBezTo>
                <a:cubicBezTo>
                  <a:pt x="550" y="1625"/>
                  <a:pt x="600" y="1725"/>
                  <a:pt x="600" y="1700"/>
                </a:cubicBezTo>
                <a:cubicBezTo>
                  <a:pt x="600" y="1675"/>
                  <a:pt x="600" y="1650"/>
                  <a:pt x="625" y="1625"/>
                </a:cubicBezTo>
                <a:cubicBezTo>
                  <a:pt x="600" y="1575"/>
                  <a:pt x="676" y="1575"/>
                  <a:pt x="700" y="1575"/>
                </a:cubicBezTo>
                <a:cubicBezTo>
                  <a:pt x="750" y="1575"/>
                  <a:pt x="801" y="1625"/>
                  <a:pt x="825" y="1675"/>
                </a:cubicBezTo>
                <a:cubicBezTo>
                  <a:pt x="850" y="1725"/>
                  <a:pt x="901" y="1675"/>
                  <a:pt x="901" y="1675"/>
                </a:cubicBezTo>
                <a:cubicBezTo>
                  <a:pt x="901" y="1275"/>
                  <a:pt x="901" y="1275"/>
                  <a:pt x="901" y="1275"/>
                </a:cubicBezTo>
                <a:cubicBezTo>
                  <a:pt x="1150" y="1200"/>
                  <a:pt x="1150" y="1200"/>
                  <a:pt x="1150" y="1200"/>
                </a:cubicBezTo>
                <a:lnTo>
                  <a:pt x="1150" y="1200"/>
                </a:lnTo>
                <a:cubicBezTo>
                  <a:pt x="1176" y="1150"/>
                  <a:pt x="1225" y="1175"/>
                  <a:pt x="1225" y="1200"/>
                </a:cubicBezTo>
                <a:cubicBezTo>
                  <a:pt x="1250" y="1200"/>
                  <a:pt x="1250" y="1150"/>
                  <a:pt x="1275" y="1150"/>
                </a:cubicBezTo>
                <a:cubicBezTo>
                  <a:pt x="1301" y="1150"/>
                  <a:pt x="1275" y="1200"/>
                  <a:pt x="1301" y="1200"/>
                </a:cubicBezTo>
                <a:cubicBezTo>
                  <a:pt x="1325" y="1200"/>
                  <a:pt x="1350" y="1275"/>
                  <a:pt x="1350" y="1325"/>
                </a:cubicBezTo>
                <a:cubicBezTo>
                  <a:pt x="1376" y="1350"/>
                  <a:pt x="1450" y="1425"/>
                  <a:pt x="1450" y="1450"/>
                </a:cubicBezTo>
                <a:cubicBezTo>
                  <a:pt x="1476" y="1475"/>
                  <a:pt x="1550" y="1425"/>
                  <a:pt x="1576" y="1450"/>
                </a:cubicBezTo>
                <a:cubicBezTo>
                  <a:pt x="1601" y="1450"/>
                  <a:pt x="1750" y="1450"/>
                  <a:pt x="1776" y="1450"/>
                </a:cubicBezTo>
                <a:cubicBezTo>
                  <a:pt x="1801" y="1450"/>
                  <a:pt x="1826" y="1500"/>
                  <a:pt x="1850" y="1500"/>
                </a:cubicBezTo>
                <a:cubicBezTo>
                  <a:pt x="1876" y="1500"/>
                  <a:pt x="1850" y="1550"/>
                  <a:pt x="1876" y="1600"/>
                </a:cubicBezTo>
                <a:cubicBezTo>
                  <a:pt x="1876" y="1625"/>
                  <a:pt x="1926" y="1650"/>
                  <a:pt x="1926" y="1700"/>
                </a:cubicBezTo>
                <a:cubicBezTo>
                  <a:pt x="1926" y="1725"/>
                  <a:pt x="1976" y="1700"/>
                  <a:pt x="2001" y="1700"/>
                </a:cubicBezTo>
                <a:cubicBezTo>
                  <a:pt x="2026" y="1725"/>
                  <a:pt x="2076" y="1725"/>
                  <a:pt x="2076" y="1750"/>
                </a:cubicBezTo>
                <a:cubicBezTo>
                  <a:pt x="2076" y="1800"/>
                  <a:pt x="2126" y="1775"/>
                  <a:pt x="2126" y="1750"/>
                </a:cubicBezTo>
                <a:cubicBezTo>
                  <a:pt x="2126" y="1725"/>
                  <a:pt x="2150" y="1700"/>
                  <a:pt x="2226" y="1675"/>
                </a:cubicBezTo>
                <a:cubicBezTo>
                  <a:pt x="2250" y="1650"/>
                  <a:pt x="2250" y="1650"/>
                  <a:pt x="2276" y="1675"/>
                </a:cubicBezTo>
                <a:cubicBezTo>
                  <a:pt x="2276" y="1650"/>
                  <a:pt x="2301" y="1625"/>
                  <a:pt x="2301" y="1625"/>
                </a:cubicBezTo>
                <a:cubicBezTo>
                  <a:pt x="2326" y="1600"/>
                  <a:pt x="2350" y="1575"/>
                  <a:pt x="2350" y="1550"/>
                </a:cubicBezTo>
                <a:cubicBezTo>
                  <a:pt x="2350" y="1525"/>
                  <a:pt x="2426" y="1525"/>
                  <a:pt x="2476" y="1550"/>
                </a:cubicBezTo>
                <a:cubicBezTo>
                  <a:pt x="2526" y="1575"/>
                  <a:pt x="2575" y="1575"/>
                  <a:pt x="2575" y="1525"/>
                </a:cubicBezTo>
                <a:cubicBezTo>
                  <a:pt x="2575" y="1500"/>
                  <a:pt x="2651" y="1475"/>
                  <a:pt x="2676" y="1500"/>
                </a:cubicBezTo>
                <a:cubicBezTo>
                  <a:pt x="2701" y="1500"/>
                  <a:pt x="2751" y="1550"/>
                  <a:pt x="2801" y="1525"/>
                </a:cubicBezTo>
                <a:cubicBezTo>
                  <a:pt x="2826" y="1525"/>
                  <a:pt x="3001" y="1525"/>
                  <a:pt x="3026" y="1550"/>
                </a:cubicBezTo>
                <a:cubicBezTo>
                  <a:pt x="3076" y="1550"/>
                  <a:pt x="3076" y="1525"/>
                  <a:pt x="3126" y="1575"/>
                </a:cubicBezTo>
                <a:cubicBezTo>
                  <a:pt x="3151" y="1600"/>
                  <a:pt x="3176" y="1575"/>
                  <a:pt x="3201" y="1600"/>
                </a:cubicBezTo>
                <a:cubicBezTo>
                  <a:pt x="3201" y="1600"/>
                  <a:pt x="3201" y="1575"/>
                  <a:pt x="3201" y="1550"/>
                </a:cubicBezTo>
                <a:cubicBezTo>
                  <a:pt x="3201" y="1525"/>
                  <a:pt x="3251" y="1500"/>
                  <a:pt x="3251" y="1500"/>
                </a:cubicBezTo>
                <a:cubicBezTo>
                  <a:pt x="3251" y="1475"/>
                  <a:pt x="3201" y="1400"/>
                  <a:pt x="3201" y="1375"/>
                </a:cubicBezTo>
                <a:cubicBezTo>
                  <a:pt x="3201" y="1375"/>
                  <a:pt x="3201" y="1325"/>
                  <a:pt x="3201" y="1300"/>
                </a:cubicBezTo>
                <a:cubicBezTo>
                  <a:pt x="3176" y="1300"/>
                  <a:pt x="3226" y="1275"/>
                  <a:pt x="3251" y="1275"/>
                </a:cubicBezTo>
                <a:cubicBezTo>
                  <a:pt x="3276" y="1275"/>
                  <a:pt x="3326" y="1225"/>
                  <a:pt x="3326" y="1250"/>
                </a:cubicBezTo>
                <a:cubicBezTo>
                  <a:pt x="3351" y="1275"/>
                  <a:pt x="3376" y="1275"/>
                  <a:pt x="3401" y="1275"/>
                </a:cubicBezTo>
                <a:cubicBezTo>
                  <a:pt x="3426" y="1275"/>
                  <a:pt x="3426" y="1225"/>
                  <a:pt x="3401" y="1225"/>
                </a:cubicBezTo>
                <a:cubicBezTo>
                  <a:pt x="3376" y="1200"/>
                  <a:pt x="3451" y="1075"/>
                  <a:pt x="3451" y="1050"/>
                </a:cubicBezTo>
                <a:cubicBezTo>
                  <a:pt x="3476" y="1000"/>
                  <a:pt x="3501" y="1050"/>
                  <a:pt x="3526" y="1050"/>
                </a:cubicBezTo>
                <a:cubicBezTo>
                  <a:pt x="3551" y="1050"/>
                  <a:pt x="3601" y="1050"/>
                  <a:pt x="3601" y="1050"/>
                </a:cubicBezTo>
                <a:cubicBezTo>
                  <a:pt x="3626" y="1050"/>
                  <a:pt x="3676" y="1050"/>
                  <a:pt x="3701" y="1025"/>
                </a:cubicBezTo>
                <a:cubicBezTo>
                  <a:pt x="3701" y="1000"/>
                  <a:pt x="3676" y="1000"/>
                  <a:pt x="3676" y="950"/>
                </a:cubicBezTo>
                <a:cubicBezTo>
                  <a:pt x="3676" y="900"/>
                  <a:pt x="3726" y="875"/>
                  <a:pt x="3751" y="875"/>
                </a:cubicBezTo>
                <a:cubicBezTo>
                  <a:pt x="3776" y="875"/>
                  <a:pt x="3776" y="850"/>
                  <a:pt x="3776" y="825"/>
                </a:cubicBezTo>
                <a:cubicBezTo>
                  <a:pt x="3776" y="800"/>
                  <a:pt x="3801" y="775"/>
                  <a:pt x="3826" y="749"/>
                </a:cubicBezTo>
                <a:cubicBezTo>
                  <a:pt x="3801" y="749"/>
                  <a:pt x="3801" y="725"/>
                  <a:pt x="3801" y="725"/>
                </a:cubicBezTo>
                <a:close/>
                <a:moveTo>
                  <a:pt x="1425" y="1125"/>
                </a:moveTo>
                <a:lnTo>
                  <a:pt x="1425" y="1125"/>
                </a:lnTo>
                <a:cubicBezTo>
                  <a:pt x="1401" y="1150"/>
                  <a:pt x="1301" y="1125"/>
                  <a:pt x="1301" y="1100"/>
                </a:cubicBezTo>
                <a:cubicBezTo>
                  <a:pt x="1275" y="1075"/>
                  <a:pt x="1450" y="1100"/>
                  <a:pt x="1425" y="1125"/>
                </a:cubicBezTo>
                <a:close/>
                <a:moveTo>
                  <a:pt x="3001" y="1125"/>
                </a:moveTo>
                <a:lnTo>
                  <a:pt x="3001" y="1125"/>
                </a:lnTo>
                <a:cubicBezTo>
                  <a:pt x="2926" y="1125"/>
                  <a:pt x="2751" y="1075"/>
                  <a:pt x="2676" y="1150"/>
                </a:cubicBezTo>
                <a:cubicBezTo>
                  <a:pt x="2601" y="1225"/>
                  <a:pt x="2651" y="1275"/>
                  <a:pt x="2626" y="1275"/>
                </a:cubicBezTo>
                <a:cubicBezTo>
                  <a:pt x="2601" y="1275"/>
                  <a:pt x="2575" y="1175"/>
                  <a:pt x="2626" y="1125"/>
                </a:cubicBezTo>
                <a:cubicBezTo>
                  <a:pt x="2651" y="1075"/>
                  <a:pt x="2775" y="1075"/>
                  <a:pt x="2851" y="1100"/>
                </a:cubicBezTo>
                <a:cubicBezTo>
                  <a:pt x="2926" y="1100"/>
                  <a:pt x="3076" y="1075"/>
                  <a:pt x="3101" y="1075"/>
                </a:cubicBezTo>
                <a:cubicBezTo>
                  <a:pt x="3126" y="1075"/>
                  <a:pt x="3076" y="1125"/>
                  <a:pt x="3001" y="112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0" name="Freeform 157">
            <a:extLst>
              <a:ext uri="{FF2B5EF4-FFF2-40B4-BE49-F238E27FC236}">
                <a16:creationId xmlns:a16="http://schemas.microsoft.com/office/drawing/2014/main" id="{12666CFC-2FB8-BFF4-F5B0-E15C79DA0B74}"/>
              </a:ext>
            </a:extLst>
          </p:cNvPr>
          <p:cNvSpPr>
            <a:spLocks noChangeArrowheads="1"/>
          </p:cNvSpPr>
          <p:nvPr/>
        </p:nvSpPr>
        <p:spPr bwMode="auto">
          <a:xfrm>
            <a:off x="3251722" y="1392091"/>
            <a:ext cx="5120124" cy="1970144"/>
          </a:xfrm>
          <a:custGeom>
            <a:avLst/>
            <a:gdLst>
              <a:gd name="T0" fmla="*/ 7676 w 16054"/>
              <a:gd name="T1" fmla="*/ 750 h 6177"/>
              <a:gd name="T2" fmla="*/ 7426 w 16054"/>
              <a:gd name="T3" fmla="*/ 550 h 6177"/>
              <a:gd name="T4" fmla="*/ 6902 w 16054"/>
              <a:gd name="T5" fmla="*/ 175 h 6177"/>
              <a:gd name="T6" fmla="*/ 12052 w 16054"/>
              <a:gd name="T7" fmla="*/ 1300 h 6177"/>
              <a:gd name="T8" fmla="*/ 11027 w 16054"/>
              <a:gd name="T9" fmla="*/ 1350 h 6177"/>
              <a:gd name="T10" fmla="*/ 11477 w 16054"/>
              <a:gd name="T11" fmla="*/ 1601 h 6177"/>
              <a:gd name="T12" fmla="*/ 2425 w 16054"/>
              <a:gd name="T13" fmla="*/ 225 h 6177"/>
              <a:gd name="T14" fmla="*/ 11652 w 16054"/>
              <a:gd name="T15" fmla="*/ 5276 h 6177"/>
              <a:gd name="T16" fmla="*/ 15553 w 16054"/>
              <a:gd name="T17" fmla="*/ 2826 h 6177"/>
              <a:gd name="T18" fmla="*/ 14003 w 16054"/>
              <a:gd name="T19" fmla="*/ 2350 h 6177"/>
              <a:gd name="T20" fmla="*/ 12252 w 16054"/>
              <a:gd name="T21" fmla="*/ 2025 h 6177"/>
              <a:gd name="T22" fmla="*/ 11177 w 16054"/>
              <a:gd name="T23" fmla="*/ 1901 h 6177"/>
              <a:gd name="T24" fmla="*/ 10227 w 16054"/>
              <a:gd name="T25" fmla="*/ 2001 h 6177"/>
              <a:gd name="T26" fmla="*/ 9627 w 16054"/>
              <a:gd name="T27" fmla="*/ 1750 h 6177"/>
              <a:gd name="T28" fmla="*/ 8327 w 16054"/>
              <a:gd name="T29" fmla="*/ 1650 h 6177"/>
              <a:gd name="T30" fmla="*/ 8676 w 16054"/>
              <a:gd name="T31" fmla="*/ 1150 h 6177"/>
              <a:gd name="T32" fmla="*/ 7727 w 16054"/>
              <a:gd name="T33" fmla="*/ 850 h 6177"/>
              <a:gd name="T34" fmla="*/ 6951 w 16054"/>
              <a:gd name="T35" fmla="*/ 1200 h 6177"/>
              <a:gd name="T36" fmla="*/ 6376 w 16054"/>
              <a:gd name="T37" fmla="*/ 1550 h 6177"/>
              <a:gd name="T38" fmla="*/ 5551 w 16054"/>
              <a:gd name="T39" fmla="*/ 1901 h 6177"/>
              <a:gd name="T40" fmla="*/ 5151 w 16054"/>
              <a:gd name="T41" fmla="*/ 2301 h 6177"/>
              <a:gd name="T42" fmla="*/ 5100 w 16054"/>
              <a:gd name="T43" fmla="*/ 2775 h 6177"/>
              <a:gd name="T44" fmla="*/ 5100 w 16054"/>
              <a:gd name="T45" fmla="*/ 2526 h 6177"/>
              <a:gd name="T46" fmla="*/ 4526 w 16054"/>
              <a:gd name="T47" fmla="*/ 2201 h 6177"/>
              <a:gd name="T48" fmla="*/ 3875 w 16054"/>
              <a:gd name="T49" fmla="*/ 2350 h 6177"/>
              <a:gd name="T50" fmla="*/ 3075 w 16054"/>
              <a:gd name="T51" fmla="*/ 2500 h 6177"/>
              <a:gd name="T52" fmla="*/ 2300 w 16054"/>
              <a:gd name="T53" fmla="*/ 2726 h 6177"/>
              <a:gd name="T54" fmla="*/ 1700 w 16054"/>
              <a:gd name="T55" fmla="*/ 3150 h 6177"/>
              <a:gd name="T56" fmla="*/ 1750 w 16054"/>
              <a:gd name="T57" fmla="*/ 2875 h 6177"/>
              <a:gd name="T58" fmla="*/ 1075 w 16054"/>
              <a:gd name="T59" fmla="*/ 2275 h 6177"/>
              <a:gd name="T60" fmla="*/ 975 w 16054"/>
              <a:gd name="T61" fmla="*/ 3126 h 6177"/>
              <a:gd name="T62" fmla="*/ 725 w 16054"/>
              <a:gd name="T63" fmla="*/ 4026 h 6177"/>
              <a:gd name="T64" fmla="*/ 1175 w 16054"/>
              <a:gd name="T65" fmla="*/ 4726 h 6177"/>
              <a:gd name="T66" fmla="*/ 1775 w 16054"/>
              <a:gd name="T67" fmla="*/ 5126 h 6177"/>
              <a:gd name="T68" fmla="*/ 1600 w 16054"/>
              <a:gd name="T69" fmla="*/ 5701 h 6177"/>
              <a:gd name="T70" fmla="*/ 2601 w 16054"/>
              <a:gd name="T71" fmla="*/ 5951 h 6177"/>
              <a:gd name="T72" fmla="*/ 2725 w 16054"/>
              <a:gd name="T73" fmla="*/ 5151 h 6177"/>
              <a:gd name="T74" fmla="*/ 3750 w 16054"/>
              <a:gd name="T75" fmla="*/ 5026 h 6177"/>
              <a:gd name="T76" fmla="*/ 4351 w 16054"/>
              <a:gd name="T77" fmla="*/ 4551 h 6177"/>
              <a:gd name="T78" fmla="*/ 5351 w 16054"/>
              <a:gd name="T79" fmla="*/ 4575 h 6177"/>
              <a:gd name="T80" fmla="*/ 6426 w 16054"/>
              <a:gd name="T81" fmla="*/ 5226 h 6177"/>
              <a:gd name="T82" fmla="*/ 7351 w 16054"/>
              <a:gd name="T83" fmla="*/ 4901 h 6177"/>
              <a:gd name="T84" fmla="*/ 8502 w 16054"/>
              <a:gd name="T85" fmla="*/ 5226 h 6177"/>
              <a:gd name="T86" fmla="*/ 9652 w 16054"/>
              <a:gd name="T87" fmla="*/ 4701 h 6177"/>
              <a:gd name="T88" fmla="*/ 10727 w 16054"/>
              <a:gd name="T89" fmla="*/ 5476 h 6177"/>
              <a:gd name="T90" fmla="*/ 11327 w 16054"/>
              <a:gd name="T91" fmla="*/ 5051 h 6177"/>
              <a:gd name="T92" fmla="*/ 10952 w 16054"/>
              <a:gd name="T93" fmla="*/ 4551 h 6177"/>
              <a:gd name="T94" fmla="*/ 12328 w 16054"/>
              <a:gd name="T95" fmla="*/ 3875 h 6177"/>
              <a:gd name="T96" fmla="*/ 13153 w 16054"/>
              <a:gd name="T97" fmla="*/ 3650 h 6177"/>
              <a:gd name="T98" fmla="*/ 12877 w 16054"/>
              <a:gd name="T99" fmla="*/ 4126 h 6177"/>
              <a:gd name="T100" fmla="*/ 13477 w 16054"/>
              <a:gd name="T101" fmla="*/ 4351 h 6177"/>
              <a:gd name="T102" fmla="*/ 14328 w 16054"/>
              <a:gd name="T103" fmla="*/ 3701 h 6177"/>
              <a:gd name="T104" fmla="*/ 14978 w 16054"/>
              <a:gd name="T105" fmla="*/ 3126 h 6177"/>
              <a:gd name="T106" fmla="*/ 15753 w 16054"/>
              <a:gd name="T107" fmla="*/ 3126 h 6177"/>
              <a:gd name="T108" fmla="*/ 8251 w 16054"/>
              <a:gd name="T109" fmla="*/ 4601 h 6177"/>
              <a:gd name="T110" fmla="*/ 2825 w 16054"/>
              <a:gd name="T111" fmla="*/ 200 h 6177"/>
              <a:gd name="T112" fmla="*/ 3575 w 16054"/>
              <a:gd name="T113" fmla="*/ 1625 h 6177"/>
              <a:gd name="T114" fmla="*/ 3426 w 16054"/>
              <a:gd name="T115" fmla="*/ 1425 h 6177"/>
              <a:gd name="T116" fmla="*/ 3750 w 16054"/>
              <a:gd name="T117" fmla="*/ 50 h 6177"/>
              <a:gd name="T118" fmla="*/ 3450 w 16054"/>
              <a:gd name="T119" fmla="*/ 100 h 6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54" h="6177">
                <a:moveTo>
                  <a:pt x="250" y="4451"/>
                </a:moveTo>
                <a:lnTo>
                  <a:pt x="250" y="4451"/>
                </a:lnTo>
                <a:cubicBezTo>
                  <a:pt x="225" y="4475"/>
                  <a:pt x="200" y="4451"/>
                  <a:pt x="200" y="4451"/>
                </a:cubicBezTo>
                <a:cubicBezTo>
                  <a:pt x="174" y="4426"/>
                  <a:pt x="150" y="4426"/>
                  <a:pt x="125" y="4426"/>
                </a:cubicBezTo>
                <a:cubicBezTo>
                  <a:pt x="125" y="4451"/>
                  <a:pt x="150" y="4451"/>
                  <a:pt x="150" y="4451"/>
                </a:cubicBezTo>
                <a:cubicBezTo>
                  <a:pt x="150" y="4475"/>
                  <a:pt x="100" y="4475"/>
                  <a:pt x="125" y="4501"/>
                </a:cubicBezTo>
                <a:cubicBezTo>
                  <a:pt x="125" y="4526"/>
                  <a:pt x="74" y="4526"/>
                  <a:pt x="74" y="4501"/>
                </a:cubicBezTo>
                <a:cubicBezTo>
                  <a:pt x="74" y="4475"/>
                  <a:pt x="0" y="4475"/>
                  <a:pt x="0" y="4501"/>
                </a:cubicBezTo>
                <a:lnTo>
                  <a:pt x="0" y="4526"/>
                </a:lnTo>
                <a:cubicBezTo>
                  <a:pt x="25" y="4526"/>
                  <a:pt x="50" y="4551"/>
                  <a:pt x="50" y="4551"/>
                </a:cubicBezTo>
                <a:cubicBezTo>
                  <a:pt x="50" y="4551"/>
                  <a:pt x="225" y="4575"/>
                  <a:pt x="300" y="4551"/>
                </a:cubicBezTo>
                <a:lnTo>
                  <a:pt x="300" y="4501"/>
                </a:lnTo>
                <a:cubicBezTo>
                  <a:pt x="300" y="4475"/>
                  <a:pt x="250" y="4451"/>
                  <a:pt x="250" y="4451"/>
                </a:cubicBezTo>
                <a:close/>
                <a:moveTo>
                  <a:pt x="7426" y="775"/>
                </a:moveTo>
                <a:lnTo>
                  <a:pt x="7426" y="775"/>
                </a:lnTo>
                <a:cubicBezTo>
                  <a:pt x="7476" y="800"/>
                  <a:pt x="7602" y="750"/>
                  <a:pt x="7676" y="750"/>
                </a:cubicBezTo>
                <a:cubicBezTo>
                  <a:pt x="7751" y="750"/>
                  <a:pt x="8002" y="700"/>
                  <a:pt x="8002" y="650"/>
                </a:cubicBezTo>
                <a:cubicBezTo>
                  <a:pt x="8002" y="600"/>
                  <a:pt x="7927" y="600"/>
                  <a:pt x="7876" y="575"/>
                </a:cubicBezTo>
                <a:cubicBezTo>
                  <a:pt x="7851" y="525"/>
                  <a:pt x="7776" y="550"/>
                  <a:pt x="7751" y="600"/>
                </a:cubicBezTo>
                <a:cubicBezTo>
                  <a:pt x="7727" y="625"/>
                  <a:pt x="7702" y="600"/>
                  <a:pt x="7751" y="550"/>
                </a:cubicBezTo>
                <a:cubicBezTo>
                  <a:pt x="7802" y="500"/>
                  <a:pt x="7702" y="450"/>
                  <a:pt x="7702" y="475"/>
                </a:cubicBezTo>
                <a:cubicBezTo>
                  <a:pt x="7702" y="525"/>
                  <a:pt x="7602" y="475"/>
                  <a:pt x="7602" y="525"/>
                </a:cubicBezTo>
                <a:cubicBezTo>
                  <a:pt x="7602" y="550"/>
                  <a:pt x="7576" y="550"/>
                  <a:pt x="7576" y="600"/>
                </a:cubicBezTo>
                <a:cubicBezTo>
                  <a:pt x="7576" y="625"/>
                  <a:pt x="7502" y="575"/>
                  <a:pt x="7502" y="650"/>
                </a:cubicBezTo>
                <a:cubicBezTo>
                  <a:pt x="7502" y="725"/>
                  <a:pt x="7402" y="750"/>
                  <a:pt x="7426" y="775"/>
                </a:cubicBezTo>
                <a:close/>
                <a:moveTo>
                  <a:pt x="7002" y="375"/>
                </a:moveTo>
                <a:lnTo>
                  <a:pt x="7002" y="375"/>
                </a:lnTo>
                <a:cubicBezTo>
                  <a:pt x="7002" y="425"/>
                  <a:pt x="6902" y="450"/>
                  <a:pt x="6926" y="475"/>
                </a:cubicBezTo>
                <a:cubicBezTo>
                  <a:pt x="6951" y="500"/>
                  <a:pt x="6976" y="475"/>
                  <a:pt x="7002" y="500"/>
                </a:cubicBezTo>
                <a:cubicBezTo>
                  <a:pt x="7026" y="500"/>
                  <a:pt x="7051" y="575"/>
                  <a:pt x="7102" y="550"/>
                </a:cubicBezTo>
                <a:cubicBezTo>
                  <a:pt x="7151" y="550"/>
                  <a:pt x="7276" y="600"/>
                  <a:pt x="7376" y="600"/>
                </a:cubicBezTo>
                <a:cubicBezTo>
                  <a:pt x="7451" y="600"/>
                  <a:pt x="7451" y="550"/>
                  <a:pt x="7426" y="550"/>
                </a:cubicBezTo>
                <a:cubicBezTo>
                  <a:pt x="7402" y="525"/>
                  <a:pt x="7426" y="500"/>
                  <a:pt x="7476" y="425"/>
                </a:cubicBezTo>
                <a:cubicBezTo>
                  <a:pt x="7526" y="375"/>
                  <a:pt x="7326" y="325"/>
                  <a:pt x="7326" y="375"/>
                </a:cubicBezTo>
                <a:cubicBezTo>
                  <a:pt x="7326" y="425"/>
                  <a:pt x="7276" y="350"/>
                  <a:pt x="7251" y="325"/>
                </a:cubicBezTo>
                <a:cubicBezTo>
                  <a:pt x="7251" y="300"/>
                  <a:pt x="7002" y="350"/>
                  <a:pt x="7002" y="375"/>
                </a:cubicBezTo>
                <a:close/>
                <a:moveTo>
                  <a:pt x="6851" y="300"/>
                </a:moveTo>
                <a:lnTo>
                  <a:pt x="6851" y="300"/>
                </a:lnTo>
                <a:cubicBezTo>
                  <a:pt x="6902" y="325"/>
                  <a:pt x="6876" y="350"/>
                  <a:pt x="6826" y="350"/>
                </a:cubicBezTo>
                <a:cubicBezTo>
                  <a:pt x="6776" y="350"/>
                  <a:pt x="6726" y="350"/>
                  <a:pt x="6776" y="375"/>
                </a:cubicBezTo>
                <a:cubicBezTo>
                  <a:pt x="6801" y="400"/>
                  <a:pt x="6801" y="425"/>
                  <a:pt x="6851" y="425"/>
                </a:cubicBezTo>
                <a:cubicBezTo>
                  <a:pt x="6902" y="450"/>
                  <a:pt x="6976" y="400"/>
                  <a:pt x="6951" y="375"/>
                </a:cubicBezTo>
                <a:cubicBezTo>
                  <a:pt x="6951" y="325"/>
                  <a:pt x="7151" y="300"/>
                  <a:pt x="7226" y="300"/>
                </a:cubicBezTo>
                <a:cubicBezTo>
                  <a:pt x="7276" y="275"/>
                  <a:pt x="7176" y="225"/>
                  <a:pt x="7251" y="200"/>
                </a:cubicBezTo>
                <a:cubicBezTo>
                  <a:pt x="7302" y="200"/>
                  <a:pt x="7276" y="175"/>
                  <a:pt x="7202" y="175"/>
                </a:cubicBezTo>
                <a:cubicBezTo>
                  <a:pt x="7126" y="150"/>
                  <a:pt x="7151" y="100"/>
                  <a:pt x="7126" y="75"/>
                </a:cubicBezTo>
                <a:cubicBezTo>
                  <a:pt x="7102" y="50"/>
                  <a:pt x="7102" y="100"/>
                  <a:pt x="7002" y="125"/>
                </a:cubicBezTo>
                <a:cubicBezTo>
                  <a:pt x="6902" y="125"/>
                  <a:pt x="6851" y="150"/>
                  <a:pt x="6902" y="175"/>
                </a:cubicBezTo>
                <a:cubicBezTo>
                  <a:pt x="6926" y="200"/>
                  <a:pt x="6902" y="250"/>
                  <a:pt x="6851" y="250"/>
                </a:cubicBezTo>
                <a:cubicBezTo>
                  <a:pt x="6801" y="250"/>
                  <a:pt x="6801" y="275"/>
                  <a:pt x="6851" y="300"/>
                </a:cubicBezTo>
                <a:close/>
                <a:moveTo>
                  <a:pt x="5601" y="1775"/>
                </a:moveTo>
                <a:lnTo>
                  <a:pt x="5601" y="1775"/>
                </a:lnTo>
                <a:cubicBezTo>
                  <a:pt x="5651" y="1801"/>
                  <a:pt x="5701" y="1775"/>
                  <a:pt x="5676" y="1750"/>
                </a:cubicBezTo>
                <a:cubicBezTo>
                  <a:pt x="5676" y="1701"/>
                  <a:pt x="5576" y="1750"/>
                  <a:pt x="5601" y="1775"/>
                </a:cubicBezTo>
                <a:close/>
                <a:moveTo>
                  <a:pt x="6776" y="100"/>
                </a:moveTo>
                <a:lnTo>
                  <a:pt x="6776" y="100"/>
                </a:lnTo>
                <a:cubicBezTo>
                  <a:pt x="6801" y="75"/>
                  <a:pt x="6601" y="75"/>
                  <a:pt x="6651" y="125"/>
                </a:cubicBezTo>
                <a:cubicBezTo>
                  <a:pt x="6676" y="150"/>
                  <a:pt x="6776" y="150"/>
                  <a:pt x="6776" y="100"/>
                </a:cubicBezTo>
                <a:close/>
                <a:moveTo>
                  <a:pt x="11852" y="1350"/>
                </a:moveTo>
                <a:lnTo>
                  <a:pt x="11852" y="1350"/>
                </a:lnTo>
                <a:cubicBezTo>
                  <a:pt x="11927" y="1350"/>
                  <a:pt x="11952" y="1425"/>
                  <a:pt x="12077" y="1425"/>
                </a:cubicBezTo>
                <a:cubicBezTo>
                  <a:pt x="12203" y="1425"/>
                  <a:pt x="12303" y="1401"/>
                  <a:pt x="12303" y="1375"/>
                </a:cubicBezTo>
                <a:cubicBezTo>
                  <a:pt x="12303" y="1350"/>
                  <a:pt x="12203" y="1300"/>
                  <a:pt x="12152" y="1325"/>
                </a:cubicBezTo>
                <a:cubicBezTo>
                  <a:pt x="12127" y="1350"/>
                  <a:pt x="12103" y="1300"/>
                  <a:pt x="12052" y="1300"/>
                </a:cubicBezTo>
                <a:cubicBezTo>
                  <a:pt x="12003" y="1325"/>
                  <a:pt x="11952" y="1325"/>
                  <a:pt x="11927" y="1275"/>
                </a:cubicBezTo>
                <a:cubicBezTo>
                  <a:pt x="11903" y="1250"/>
                  <a:pt x="11827" y="1350"/>
                  <a:pt x="11852" y="1350"/>
                </a:cubicBezTo>
                <a:close/>
                <a:moveTo>
                  <a:pt x="14953" y="2125"/>
                </a:moveTo>
                <a:lnTo>
                  <a:pt x="14953" y="2125"/>
                </a:lnTo>
                <a:cubicBezTo>
                  <a:pt x="15003" y="2150"/>
                  <a:pt x="15053" y="2101"/>
                  <a:pt x="15103" y="2125"/>
                </a:cubicBezTo>
                <a:cubicBezTo>
                  <a:pt x="15128" y="2150"/>
                  <a:pt x="15253" y="2101"/>
                  <a:pt x="15278" y="2101"/>
                </a:cubicBezTo>
                <a:cubicBezTo>
                  <a:pt x="15328" y="2101"/>
                  <a:pt x="15303" y="2025"/>
                  <a:pt x="15178" y="2025"/>
                </a:cubicBezTo>
                <a:cubicBezTo>
                  <a:pt x="15053" y="2001"/>
                  <a:pt x="14903" y="2101"/>
                  <a:pt x="14953" y="2125"/>
                </a:cubicBezTo>
                <a:close/>
                <a:moveTo>
                  <a:pt x="4275" y="175"/>
                </a:moveTo>
                <a:lnTo>
                  <a:pt x="4275" y="175"/>
                </a:lnTo>
                <a:cubicBezTo>
                  <a:pt x="4375" y="175"/>
                  <a:pt x="4375" y="125"/>
                  <a:pt x="4301" y="100"/>
                </a:cubicBezTo>
                <a:cubicBezTo>
                  <a:pt x="4251" y="100"/>
                  <a:pt x="4251" y="125"/>
                  <a:pt x="4226" y="125"/>
                </a:cubicBezTo>
                <a:cubicBezTo>
                  <a:pt x="4201" y="125"/>
                  <a:pt x="4075" y="150"/>
                  <a:pt x="4101" y="175"/>
                </a:cubicBezTo>
                <a:cubicBezTo>
                  <a:pt x="4126" y="200"/>
                  <a:pt x="4201" y="200"/>
                  <a:pt x="4275" y="175"/>
                </a:cubicBezTo>
                <a:close/>
                <a:moveTo>
                  <a:pt x="11027" y="1350"/>
                </a:moveTo>
                <a:lnTo>
                  <a:pt x="11027" y="1350"/>
                </a:lnTo>
                <a:cubicBezTo>
                  <a:pt x="11052" y="1375"/>
                  <a:pt x="11077" y="1401"/>
                  <a:pt x="11102" y="1401"/>
                </a:cubicBezTo>
                <a:cubicBezTo>
                  <a:pt x="11102" y="1425"/>
                  <a:pt x="11202" y="1401"/>
                  <a:pt x="11227" y="1401"/>
                </a:cubicBezTo>
                <a:cubicBezTo>
                  <a:pt x="11252" y="1375"/>
                  <a:pt x="11277" y="1450"/>
                  <a:pt x="11327" y="1401"/>
                </a:cubicBezTo>
                <a:cubicBezTo>
                  <a:pt x="11377" y="1375"/>
                  <a:pt x="11427" y="1401"/>
                  <a:pt x="11477" y="1401"/>
                </a:cubicBezTo>
                <a:cubicBezTo>
                  <a:pt x="11552" y="1401"/>
                  <a:pt x="11477" y="1325"/>
                  <a:pt x="11477" y="1275"/>
                </a:cubicBezTo>
                <a:cubicBezTo>
                  <a:pt x="11477" y="1250"/>
                  <a:pt x="11552" y="1275"/>
                  <a:pt x="11527" y="1300"/>
                </a:cubicBezTo>
                <a:cubicBezTo>
                  <a:pt x="11503" y="1325"/>
                  <a:pt x="11552" y="1401"/>
                  <a:pt x="11652" y="1375"/>
                </a:cubicBezTo>
                <a:cubicBezTo>
                  <a:pt x="11727" y="1375"/>
                  <a:pt x="11677" y="1325"/>
                  <a:pt x="11727" y="1300"/>
                </a:cubicBezTo>
                <a:cubicBezTo>
                  <a:pt x="11752" y="1275"/>
                  <a:pt x="11752" y="1250"/>
                  <a:pt x="11703" y="1225"/>
                </a:cubicBezTo>
                <a:cubicBezTo>
                  <a:pt x="11627" y="1175"/>
                  <a:pt x="11552" y="1200"/>
                  <a:pt x="11477" y="1175"/>
                </a:cubicBezTo>
                <a:cubicBezTo>
                  <a:pt x="11427" y="1150"/>
                  <a:pt x="11352" y="1150"/>
                  <a:pt x="11352" y="1225"/>
                </a:cubicBezTo>
                <a:cubicBezTo>
                  <a:pt x="11352" y="1275"/>
                  <a:pt x="11227" y="1150"/>
                  <a:pt x="11177" y="1125"/>
                </a:cubicBezTo>
                <a:cubicBezTo>
                  <a:pt x="11102" y="1100"/>
                  <a:pt x="10927" y="1300"/>
                  <a:pt x="11027" y="1350"/>
                </a:cubicBezTo>
                <a:close/>
                <a:moveTo>
                  <a:pt x="11603" y="1701"/>
                </a:moveTo>
                <a:lnTo>
                  <a:pt x="11603" y="1701"/>
                </a:lnTo>
                <a:cubicBezTo>
                  <a:pt x="11652" y="1701"/>
                  <a:pt x="11552" y="1601"/>
                  <a:pt x="11477" y="1601"/>
                </a:cubicBezTo>
                <a:cubicBezTo>
                  <a:pt x="11377" y="1575"/>
                  <a:pt x="11303" y="1650"/>
                  <a:pt x="11327" y="1650"/>
                </a:cubicBezTo>
                <a:cubicBezTo>
                  <a:pt x="11352" y="1701"/>
                  <a:pt x="11552" y="1725"/>
                  <a:pt x="11603" y="1701"/>
                </a:cubicBezTo>
                <a:close/>
                <a:moveTo>
                  <a:pt x="11377" y="1525"/>
                </a:moveTo>
                <a:lnTo>
                  <a:pt x="11377" y="1525"/>
                </a:lnTo>
                <a:cubicBezTo>
                  <a:pt x="11377" y="1475"/>
                  <a:pt x="11227" y="1525"/>
                  <a:pt x="11277" y="1550"/>
                </a:cubicBezTo>
                <a:cubicBezTo>
                  <a:pt x="11327" y="1575"/>
                  <a:pt x="11377" y="1575"/>
                  <a:pt x="11377" y="1525"/>
                </a:cubicBezTo>
                <a:close/>
                <a:moveTo>
                  <a:pt x="4801" y="1725"/>
                </a:moveTo>
                <a:lnTo>
                  <a:pt x="4801" y="1725"/>
                </a:lnTo>
                <a:cubicBezTo>
                  <a:pt x="4826" y="1725"/>
                  <a:pt x="4926" y="1725"/>
                  <a:pt x="4951" y="1701"/>
                </a:cubicBezTo>
                <a:cubicBezTo>
                  <a:pt x="4951" y="1675"/>
                  <a:pt x="4901" y="1650"/>
                  <a:pt x="4851" y="1650"/>
                </a:cubicBezTo>
                <a:cubicBezTo>
                  <a:pt x="4775" y="1650"/>
                  <a:pt x="4775" y="1725"/>
                  <a:pt x="4801" y="1725"/>
                </a:cubicBezTo>
                <a:close/>
                <a:moveTo>
                  <a:pt x="2575" y="225"/>
                </a:moveTo>
                <a:lnTo>
                  <a:pt x="2575" y="225"/>
                </a:lnTo>
                <a:cubicBezTo>
                  <a:pt x="2650" y="150"/>
                  <a:pt x="2725" y="225"/>
                  <a:pt x="2725" y="200"/>
                </a:cubicBezTo>
                <a:cubicBezTo>
                  <a:pt x="2750" y="150"/>
                  <a:pt x="2625" y="150"/>
                  <a:pt x="2575" y="175"/>
                </a:cubicBezTo>
                <a:cubicBezTo>
                  <a:pt x="2525" y="200"/>
                  <a:pt x="2401" y="175"/>
                  <a:pt x="2425" y="225"/>
                </a:cubicBezTo>
                <a:cubicBezTo>
                  <a:pt x="2425" y="225"/>
                  <a:pt x="2500" y="275"/>
                  <a:pt x="2575" y="225"/>
                </a:cubicBezTo>
                <a:close/>
                <a:moveTo>
                  <a:pt x="11577" y="4926"/>
                </a:moveTo>
                <a:lnTo>
                  <a:pt x="11577" y="4926"/>
                </a:lnTo>
                <a:cubicBezTo>
                  <a:pt x="11552" y="4826"/>
                  <a:pt x="11627" y="4751"/>
                  <a:pt x="11552" y="4726"/>
                </a:cubicBezTo>
                <a:cubicBezTo>
                  <a:pt x="11503" y="4675"/>
                  <a:pt x="11527" y="4575"/>
                  <a:pt x="11503" y="4601"/>
                </a:cubicBezTo>
                <a:cubicBezTo>
                  <a:pt x="11477" y="4626"/>
                  <a:pt x="11503" y="4701"/>
                  <a:pt x="11452" y="4701"/>
                </a:cubicBezTo>
                <a:cubicBezTo>
                  <a:pt x="11403" y="4701"/>
                  <a:pt x="11452" y="4751"/>
                  <a:pt x="11427" y="4801"/>
                </a:cubicBezTo>
                <a:cubicBezTo>
                  <a:pt x="11427" y="4851"/>
                  <a:pt x="11452" y="4951"/>
                  <a:pt x="11477" y="5001"/>
                </a:cubicBezTo>
                <a:cubicBezTo>
                  <a:pt x="11503" y="5051"/>
                  <a:pt x="11427" y="5301"/>
                  <a:pt x="11452" y="5351"/>
                </a:cubicBezTo>
                <a:cubicBezTo>
                  <a:pt x="11477" y="5401"/>
                  <a:pt x="11427" y="5601"/>
                  <a:pt x="11452" y="5626"/>
                </a:cubicBezTo>
                <a:cubicBezTo>
                  <a:pt x="11477" y="5651"/>
                  <a:pt x="11452" y="5551"/>
                  <a:pt x="11503" y="5551"/>
                </a:cubicBezTo>
                <a:cubicBezTo>
                  <a:pt x="11552" y="5551"/>
                  <a:pt x="11552" y="5601"/>
                  <a:pt x="11577" y="5626"/>
                </a:cubicBezTo>
                <a:cubicBezTo>
                  <a:pt x="11627" y="5626"/>
                  <a:pt x="11603" y="5526"/>
                  <a:pt x="11577" y="5551"/>
                </a:cubicBezTo>
                <a:cubicBezTo>
                  <a:pt x="11552" y="5551"/>
                  <a:pt x="11527" y="5476"/>
                  <a:pt x="11503" y="5426"/>
                </a:cubicBezTo>
                <a:cubicBezTo>
                  <a:pt x="11503" y="5376"/>
                  <a:pt x="11527" y="5326"/>
                  <a:pt x="11527" y="5276"/>
                </a:cubicBezTo>
                <a:cubicBezTo>
                  <a:pt x="11527" y="5226"/>
                  <a:pt x="11603" y="5226"/>
                  <a:pt x="11652" y="5276"/>
                </a:cubicBezTo>
                <a:cubicBezTo>
                  <a:pt x="11677" y="5301"/>
                  <a:pt x="11703" y="5276"/>
                  <a:pt x="11677" y="5251"/>
                </a:cubicBezTo>
                <a:cubicBezTo>
                  <a:pt x="11652" y="5226"/>
                  <a:pt x="11603" y="5001"/>
                  <a:pt x="11577" y="4926"/>
                </a:cubicBezTo>
                <a:close/>
                <a:moveTo>
                  <a:pt x="2725" y="2450"/>
                </a:moveTo>
                <a:lnTo>
                  <a:pt x="2725" y="2450"/>
                </a:lnTo>
                <a:cubicBezTo>
                  <a:pt x="2801" y="2500"/>
                  <a:pt x="2850" y="2400"/>
                  <a:pt x="2901" y="2400"/>
                </a:cubicBezTo>
                <a:cubicBezTo>
                  <a:pt x="2925" y="2400"/>
                  <a:pt x="2875" y="2350"/>
                  <a:pt x="2801" y="2350"/>
                </a:cubicBezTo>
                <a:cubicBezTo>
                  <a:pt x="2750" y="2325"/>
                  <a:pt x="2650" y="2375"/>
                  <a:pt x="2725" y="2450"/>
                </a:cubicBezTo>
                <a:close/>
                <a:moveTo>
                  <a:pt x="16028" y="2901"/>
                </a:moveTo>
                <a:lnTo>
                  <a:pt x="16028" y="2901"/>
                </a:lnTo>
                <a:cubicBezTo>
                  <a:pt x="16004" y="2901"/>
                  <a:pt x="15904" y="2850"/>
                  <a:pt x="15878" y="2826"/>
                </a:cubicBezTo>
                <a:cubicBezTo>
                  <a:pt x="15878" y="2775"/>
                  <a:pt x="15753" y="2775"/>
                  <a:pt x="15753" y="2775"/>
                </a:cubicBezTo>
                <a:cubicBezTo>
                  <a:pt x="15753" y="2801"/>
                  <a:pt x="15728" y="2775"/>
                  <a:pt x="15728" y="2750"/>
                </a:cubicBezTo>
                <a:cubicBezTo>
                  <a:pt x="15703" y="2750"/>
                  <a:pt x="15603" y="2750"/>
                  <a:pt x="15603" y="2750"/>
                </a:cubicBezTo>
                <a:cubicBezTo>
                  <a:pt x="15603" y="2775"/>
                  <a:pt x="15628" y="2775"/>
                  <a:pt x="15628" y="2801"/>
                </a:cubicBezTo>
                <a:cubicBezTo>
                  <a:pt x="15653" y="2826"/>
                  <a:pt x="15603" y="2826"/>
                  <a:pt x="15628" y="2850"/>
                </a:cubicBezTo>
                <a:cubicBezTo>
                  <a:pt x="15628" y="2875"/>
                  <a:pt x="15578" y="2850"/>
                  <a:pt x="15553" y="2826"/>
                </a:cubicBezTo>
                <a:cubicBezTo>
                  <a:pt x="15553" y="2826"/>
                  <a:pt x="15553" y="2775"/>
                  <a:pt x="15553" y="2750"/>
                </a:cubicBezTo>
                <a:cubicBezTo>
                  <a:pt x="15553" y="2701"/>
                  <a:pt x="15528" y="2726"/>
                  <a:pt x="15528" y="2701"/>
                </a:cubicBezTo>
                <a:cubicBezTo>
                  <a:pt x="15528" y="2650"/>
                  <a:pt x="15403" y="2601"/>
                  <a:pt x="15353" y="2575"/>
                </a:cubicBezTo>
                <a:cubicBezTo>
                  <a:pt x="15278" y="2550"/>
                  <a:pt x="15228" y="2550"/>
                  <a:pt x="15203" y="2526"/>
                </a:cubicBezTo>
                <a:cubicBezTo>
                  <a:pt x="15178" y="2475"/>
                  <a:pt x="15078" y="2475"/>
                  <a:pt x="15053" y="2450"/>
                </a:cubicBezTo>
                <a:cubicBezTo>
                  <a:pt x="15028" y="2400"/>
                  <a:pt x="14853" y="2350"/>
                  <a:pt x="14803" y="2325"/>
                </a:cubicBezTo>
                <a:cubicBezTo>
                  <a:pt x="14728" y="2325"/>
                  <a:pt x="14728" y="2301"/>
                  <a:pt x="14703" y="2301"/>
                </a:cubicBezTo>
                <a:cubicBezTo>
                  <a:pt x="14678" y="2301"/>
                  <a:pt x="14528" y="2301"/>
                  <a:pt x="14478" y="2301"/>
                </a:cubicBezTo>
                <a:cubicBezTo>
                  <a:pt x="14428" y="2275"/>
                  <a:pt x="14428" y="2325"/>
                  <a:pt x="14403" y="2301"/>
                </a:cubicBezTo>
                <a:cubicBezTo>
                  <a:pt x="14378" y="2301"/>
                  <a:pt x="14203" y="2225"/>
                  <a:pt x="14178" y="2250"/>
                </a:cubicBezTo>
                <a:cubicBezTo>
                  <a:pt x="14153" y="2275"/>
                  <a:pt x="14178" y="2301"/>
                  <a:pt x="14153" y="2325"/>
                </a:cubicBezTo>
                <a:cubicBezTo>
                  <a:pt x="14128" y="2325"/>
                  <a:pt x="14153" y="2350"/>
                  <a:pt x="14203" y="2400"/>
                </a:cubicBezTo>
                <a:cubicBezTo>
                  <a:pt x="14253" y="2425"/>
                  <a:pt x="14203" y="2475"/>
                  <a:pt x="14178" y="2475"/>
                </a:cubicBezTo>
                <a:cubicBezTo>
                  <a:pt x="14128" y="2500"/>
                  <a:pt x="14053" y="2475"/>
                  <a:pt x="14053" y="2425"/>
                </a:cubicBezTo>
                <a:cubicBezTo>
                  <a:pt x="14028" y="2400"/>
                  <a:pt x="13978" y="2425"/>
                  <a:pt x="13953" y="2375"/>
                </a:cubicBezTo>
                <a:cubicBezTo>
                  <a:pt x="13928" y="2325"/>
                  <a:pt x="13978" y="2325"/>
                  <a:pt x="14003" y="2350"/>
                </a:cubicBezTo>
                <a:cubicBezTo>
                  <a:pt x="14028" y="2375"/>
                  <a:pt x="14053" y="2350"/>
                  <a:pt x="14078" y="2325"/>
                </a:cubicBezTo>
                <a:cubicBezTo>
                  <a:pt x="14078" y="2301"/>
                  <a:pt x="14003" y="2275"/>
                  <a:pt x="13953" y="2275"/>
                </a:cubicBezTo>
                <a:cubicBezTo>
                  <a:pt x="13902" y="2275"/>
                  <a:pt x="13877" y="2325"/>
                  <a:pt x="13828" y="2350"/>
                </a:cubicBezTo>
                <a:cubicBezTo>
                  <a:pt x="13803" y="2375"/>
                  <a:pt x="13628" y="2350"/>
                  <a:pt x="13603" y="2325"/>
                </a:cubicBezTo>
                <a:cubicBezTo>
                  <a:pt x="13577" y="2325"/>
                  <a:pt x="13353" y="2325"/>
                  <a:pt x="13328" y="2350"/>
                </a:cubicBezTo>
                <a:cubicBezTo>
                  <a:pt x="13303" y="2375"/>
                  <a:pt x="13303" y="2425"/>
                  <a:pt x="13303" y="2450"/>
                </a:cubicBezTo>
                <a:cubicBezTo>
                  <a:pt x="13277" y="2450"/>
                  <a:pt x="13277" y="2375"/>
                  <a:pt x="13277" y="2350"/>
                </a:cubicBezTo>
                <a:cubicBezTo>
                  <a:pt x="13277" y="2325"/>
                  <a:pt x="13253" y="2325"/>
                  <a:pt x="13203" y="2325"/>
                </a:cubicBezTo>
                <a:cubicBezTo>
                  <a:pt x="13153" y="2325"/>
                  <a:pt x="13128" y="2325"/>
                  <a:pt x="13153" y="2301"/>
                </a:cubicBezTo>
                <a:cubicBezTo>
                  <a:pt x="13177" y="2275"/>
                  <a:pt x="13128" y="2275"/>
                  <a:pt x="13177" y="2250"/>
                </a:cubicBezTo>
                <a:cubicBezTo>
                  <a:pt x="13203" y="2225"/>
                  <a:pt x="13103" y="2150"/>
                  <a:pt x="13028" y="2101"/>
                </a:cubicBezTo>
                <a:cubicBezTo>
                  <a:pt x="12928" y="2075"/>
                  <a:pt x="12728" y="2101"/>
                  <a:pt x="12652" y="2101"/>
                </a:cubicBezTo>
                <a:cubicBezTo>
                  <a:pt x="12602" y="2125"/>
                  <a:pt x="12503" y="2125"/>
                  <a:pt x="12452" y="2125"/>
                </a:cubicBezTo>
                <a:cubicBezTo>
                  <a:pt x="12377" y="2125"/>
                  <a:pt x="12428" y="2101"/>
                  <a:pt x="12428" y="2075"/>
                </a:cubicBezTo>
                <a:cubicBezTo>
                  <a:pt x="12402" y="2050"/>
                  <a:pt x="12303" y="2025"/>
                  <a:pt x="12303" y="2050"/>
                </a:cubicBezTo>
                <a:cubicBezTo>
                  <a:pt x="12277" y="2075"/>
                  <a:pt x="12252" y="2050"/>
                  <a:pt x="12252" y="2025"/>
                </a:cubicBezTo>
                <a:cubicBezTo>
                  <a:pt x="12252" y="2025"/>
                  <a:pt x="12177" y="1975"/>
                  <a:pt x="12152" y="2001"/>
                </a:cubicBezTo>
                <a:cubicBezTo>
                  <a:pt x="12103" y="2001"/>
                  <a:pt x="12103" y="1950"/>
                  <a:pt x="12127" y="1950"/>
                </a:cubicBezTo>
                <a:cubicBezTo>
                  <a:pt x="12177" y="1950"/>
                  <a:pt x="12228" y="1975"/>
                  <a:pt x="12203" y="1925"/>
                </a:cubicBezTo>
                <a:cubicBezTo>
                  <a:pt x="12177" y="1875"/>
                  <a:pt x="11927" y="1875"/>
                  <a:pt x="11903" y="1875"/>
                </a:cubicBezTo>
                <a:cubicBezTo>
                  <a:pt x="11877" y="1875"/>
                  <a:pt x="11903" y="1925"/>
                  <a:pt x="11852" y="1975"/>
                </a:cubicBezTo>
                <a:cubicBezTo>
                  <a:pt x="11803" y="2025"/>
                  <a:pt x="11752" y="1975"/>
                  <a:pt x="11752" y="1950"/>
                </a:cubicBezTo>
                <a:cubicBezTo>
                  <a:pt x="11752" y="1925"/>
                  <a:pt x="11827" y="1925"/>
                  <a:pt x="11827" y="1901"/>
                </a:cubicBezTo>
                <a:cubicBezTo>
                  <a:pt x="11827" y="1875"/>
                  <a:pt x="11727" y="1901"/>
                  <a:pt x="11727" y="1875"/>
                </a:cubicBezTo>
                <a:cubicBezTo>
                  <a:pt x="11703" y="1850"/>
                  <a:pt x="11727" y="1850"/>
                  <a:pt x="11777" y="1850"/>
                </a:cubicBezTo>
                <a:cubicBezTo>
                  <a:pt x="11803" y="1875"/>
                  <a:pt x="11852" y="1875"/>
                  <a:pt x="11877" y="1850"/>
                </a:cubicBezTo>
                <a:cubicBezTo>
                  <a:pt x="11877" y="1850"/>
                  <a:pt x="11827" y="1825"/>
                  <a:pt x="11777" y="1825"/>
                </a:cubicBezTo>
                <a:cubicBezTo>
                  <a:pt x="11727" y="1825"/>
                  <a:pt x="11577" y="1775"/>
                  <a:pt x="11527" y="1801"/>
                </a:cubicBezTo>
                <a:cubicBezTo>
                  <a:pt x="11452" y="1801"/>
                  <a:pt x="11403" y="1775"/>
                  <a:pt x="11377" y="1750"/>
                </a:cubicBezTo>
                <a:cubicBezTo>
                  <a:pt x="11327" y="1750"/>
                  <a:pt x="11327" y="1775"/>
                  <a:pt x="11352" y="1801"/>
                </a:cubicBezTo>
                <a:cubicBezTo>
                  <a:pt x="11377" y="1825"/>
                  <a:pt x="11327" y="1850"/>
                  <a:pt x="11277" y="1825"/>
                </a:cubicBezTo>
                <a:cubicBezTo>
                  <a:pt x="11227" y="1825"/>
                  <a:pt x="11152" y="1850"/>
                  <a:pt x="11177" y="1901"/>
                </a:cubicBezTo>
                <a:cubicBezTo>
                  <a:pt x="11202" y="1925"/>
                  <a:pt x="11227" y="1875"/>
                  <a:pt x="11252" y="1901"/>
                </a:cubicBezTo>
                <a:cubicBezTo>
                  <a:pt x="11277" y="1901"/>
                  <a:pt x="11202" y="1925"/>
                  <a:pt x="11227" y="1950"/>
                </a:cubicBezTo>
                <a:cubicBezTo>
                  <a:pt x="11277" y="1950"/>
                  <a:pt x="11252" y="2001"/>
                  <a:pt x="11252" y="2001"/>
                </a:cubicBezTo>
                <a:cubicBezTo>
                  <a:pt x="11252" y="2025"/>
                  <a:pt x="11202" y="2025"/>
                  <a:pt x="11177" y="2001"/>
                </a:cubicBezTo>
                <a:cubicBezTo>
                  <a:pt x="11177" y="1975"/>
                  <a:pt x="11127" y="2001"/>
                  <a:pt x="11102" y="2001"/>
                </a:cubicBezTo>
                <a:cubicBezTo>
                  <a:pt x="11052" y="2001"/>
                  <a:pt x="11027" y="2025"/>
                  <a:pt x="11077" y="2025"/>
                </a:cubicBezTo>
                <a:cubicBezTo>
                  <a:pt x="11102" y="2025"/>
                  <a:pt x="11127" y="2050"/>
                  <a:pt x="11077" y="2050"/>
                </a:cubicBezTo>
                <a:cubicBezTo>
                  <a:pt x="11027" y="2075"/>
                  <a:pt x="11027" y="2001"/>
                  <a:pt x="11002" y="2025"/>
                </a:cubicBezTo>
                <a:cubicBezTo>
                  <a:pt x="10952" y="2025"/>
                  <a:pt x="10902" y="2001"/>
                  <a:pt x="10852" y="2001"/>
                </a:cubicBezTo>
                <a:cubicBezTo>
                  <a:pt x="10802" y="2001"/>
                  <a:pt x="10802" y="2025"/>
                  <a:pt x="10752" y="2025"/>
                </a:cubicBezTo>
                <a:cubicBezTo>
                  <a:pt x="10702" y="2025"/>
                  <a:pt x="10627" y="2001"/>
                  <a:pt x="10602" y="1975"/>
                </a:cubicBezTo>
                <a:cubicBezTo>
                  <a:pt x="10577" y="1950"/>
                  <a:pt x="10577" y="1925"/>
                  <a:pt x="10552" y="1975"/>
                </a:cubicBezTo>
                <a:cubicBezTo>
                  <a:pt x="10527" y="2001"/>
                  <a:pt x="10527" y="2050"/>
                  <a:pt x="10502" y="2075"/>
                </a:cubicBezTo>
                <a:cubicBezTo>
                  <a:pt x="10477" y="2075"/>
                  <a:pt x="10452" y="2125"/>
                  <a:pt x="10427" y="2150"/>
                </a:cubicBezTo>
                <a:cubicBezTo>
                  <a:pt x="10402" y="2150"/>
                  <a:pt x="10402" y="2125"/>
                  <a:pt x="10377" y="2125"/>
                </a:cubicBezTo>
                <a:cubicBezTo>
                  <a:pt x="10352" y="2125"/>
                  <a:pt x="10252" y="2025"/>
                  <a:pt x="10227" y="2001"/>
                </a:cubicBezTo>
                <a:cubicBezTo>
                  <a:pt x="10227" y="1975"/>
                  <a:pt x="10177" y="1901"/>
                  <a:pt x="10152" y="1901"/>
                </a:cubicBezTo>
                <a:cubicBezTo>
                  <a:pt x="10127" y="1875"/>
                  <a:pt x="10177" y="1875"/>
                  <a:pt x="10202" y="1901"/>
                </a:cubicBezTo>
                <a:cubicBezTo>
                  <a:pt x="10202" y="1925"/>
                  <a:pt x="10227" y="1925"/>
                  <a:pt x="10252" y="1901"/>
                </a:cubicBezTo>
                <a:cubicBezTo>
                  <a:pt x="10277" y="1901"/>
                  <a:pt x="10277" y="1850"/>
                  <a:pt x="10252" y="1850"/>
                </a:cubicBezTo>
                <a:cubicBezTo>
                  <a:pt x="10202" y="1850"/>
                  <a:pt x="10227" y="1801"/>
                  <a:pt x="10227" y="1801"/>
                </a:cubicBezTo>
                <a:cubicBezTo>
                  <a:pt x="10252" y="1801"/>
                  <a:pt x="10202" y="1750"/>
                  <a:pt x="10227" y="1750"/>
                </a:cubicBezTo>
                <a:cubicBezTo>
                  <a:pt x="10227" y="1725"/>
                  <a:pt x="10227" y="1701"/>
                  <a:pt x="10202" y="1701"/>
                </a:cubicBezTo>
                <a:cubicBezTo>
                  <a:pt x="10177" y="1701"/>
                  <a:pt x="10127" y="1675"/>
                  <a:pt x="10127" y="1650"/>
                </a:cubicBezTo>
                <a:cubicBezTo>
                  <a:pt x="10127" y="1650"/>
                  <a:pt x="10002" y="1650"/>
                  <a:pt x="10002" y="1675"/>
                </a:cubicBezTo>
                <a:cubicBezTo>
                  <a:pt x="10027" y="1675"/>
                  <a:pt x="9977" y="1675"/>
                  <a:pt x="9977" y="1650"/>
                </a:cubicBezTo>
                <a:cubicBezTo>
                  <a:pt x="9977" y="1650"/>
                  <a:pt x="9927" y="1650"/>
                  <a:pt x="9877" y="1625"/>
                </a:cubicBezTo>
                <a:cubicBezTo>
                  <a:pt x="9802" y="1625"/>
                  <a:pt x="9802" y="1575"/>
                  <a:pt x="9777" y="1575"/>
                </a:cubicBezTo>
                <a:cubicBezTo>
                  <a:pt x="9752" y="1575"/>
                  <a:pt x="9777" y="1625"/>
                  <a:pt x="9752" y="1625"/>
                </a:cubicBezTo>
                <a:cubicBezTo>
                  <a:pt x="9702" y="1601"/>
                  <a:pt x="9677" y="1625"/>
                  <a:pt x="9702" y="1675"/>
                </a:cubicBezTo>
                <a:cubicBezTo>
                  <a:pt x="9702" y="1701"/>
                  <a:pt x="9702" y="1701"/>
                  <a:pt x="9702" y="1725"/>
                </a:cubicBezTo>
                <a:cubicBezTo>
                  <a:pt x="9677" y="1775"/>
                  <a:pt x="9677" y="1750"/>
                  <a:pt x="9627" y="1750"/>
                </a:cubicBezTo>
                <a:cubicBezTo>
                  <a:pt x="9601" y="1725"/>
                  <a:pt x="9601" y="1775"/>
                  <a:pt x="9527" y="1750"/>
                </a:cubicBezTo>
                <a:cubicBezTo>
                  <a:pt x="9452" y="1725"/>
                  <a:pt x="9401" y="1750"/>
                  <a:pt x="9401" y="1725"/>
                </a:cubicBezTo>
                <a:cubicBezTo>
                  <a:pt x="9376" y="1701"/>
                  <a:pt x="9352" y="1701"/>
                  <a:pt x="9352" y="1725"/>
                </a:cubicBezTo>
                <a:cubicBezTo>
                  <a:pt x="9352" y="1750"/>
                  <a:pt x="9227" y="1725"/>
                  <a:pt x="9227" y="1701"/>
                </a:cubicBezTo>
                <a:cubicBezTo>
                  <a:pt x="9202" y="1675"/>
                  <a:pt x="9252" y="1675"/>
                  <a:pt x="9252" y="1650"/>
                </a:cubicBezTo>
                <a:cubicBezTo>
                  <a:pt x="9276" y="1650"/>
                  <a:pt x="9252" y="1625"/>
                  <a:pt x="9176" y="1650"/>
                </a:cubicBezTo>
                <a:cubicBezTo>
                  <a:pt x="9102" y="1650"/>
                  <a:pt x="9076" y="1601"/>
                  <a:pt x="9002" y="1625"/>
                </a:cubicBezTo>
                <a:cubicBezTo>
                  <a:pt x="8927" y="1625"/>
                  <a:pt x="8776" y="1625"/>
                  <a:pt x="8776" y="1650"/>
                </a:cubicBezTo>
                <a:cubicBezTo>
                  <a:pt x="8752" y="1650"/>
                  <a:pt x="8776" y="1701"/>
                  <a:pt x="8752" y="1701"/>
                </a:cubicBezTo>
                <a:cubicBezTo>
                  <a:pt x="8727" y="1701"/>
                  <a:pt x="8752" y="1625"/>
                  <a:pt x="8752" y="1601"/>
                </a:cubicBezTo>
                <a:cubicBezTo>
                  <a:pt x="8727" y="1575"/>
                  <a:pt x="8676" y="1575"/>
                  <a:pt x="8702" y="1601"/>
                </a:cubicBezTo>
                <a:cubicBezTo>
                  <a:pt x="8702" y="1625"/>
                  <a:pt x="8627" y="1625"/>
                  <a:pt x="8602" y="1601"/>
                </a:cubicBezTo>
                <a:cubicBezTo>
                  <a:pt x="8576" y="1575"/>
                  <a:pt x="8551" y="1575"/>
                  <a:pt x="8476" y="1550"/>
                </a:cubicBezTo>
                <a:cubicBezTo>
                  <a:pt x="8427" y="1525"/>
                  <a:pt x="8376" y="1601"/>
                  <a:pt x="8376" y="1601"/>
                </a:cubicBezTo>
                <a:cubicBezTo>
                  <a:pt x="8402" y="1625"/>
                  <a:pt x="8427" y="1625"/>
                  <a:pt x="8427" y="1625"/>
                </a:cubicBezTo>
                <a:cubicBezTo>
                  <a:pt x="8451" y="1650"/>
                  <a:pt x="8327" y="1650"/>
                  <a:pt x="8327" y="1650"/>
                </a:cubicBezTo>
                <a:cubicBezTo>
                  <a:pt x="8327" y="1675"/>
                  <a:pt x="8202" y="1701"/>
                  <a:pt x="8176" y="1701"/>
                </a:cubicBezTo>
                <a:cubicBezTo>
                  <a:pt x="8076" y="1725"/>
                  <a:pt x="8076" y="1725"/>
                  <a:pt x="8027" y="1750"/>
                </a:cubicBezTo>
                <a:cubicBezTo>
                  <a:pt x="7976" y="1801"/>
                  <a:pt x="8027" y="1725"/>
                  <a:pt x="8051" y="1701"/>
                </a:cubicBezTo>
                <a:cubicBezTo>
                  <a:pt x="8076" y="1650"/>
                  <a:pt x="8127" y="1675"/>
                  <a:pt x="8127" y="1650"/>
                </a:cubicBezTo>
                <a:cubicBezTo>
                  <a:pt x="8151" y="1625"/>
                  <a:pt x="8176" y="1625"/>
                  <a:pt x="8251" y="1625"/>
                </a:cubicBezTo>
                <a:cubicBezTo>
                  <a:pt x="8302" y="1601"/>
                  <a:pt x="8302" y="1575"/>
                  <a:pt x="8327" y="1575"/>
                </a:cubicBezTo>
                <a:cubicBezTo>
                  <a:pt x="8351" y="1550"/>
                  <a:pt x="8402" y="1525"/>
                  <a:pt x="8402" y="1501"/>
                </a:cubicBezTo>
                <a:cubicBezTo>
                  <a:pt x="8427" y="1475"/>
                  <a:pt x="8551" y="1425"/>
                  <a:pt x="8576" y="1450"/>
                </a:cubicBezTo>
                <a:cubicBezTo>
                  <a:pt x="8602" y="1450"/>
                  <a:pt x="8602" y="1401"/>
                  <a:pt x="8627" y="1401"/>
                </a:cubicBezTo>
                <a:cubicBezTo>
                  <a:pt x="8627" y="1401"/>
                  <a:pt x="8702" y="1350"/>
                  <a:pt x="8727" y="1350"/>
                </a:cubicBezTo>
                <a:cubicBezTo>
                  <a:pt x="8752" y="1325"/>
                  <a:pt x="8776" y="1300"/>
                  <a:pt x="8776" y="1275"/>
                </a:cubicBezTo>
                <a:cubicBezTo>
                  <a:pt x="8776" y="1275"/>
                  <a:pt x="8727" y="1275"/>
                  <a:pt x="8727" y="1250"/>
                </a:cubicBezTo>
                <a:cubicBezTo>
                  <a:pt x="8727" y="1250"/>
                  <a:pt x="8752" y="1250"/>
                  <a:pt x="8776" y="1250"/>
                </a:cubicBezTo>
                <a:cubicBezTo>
                  <a:pt x="8802" y="1225"/>
                  <a:pt x="8776" y="1200"/>
                  <a:pt x="8752" y="1200"/>
                </a:cubicBezTo>
                <a:cubicBezTo>
                  <a:pt x="8727" y="1200"/>
                  <a:pt x="8776" y="1175"/>
                  <a:pt x="8752" y="1150"/>
                </a:cubicBezTo>
                <a:cubicBezTo>
                  <a:pt x="8727" y="1125"/>
                  <a:pt x="8676" y="1175"/>
                  <a:pt x="8676" y="1150"/>
                </a:cubicBezTo>
                <a:cubicBezTo>
                  <a:pt x="8676" y="1100"/>
                  <a:pt x="8676" y="1075"/>
                  <a:pt x="8676" y="1050"/>
                </a:cubicBezTo>
                <a:cubicBezTo>
                  <a:pt x="8652" y="1050"/>
                  <a:pt x="8627" y="1100"/>
                  <a:pt x="8576" y="1075"/>
                </a:cubicBezTo>
                <a:cubicBezTo>
                  <a:pt x="8551" y="1050"/>
                  <a:pt x="8451" y="1025"/>
                  <a:pt x="8451" y="1025"/>
                </a:cubicBezTo>
                <a:cubicBezTo>
                  <a:pt x="8451" y="1050"/>
                  <a:pt x="8402" y="1025"/>
                  <a:pt x="8402" y="1025"/>
                </a:cubicBezTo>
                <a:cubicBezTo>
                  <a:pt x="8376" y="1050"/>
                  <a:pt x="8302" y="1025"/>
                  <a:pt x="8276" y="1025"/>
                </a:cubicBezTo>
                <a:cubicBezTo>
                  <a:pt x="8251" y="1025"/>
                  <a:pt x="8227" y="1050"/>
                  <a:pt x="8227" y="1075"/>
                </a:cubicBezTo>
                <a:cubicBezTo>
                  <a:pt x="8202" y="1100"/>
                  <a:pt x="8127" y="1075"/>
                  <a:pt x="8101" y="1075"/>
                </a:cubicBezTo>
                <a:cubicBezTo>
                  <a:pt x="8076" y="1075"/>
                  <a:pt x="8176" y="1000"/>
                  <a:pt x="8176" y="1000"/>
                </a:cubicBezTo>
                <a:cubicBezTo>
                  <a:pt x="8176" y="975"/>
                  <a:pt x="8027" y="1000"/>
                  <a:pt x="8002" y="975"/>
                </a:cubicBezTo>
                <a:cubicBezTo>
                  <a:pt x="8002" y="975"/>
                  <a:pt x="7927" y="950"/>
                  <a:pt x="7902" y="950"/>
                </a:cubicBezTo>
                <a:cubicBezTo>
                  <a:pt x="7876" y="950"/>
                  <a:pt x="7902" y="950"/>
                  <a:pt x="7927" y="950"/>
                </a:cubicBezTo>
                <a:cubicBezTo>
                  <a:pt x="7951" y="950"/>
                  <a:pt x="7976" y="925"/>
                  <a:pt x="8027" y="925"/>
                </a:cubicBezTo>
                <a:cubicBezTo>
                  <a:pt x="8051" y="900"/>
                  <a:pt x="8051" y="900"/>
                  <a:pt x="8027" y="875"/>
                </a:cubicBezTo>
                <a:cubicBezTo>
                  <a:pt x="8002" y="850"/>
                  <a:pt x="7976" y="875"/>
                  <a:pt x="7951" y="850"/>
                </a:cubicBezTo>
                <a:cubicBezTo>
                  <a:pt x="7927" y="850"/>
                  <a:pt x="7876" y="825"/>
                  <a:pt x="7851" y="825"/>
                </a:cubicBezTo>
                <a:cubicBezTo>
                  <a:pt x="7827" y="825"/>
                  <a:pt x="7802" y="850"/>
                  <a:pt x="7727" y="850"/>
                </a:cubicBezTo>
                <a:cubicBezTo>
                  <a:pt x="7651" y="875"/>
                  <a:pt x="7651" y="925"/>
                  <a:pt x="7626" y="950"/>
                </a:cubicBezTo>
                <a:cubicBezTo>
                  <a:pt x="7576" y="950"/>
                  <a:pt x="7526" y="1025"/>
                  <a:pt x="7551" y="1025"/>
                </a:cubicBezTo>
                <a:cubicBezTo>
                  <a:pt x="7576" y="1025"/>
                  <a:pt x="7576" y="1050"/>
                  <a:pt x="7576" y="1050"/>
                </a:cubicBezTo>
                <a:cubicBezTo>
                  <a:pt x="7576" y="1075"/>
                  <a:pt x="7551" y="1075"/>
                  <a:pt x="7526" y="1075"/>
                </a:cubicBezTo>
                <a:cubicBezTo>
                  <a:pt x="7502" y="1075"/>
                  <a:pt x="7376" y="1075"/>
                  <a:pt x="7376" y="1100"/>
                </a:cubicBezTo>
                <a:cubicBezTo>
                  <a:pt x="7376" y="1125"/>
                  <a:pt x="7451" y="1125"/>
                  <a:pt x="7451" y="1150"/>
                </a:cubicBezTo>
                <a:cubicBezTo>
                  <a:pt x="7426" y="1150"/>
                  <a:pt x="7402" y="1150"/>
                  <a:pt x="7376" y="1125"/>
                </a:cubicBezTo>
                <a:cubicBezTo>
                  <a:pt x="7351" y="1125"/>
                  <a:pt x="7302" y="1125"/>
                  <a:pt x="7276" y="1150"/>
                </a:cubicBezTo>
                <a:cubicBezTo>
                  <a:pt x="7276" y="1175"/>
                  <a:pt x="7226" y="1175"/>
                  <a:pt x="7226" y="1150"/>
                </a:cubicBezTo>
                <a:cubicBezTo>
                  <a:pt x="7202" y="1150"/>
                  <a:pt x="7176" y="1175"/>
                  <a:pt x="7176" y="1175"/>
                </a:cubicBezTo>
                <a:cubicBezTo>
                  <a:pt x="7151" y="1150"/>
                  <a:pt x="7202" y="1125"/>
                  <a:pt x="7202" y="1125"/>
                </a:cubicBezTo>
                <a:cubicBezTo>
                  <a:pt x="7176" y="1100"/>
                  <a:pt x="7102" y="1100"/>
                  <a:pt x="7102" y="1125"/>
                </a:cubicBezTo>
                <a:cubicBezTo>
                  <a:pt x="7102" y="1150"/>
                  <a:pt x="7051" y="1125"/>
                  <a:pt x="7051" y="1125"/>
                </a:cubicBezTo>
                <a:cubicBezTo>
                  <a:pt x="7026" y="1125"/>
                  <a:pt x="7002" y="1150"/>
                  <a:pt x="6976" y="1150"/>
                </a:cubicBezTo>
                <a:cubicBezTo>
                  <a:pt x="6951" y="1175"/>
                  <a:pt x="6902" y="1150"/>
                  <a:pt x="6876" y="1175"/>
                </a:cubicBezTo>
                <a:cubicBezTo>
                  <a:pt x="6876" y="1200"/>
                  <a:pt x="6951" y="1200"/>
                  <a:pt x="6951" y="1200"/>
                </a:cubicBezTo>
                <a:cubicBezTo>
                  <a:pt x="6951" y="1225"/>
                  <a:pt x="6801" y="1225"/>
                  <a:pt x="6801" y="1225"/>
                </a:cubicBezTo>
                <a:cubicBezTo>
                  <a:pt x="6776" y="1250"/>
                  <a:pt x="6726" y="1250"/>
                  <a:pt x="6676" y="1250"/>
                </a:cubicBezTo>
                <a:cubicBezTo>
                  <a:pt x="6601" y="1250"/>
                  <a:pt x="6626" y="1275"/>
                  <a:pt x="6576" y="1275"/>
                </a:cubicBezTo>
                <a:cubicBezTo>
                  <a:pt x="6526" y="1300"/>
                  <a:pt x="6501" y="1300"/>
                  <a:pt x="6501" y="1325"/>
                </a:cubicBezTo>
                <a:cubicBezTo>
                  <a:pt x="6476" y="1350"/>
                  <a:pt x="6451" y="1350"/>
                  <a:pt x="6426" y="1325"/>
                </a:cubicBezTo>
                <a:cubicBezTo>
                  <a:pt x="6401" y="1325"/>
                  <a:pt x="6351" y="1350"/>
                  <a:pt x="6376" y="1350"/>
                </a:cubicBezTo>
                <a:cubicBezTo>
                  <a:pt x="6401" y="1350"/>
                  <a:pt x="6376" y="1375"/>
                  <a:pt x="6376" y="1375"/>
                </a:cubicBezTo>
                <a:cubicBezTo>
                  <a:pt x="6351" y="1350"/>
                  <a:pt x="6301" y="1401"/>
                  <a:pt x="6326" y="1401"/>
                </a:cubicBezTo>
                <a:cubicBezTo>
                  <a:pt x="6351" y="1401"/>
                  <a:pt x="6376" y="1401"/>
                  <a:pt x="6351" y="1425"/>
                </a:cubicBezTo>
                <a:cubicBezTo>
                  <a:pt x="6351" y="1450"/>
                  <a:pt x="6301" y="1401"/>
                  <a:pt x="6276" y="1425"/>
                </a:cubicBezTo>
                <a:cubicBezTo>
                  <a:pt x="6276" y="1425"/>
                  <a:pt x="6301" y="1450"/>
                  <a:pt x="6326" y="1450"/>
                </a:cubicBezTo>
                <a:cubicBezTo>
                  <a:pt x="6351" y="1450"/>
                  <a:pt x="6376" y="1475"/>
                  <a:pt x="6376" y="1475"/>
                </a:cubicBezTo>
                <a:cubicBezTo>
                  <a:pt x="6376" y="1501"/>
                  <a:pt x="6326" y="1475"/>
                  <a:pt x="6301" y="1475"/>
                </a:cubicBezTo>
                <a:cubicBezTo>
                  <a:pt x="6301" y="1501"/>
                  <a:pt x="6301" y="1501"/>
                  <a:pt x="6351" y="1501"/>
                </a:cubicBezTo>
                <a:cubicBezTo>
                  <a:pt x="6376" y="1525"/>
                  <a:pt x="6351" y="1525"/>
                  <a:pt x="6376" y="1550"/>
                </a:cubicBezTo>
                <a:lnTo>
                  <a:pt x="6376" y="1550"/>
                </a:lnTo>
                <a:cubicBezTo>
                  <a:pt x="6376" y="1575"/>
                  <a:pt x="6351" y="1575"/>
                  <a:pt x="6376" y="1601"/>
                </a:cubicBezTo>
                <a:cubicBezTo>
                  <a:pt x="6376" y="1601"/>
                  <a:pt x="6326" y="1625"/>
                  <a:pt x="6326" y="1601"/>
                </a:cubicBezTo>
                <a:cubicBezTo>
                  <a:pt x="6326" y="1575"/>
                  <a:pt x="6276" y="1575"/>
                  <a:pt x="6251" y="1601"/>
                </a:cubicBezTo>
                <a:cubicBezTo>
                  <a:pt x="6226" y="1601"/>
                  <a:pt x="6226" y="1625"/>
                  <a:pt x="6201" y="1601"/>
                </a:cubicBezTo>
                <a:cubicBezTo>
                  <a:pt x="6176" y="1601"/>
                  <a:pt x="6126" y="1601"/>
                  <a:pt x="6076" y="1625"/>
                </a:cubicBezTo>
                <a:cubicBezTo>
                  <a:pt x="6001" y="1625"/>
                  <a:pt x="5851" y="1625"/>
                  <a:pt x="5826" y="1625"/>
                </a:cubicBezTo>
                <a:cubicBezTo>
                  <a:pt x="5776" y="1650"/>
                  <a:pt x="5751" y="1701"/>
                  <a:pt x="5801" y="1725"/>
                </a:cubicBezTo>
                <a:cubicBezTo>
                  <a:pt x="5826" y="1750"/>
                  <a:pt x="5801" y="1775"/>
                  <a:pt x="5801" y="1801"/>
                </a:cubicBezTo>
                <a:cubicBezTo>
                  <a:pt x="5801" y="1825"/>
                  <a:pt x="5876" y="1850"/>
                  <a:pt x="5926" y="1875"/>
                </a:cubicBezTo>
                <a:cubicBezTo>
                  <a:pt x="5976" y="1875"/>
                  <a:pt x="6001" y="1925"/>
                  <a:pt x="5976" y="1950"/>
                </a:cubicBezTo>
                <a:cubicBezTo>
                  <a:pt x="5951" y="2001"/>
                  <a:pt x="5876" y="1950"/>
                  <a:pt x="5826" y="1901"/>
                </a:cubicBezTo>
                <a:cubicBezTo>
                  <a:pt x="5751" y="1850"/>
                  <a:pt x="5651" y="1850"/>
                  <a:pt x="5601" y="1850"/>
                </a:cubicBezTo>
                <a:cubicBezTo>
                  <a:pt x="5551" y="1850"/>
                  <a:pt x="5576" y="1801"/>
                  <a:pt x="5526" y="1825"/>
                </a:cubicBezTo>
                <a:cubicBezTo>
                  <a:pt x="5476" y="1825"/>
                  <a:pt x="5426" y="1850"/>
                  <a:pt x="5476" y="1850"/>
                </a:cubicBezTo>
                <a:cubicBezTo>
                  <a:pt x="5501" y="1850"/>
                  <a:pt x="5526" y="1850"/>
                  <a:pt x="5501" y="1875"/>
                </a:cubicBezTo>
                <a:cubicBezTo>
                  <a:pt x="5501" y="1901"/>
                  <a:pt x="5526" y="1875"/>
                  <a:pt x="5551" y="1901"/>
                </a:cubicBezTo>
                <a:cubicBezTo>
                  <a:pt x="5601" y="1925"/>
                  <a:pt x="5526" y="1950"/>
                  <a:pt x="5476" y="1925"/>
                </a:cubicBezTo>
                <a:cubicBezTo>
                  <a:pt x="5451" y="1901"/>
                  <a:pt x="5401" y="1925"/>
                  <a:pt x="5376" y="1950"/>
                </a:cubicBezTo>
                <a:cubicBezTo>
                  <a:pt x="5376" y="1950"/>
                  <a:pt x="5426" y="2025"/>
                  <a:pt x="5501" y="2025"/>
                </a:cubicBezTo>
                <a:cubicBezTo>
                  <a:pt x="5576" y="2050"/>
                  <a:pt x="5551" y="2075"/>
                  <a:pt x="5601" y="2075"/>
                </a:cubicBezTo>
                <a:cubicBezTo>
                  <a:pt x="5626" y="2101"/>
                  <a:pt x="5601" y="2101"/>
                  <a:pt x="5576" y="2101"/>
                </a:cubicBezTo>
                <a:cubicBezTo>
                  <a:pt x="5551" y="2125"/>
                  <a:pt x="5501" y="2075"/>
                  <a:pt x="5476" y="2050"/>
                </a:cubicBezTo>
                <a:cubicBezTo>
                  <a:pt x="5426" y="2025"/>
                  <a:pt x="5326" y="2075"/>
                  <a:pt x="5300" y="2050"/>
                </a:cubicBezTo>
                <a:cubicBezTo>
                  <a:pt x="5300" y="2025"/>
                  <a:pt x="5326" y="2001"/>
                  <a:pt x="5300" y="1975"/>
                </a:cubicBezTo>
                <a:cubicBezTo>
                  <a:pt x="5276" y="1975"/>
                  <a:pt x="5300" y="1925"/>
                  <a:pt x="5326" y="1901"/>
                </a:cubicBezTo>
                <a:cubicBezTo>
                  <a:pt x="5351" y="1850"/>
                  <a:pt x="5326" y="1775"/>
                  <a:pt x="5276" y="1775"/>
                </a:cubicBezTo>
                <a:cubicBezTo>
                  <a:pt x="5251" y="1750"/>
                  <a:pt x="5251" y="1801"/>
                  <a:pt x="5251" y="1801"/>
                </a:cubicBezTo>
                <a:cubicBezTo>
                  <a:pt x="5276" y="1825"/>
                  <a:pt x="5276" y="1875"/>
                  <a:pt x="5226" y="1901"/>
                </a:cubicBezTo>
                <a:cubicBezTo>
                  <a:pt x="5201" y="1950"/>
                  <a:pt x="5126" y="1950"/>
                  <a:pt x="5126" y="1975"/>
                </a:cubicBezTo>
                <a:cubicBezTo>
                  <a:pt x="5126" y="2001"/>
                  <a:pt x="5076" y="2001"/>
                  <a:pt x="5076" y="2025"/>
                </a:cubicBezTo>
                <a:cubicBezTo>
                  <a:pt x="5100" y="2050"/>
                  <a:pt x="5176" y="2125"/>
                  <a:pt x="5201" y="2150"/>
                </a:cubicBezTo>
                <a:cubicBezTo>
                  <a:pt x="5201" y="2175"/>
                  <a:pt x="5126" y="2275"/>
                  <a:pt x="5151" y="2301"/>
                </a:cubicBezTo>
                <a:cubicBezTo>
                  <a:pt x="5151" y="2350"/>
                  <a:pt x="5126" y="2375"/>
                  <a:pt x="5151" y="2400"/>
                </a:cubicBezTo>
                <a:cubicBezTo>
                  <a:pt x="5151" y="2425"/>
                  <a:pt x="5201" y="2400"/>
                  <a:pt x="5226" y="2425"/>
                </a:cubicBezTo>
                <a:cubicBezTo>
                  <a:pt x="5226" y="2425"/>
                  <a:pt x="5276" y="2400"/>
                  <a:pt x="5326" y="2400"/>
                </a:cubicBezTo>
                <a:cubicBezTo>
                  <a:pt x="5376" y="2375"/>
                  <a:pt x="5476" y="2450"/>
                  <a:pt x="5501" y="2450"/>
                </a:cubicBezTo>
                <a:cubicBezTo>
                  <a:pt x="5551" y="2475"/>
                  <a:pt x="5526" y="2500"/>
                  <a:pt x="5551" y="2526"/>
                </a:cubicBezTo>
                <a:cubicBezTo>
                  <a:pt x="5551" y="2550"/>
                  <a:pt x="5501" y="2550"/>
                  <a:pt x="5501" y="2601"/>
                </a:cubicBezTo>
                <a:cubicBezTo>
                  <a:pt x="5501" y="2650"/>
                  <a:pt x="5601" y="2650"/>
                  <a:pt x="5601" y="2675"/>
                </a:cubicBezTo>
                <a:cubicBezTo>
                  <a:pt x="5601" y="2675"/>
                  <a:pt x="5526" y="2675"/>
                  <a:pt x="5501" y="2650"/>
                </a:cubicBezTo>
                <a:cubicBezTo>
                  <a:pt x="5476" y="2650"/>
                  <a:pt x="5476" y="2601"/>
                  <a:pt x="5451" y="2601"/>
                </a:cubicBezTo>
                <a:cubicBezTo>
                  <a:pt x="5451" y="2601"/>
                  <a:pt x="5476" y="2550"/>
                  <a:pt x="5476" y="2526"/>
                </a:cubicBezTo>
                <a:cubicBezTo>
                  <a:pt x="5476" y="2500"/>
                  <a:pt x="5451" y="2500"/>
                  <a:pt x="5426" y="2475"/>
                </a:cubicBezTo>
                <a:cubicBezTo>
                  <a:pt x="5426" y="2450"/>
                  <a:pt x="5401" y="2425"/>
                  <a:pt x="5376" y="2425"/>
                </a:cubicBezTo>
                <a:cubicBezTo>
                  <a:pt x="5351" y="2450"/>
                  <a:pt x="5251" y="2450"/>
                  <a:pt x="5226" y="2475"/>
                </a:cubicBezTo>
                <a:cubicBezTo>
                  <a:pt x="5201" y="2500"/>
                  <a:pt x="5226" y="2575"/>
                  <a:pt x="5251" y="2601"/>
                </a:cubicBezTo>
                <a:cubicBezTo>
                  <a:pt x="5276" y="2650"/>
                  <a:pt x="5176" y="2701"/>
                  <a:pt x="5176" y="2726"/>
                </a:cubicBezTo>
                <a:cubicBezTo>
                  <a:pt x="5176" y="2750"/>
                  <a:pt x="5151" y="2750"/>
                  <a:pt x="5100" y="2775"/>
                </a:cubicBezTo>
                <a:cubicBezTo>
                  <a:pt x="5051" y="2801"/>
                  <a:pt x="5001" y="2826"/>
                  <a:pt x="5026" y="2850"/>
                </a:cubicBezTo>
                <a:cubicBezTo>
                  <a:pt x="5026" y="2901"/>
                  <a:pt x="4951" y="2875"/>
                  <a:pt x="4926" y="2850"/>
                </a:cubicBezTo>
                <a:cubicBezTo>
                  <a:pt x="4901" y="2826"/>
                  <a:pt x="4851" y="2875"/>
                  <a:pt x="4826" y="2850"/>
                </a:cubicBezTo>
                <a:cubicBezTo>
                  <a:pt x="4775" y="2850"/>
                  <a:pt x="4775" y="2826"/>
                  <a:pt x="4751" y="2850"/>
                </a:cubicBezTo>
                <a:cubicBezTo>
                  <a:pt x="4701" y="2850"/>
                  <a:pt x="4701" y="2826"/>
                  <a:pt x="4701" y="2801"/>
                </a:cubicBezTo>
                <a:cubicBezTo>
                  <a:pt x="4701" y="2775"/>
                  <a:pt x="4751" y="2801"/>
                  <a:pt x="4751" y="2801"/>
                </a:cubicBezTo>
                <a:cubicBezTo>
                  <a:pt x="4751" y="2826"/>
                  <a:pt x="4775" y="2826"/>
                  <a:pt x="4801" y="2801"/>
                </a:cubicBezTo>
                <a:cubicBezTo>
                  <a:pt x="4826" y="2801"/>
                  <a:pt x="4826" y="2826"/>
                  <a:pt x="4851" y="2826"/>
                </a:cubicBezTo>
                <a:cubicBezTo>
                  <a:pt x="4901" y="2826"/>
                  <a:pt x="4875" y="2801"/>
                  <a:pt x="4901" y="2801"/>
                </a:cubicBezTo>
                <a:cubicBezTo>
                  <a:pt x="4926" y="2801"/>
                  <a:pt x="4951" y="2801"/>
                  <a:pt x="4926" y="2775"/>
                </a:cubicBezTo>
                <a:cubicBezTo>
                  <a:pt x="4926" y="2775"/>
                  <a:pt x="4951" y="2750"/>
                  <a:pt x="4975" y="2750"/>
                </a:cubicBezTo>
                <a:cubicBezTo>
                  <a:pt x="5001" y="2750"/>
                  <a:pt x="4975" y="2701"/>
                  <a:pt x="5001" y="2701"/>
                </a:cubicBezTo>
                <a:cubicBezTo>
                  <a:pt x="5026" y="2701"/>
                  <a:pt x="5001" y="2675"/>
                  <a:pt x="5026" y="2675"/>
                </a:cubicBezTo>
                <a:cubicBezTo>
                  <a:pt x="5051" y="2675"/>
                  <a:pt x="5051" y="2650"/>
                  <a:pt x="5076" y="2650"/>
                </a:cubicBezTo>
                <a:cubicBezTo>
                  <a:pt x="5100" y="2650"/>
                  <a:pt x="5100" y="2601"/>
                  <a:pt x="5076" y="2601"/>
                </a:cubicBezTo>
                <a:cubicBezTo>
                  <a:pt x="5076" y="2575"/>
                  <a:pt x="5100" y="2550"/>
                  <a:pt x="5100" y="2526"/>
                </a:cubicBezTo>
                <a:cubicBezTo>
                  <a:pt x="5126" y="2526"/>
                  <a:pt x="5126" y="2500"/>
                  <a:pt x="5126" y="2500"/>
                </a:cubicBezTo>
                <a:cubicBezTo>
                  <a:pt x="5100" y="2475"/>
                  <a:pt x="5026" y="2450"/>
                  <a:pt x="5051" y="2425"/>
                </a:cubicBezTo>
                <a:cubicBezTo>
                  <a:pt x="5051" y="2400"/>
                  <a:pt x="5026" y="2350"/>
                  <a:pt x="5051" y="2325"/>
                </a:cubicBezTo>
                <a:cubicBezTo>
                  <a:pt x="5051" y="2301"/>
                  <a:pt x="5051" y="2250"/>
                  <a:pt x="5026" y="2225"/>
                </a:cubicBezTo>
                <a:cubicBezTo>
                  <a:pt x="5026" y="2201"/>
                  <a:pt x="5051" y="2175"/>
                  <a:pt x="5051" y="2125"/>
                </a:cubicBezTo>
                <a:cubicBezTo>
                  <a:pt x="5076" y="2101"/>
                  <a:pt x="5001" y="2050"/>
                  <a:pt x="4975" y="2025"/>
                </a:cubicBezTo>
                <a:cubicBezTo>
                  <a:pt x="4951" y="2025"/>
                  <a:pt x="4975" y="2001"/>
                  <a:pt x="5026" y="1950"/>
                </a:cubicBezTo>
                <a:cubicBezTo>
                  <a:pt x="5051" y="1925"/>
                  <a:pt x="5051" y="1825"/>
                  <a:pt x="5051" y="1801"/>
                </a:cubicBezTo>
                <a:cubicBezTo>
                  <a:pt x="5051" y="1775"/>
                  <a:pt x="4975" y="1750"/>
                  <a:pt x="4951" y="1750"/>
                </a:cubicBezTo>
                <a:cubicBezTo>
                  <a:pt x="4901" y="1750"/>
                  <a:pt x="4801" y="1750"/>
                  <a:pt x="4751" y="1750"/>
                </a:cubicBezTo>
                <a:cubicBezTo>
                  <a:pt x="4726" y="1750"/>
                  <a:pt x="4726" y="1775"/>
                  <a:pt x="4701" y="1801"/>
                </a:cubicBezTo>
                <a:cubicBezTo>
                  <a:pt x="4701" y="1825"/>
                  <a:pt x="4651" y="1875"/>
                  <a:pt x="4651" y="1925"/>
                </a:cubicBezTo>
                <a:cubicBezTo>
                  <a:pt x="4626" y="2001"/>
                  <a:pt x="4551" y="2025"/>
                  <a:pt x="4526" y="2025"/>
                </a:cubicBezTo>
                <a:cubicBezTo>
                  <a:pt x="4475" y="2050"/>
                  <a:pt x="4475" y="2101"/>
                  <a:pt x="4475" y="2125"/>
                </a:cubicBezTo>
                <a:cubicBezTo>
                  <a:pt x="4501" y="2125"/>
                  <a:pt x="4526" y="2125"/>
                  <a:pt x="4526" y="2125"/>
                </a:cubicBezTo>
                <a:cubicBezTo>
                  <a:pt x="4551" y="2125"/>
                  <a:pt x="4526" y="2201"/>
                  <a:pt x="4526" y="2201"/>
                </a:cubicBezTo>
                <a:cubicBezTo>
                  <a:pt x="4501" y="2201"/>
                  <a:pt x="4551" y="2225"/>
                  <a:pt x="4526" y="2250"/>
                </a:cubicBezTo>
                <a:cubicBezTo>
                  <a:pt x="4501" y="2250"/>
                  <a:pt x="4475" y="2301"/>
                  <a:pt x="4475" y="2301"/>
                </a:cubicBezTo>
                <a:cubicBezTo>
                  <a:pt x="4501" y="2325"/>
                  <a:pt x="4575" y="2325"/>
                  <a:pt x="4601" y="2350"/>
                </a:cubicBezTo>
                <a:cubicBezTo>
                  <a:pt x="4626" y="2375"/>
                  <a:pt x="4626" y="2400"/>
                  <a:pt x="4626" y="2425"/>
                </a:cubicBezTo>
                <a:cubicBezTo>
                  <a:pt x="4651" y="2450"/>
                  <a:pt x="4675" y="2450"/>
                  <a:pt x="4701" y="2450"/>
                </a:cubicBezTo>
                <a:cubicBezTo>
                  <a:pt x="4701" y="2475"/>
                  <a:pt x="4651" y="2550"/>
                  <a:pt x="4626" y="2550"/>
                </a:cubicBezTo>
                <a:cubicBezTo>
                  <a:pt x="4626" y="2550"/>
                  <a:pt x="4551" y="2475"/>
                  <a:pt x="4526" y="2450"/>
                </a:cubicBezTo>
                <a:cubicBezTo>
                  <a:pt x="4501" y="2450"/>
                  <a:pt x="4401" y="2425"/>
                  <a:pt x="4375" y="2400"/>
                </a:cubicBezTo>
                <a:cubicBezTo>
                  <a:pt x="4326" y="2375"/>
                  <a:pt x="4301" y="2375"/>
                  <a:pt x="4251" y="2350"/>
                </a:cubicBezTo>
                <a:cubicBezTo>
                  <a:pt x="4201" y="2301"/>
                  <a:pt x="4151" y="2301"/>
                  <a:pt x="4075" y="2301"/>
                </a:cubicBezTo>
                <a:cubicBezTo>
                  <a:pt x="3975" y="2301"/>
                  <a:pt x="3926" y="2275"/>
                  <a:pt x="3901" y="2275"/>
                </a:cubicBezTo>
                <a:cubicBezTo>
                  <a:pt x="3875" y="2275"/>
                  <a:pt x="3875" y="2250"/>
                  <a:pt x="3826" y="2225"/>
                </a:cubicBezTo>
                <a:cubicBezTo>
                  <a:pt x="3775" y="2201"/>
                  <a:pt x="3750" y="2175"/>
                  <a:pt x="3726" y="2201"/>
                </a:cubicBezTo>
                <a:cubicBezTo>
                  <a:pt x="3675" y="2201"/>
                  <a:pt x="3701" y="2275"/>
                  <a:pt x="3750" y="2275"/>
                </a:cubicBezTo>
                <a:cubicBezTo>
                  <a:pt x="3775" y="2275"/>
                  <a:pt x="3775" y="2301"/>
                  <a:pt x="3800" y="2301"/>
                </a:cubicBezTo>
                <a:cubicBezTo>
                  <a:pt x="3850" y="2301"/>
                  <a:pt x="3875" y="2325"/>
                  <a:pt x="3875" y="2350"/>
                </a:cubicBezTo>
                <a:cubicBezTo>
                  <a:pt x="3875" y="2375"/>
                  <a:pt x="3901" y="2400"/>
                  <a:pt x="3926" y="2425"/>
                </a:cubicBezTo>
                <a:cubicBezTo>
                  <a:pt x="3926" y="2450"/>
                  <a:pt x="3926" y="2475"/>
                  <a:pt x="3875" y="2475"/>
                </a:cubicBezTo>
                <a:cubicBezTo>
                  <a:pt x="3850" y="2475"/>
                  <a:pt x="3800" y="2475"/>
                  <a:pt x="3826" y="2500"/>
                </a:cubicBezTo>
                <a:cubicBezTo>
                  <a:pt x="3850" y="2526"/>
                  <a:pt x="3800" y="2526"/>
                  <a:pt x="3775" y="2526"/>
                </a:cubicBezTo>
                <a:cubicBezTo>
                  <a:pt x="3726" y="2500"/>
                  <a:pt x="3750" y="2475"/>
                  <a:pt x="3775" y="2475"/>
                </a:cubicBezTo>
                <a:cubicBezTo>
                  <a:pt x="3800" y="2450"/>
                  <a:pt x="3750" y="2425"/>
                  <a:pt x="3726" y="2425"/>
                </a:cubicBezTo>
                <a:cubicBezTo>
                  <a:pt x="3701" y="2425"/>
                  <a:pt x="3601" y="2475"/>
                  <a:pt x="3575" y="2500"/>
                </a:cubicBezTo>
                <a:cubicBezTo>
                  <a:pt x="3550" y="2500"/>
                  <a:pt x="3475" y="2475"/>
                  <a:pt x="3426" y="2500"/>
                </a:cubicBezTo>
                <a:cubicBezTo>
                  <a:pt x="3350" y="2526"/>
                  <a:pt x="3350" y="2575"/>
                  <a:pt x="3326" y="2550"/>
                </a:cubicBezTo>
                <a:cubicBezTo>
                  <a:pt x="3301" y="2550"/>
                  <a:pt x="3225" y="2575"/>
                  <a:pt x="3201" y="2550"/>
                </a:cubicBezTo>
                <a:cubicBezTo>
                  <a:pt x="3175" y="2526"/>
                  <a:pt x="3201" y="2526"/>
                  <a:pt x="3225" y="2526"/>
                </a:cubicBezTo>
                <a:cubicBezTo>
                  <a:pt x="3250" y="2526"/>
                  <a:pt x="3250" y="2526"/>
                  <a:pt x="3250" y="2500"/>
                </a:cubicBezTo>
                <a:cubicBezTo>
                  <a:pt x="3225" y="2475"/>
                  <a:pt x="3275" y="2450"/>
                  <a:pt x="3275" y="2425"/>
                </a:cubicBezTo>
                <a:cubicBezTo>
                  <a:pt x="3275" y="2425"/>
                  <a:pt x="3150" y="2450"/>
                  <a:pt x="3150" y="2475"/>
                </a:cubicBezTo>
                <a:cubicBezTo>
                  <a:pt x="3125" y="2475"/>
                  <a:pt x="3150" y="2526"/>
                  <a:pt x="3125" y="2526"/>
                </a:cubicBezTo>
                <a:cubicBezTo>
                  <a:pt x="3101" y="2526"/>
                  <a:pt x="3101" y="2500"/>
                  <a:pt x="3075" y="2500"/>
                </a:cubicBezTo>
                <a:cubicBezTo>
                  <a:pt x="3050" y="2500"/>
                  <a:pt x="2901" y="2526"/>
                  <a:pt x="2875" y="2575"/>
                </a:cubicBezTo>
                <a:cubicBezTo>
                  <a:pt x="2825" y="2601"/>
                  <a:pt x="2775" y="2601"/>
                  <a:pt x="2775" y="2626"/>
                </a:cubicBezTo>
                <a:cubicBezTo>
                  <a:pt x="2775" y="2650"/>
                  <a:pt x="2701" y="2626"/>
                  <a:pt x="2675" y="2650"/>
                </a:cubicBezTo>
                <a:cubicBezTo>
                  <a:pt x="2650" y="2675"/>
                  <a:pt x="2650" y="2726"/>
                  <a:pt x="2650" y="2750"/>
                </a:cubicBezTo>
                <a:cubicBezTo>
                  <a:pt x="2650" y="2775"/>
                  <a:pt x="2525" y="2775"/>
                  <a:pt x="2500" y="2775"/>
                </a:cubicBezTo>
                <a:cubicBezTo>
                  <a:pt x="2450" y="2775"/>
                  <a:pt x="2450" y="2701"/>
                  <a:pt x="2425" y="2701"/>
                </a:cubicBezTo>
                <a:cubicBezTo>
                  <a:pt x="2375" y="2701"/>
                  <a:pt x="2401" y="2650"/>
                  <a:pt x="2401" y="2650"/>
                </a:cubicBezTo>
                <a:cubicBezTo>
                  <a:pt x="2425" y="2626"/>
                  <a:pt x="2450" y="2626"/>
                  <a:pt x="2475" y="2626"/>
                </a:cubicBezTo>
                <a:cubicBezTo>
                  <a:pt x="2500" y="2601"/>
                  <a:pt x="2550" y="2626"/>
                  <a:pt x="2550" y="2601"/>
                </a:cubicBezTo>
                <a:cubicBezTo>
                  <a:pt x="2575" y="2601"/>
                  <a:pt x="2500" y="2550"/>
                  <a:pt x="2500" y="2526"/>
                </a:cubicBezTo>
                <a:cubicBezTo>
                  <a:pt x="2500" y="2475"/>
                  <a:pt x="2425" y="2475"/>
                  <a:pt x="2375" y="2475"/>
                </a:cubicBezTo>
                <a:cubicBezTo>
                  <a:pt x="2350" y="2500"/>
                  <a:pt x="2300" y="2500"/>
                  <a:pt x="2275" y="2475"/>
                </a:cubicBezTo>
                <a:cubicBezTo>
                  <a:pt x="2250" y="2450"/>
                  <a:pt x="2250" y="2500"/>
                  <a:pt x="2275" y="2500"/>
                </a:cubicBezTo>
                <a:cubicBezTo>
                  <a:pt x="2325" y="2526"/>
                  <a:pt x="2300" y="2550"/>
                  <a:pt x="2300" y="2575"/>
                </a:cubicBezTo>
                <a:cubicBezTo>
                  <a:pt x="2325" y="2601"/>
                  <a:pt x="2300" y="2650"/>
                  <a:pt x="2275" y="2675"/>
                </a:cubicBezTo>
                <a:cubicBezTo>
                  <a:pt x="2250" y="2726"/>
                  <a:pt x="2275" y="2726"/>
                  <a:pt x="2300" y="2726"/>
                </a:cubicBezTo>
                <a:cubicBezTo>
                  <a:pt x="2350" y="2701"/>
                  <a:pt x="2350" y="2750"/>
                  <a:pt x="2350" y="2801"/>
                </a:cubicBezTo>
                <a:cubicBezTo>
                  <a:pt x="2350" y="2826"/>
                  <a:pt x="2300" y="2850"/>
                  <a:pt x="2300" y="2875"/>
                </a:cubicBezTo>
                <a:cubicBezTo>
                  <a:pt x="2300" y="2901"/>
                  <a:pt x="2275" y="2850"/>
                  <a:pt x="2275" y="2875"/>
                </a:cubicBezTo>
                <a:cubicBezTo>
                  <a:pt x="2250" y="2875"/>
                  <a:pt x="2250" y="2850"/>
                  <a:pt x="2250" y="2850"/>
                </a:cubicBezTo>
                <a:cubicBezTo>
                  <a:pt x="2250" y="2826"/>
                  <a:pt x="2175" y="2826"/>
                  <a:pt x="2150" y="2826"/>
                </a:cubicBezTo>
                <a:cubicBezTo>
                  <a:pt x="2125" y="2826"/>
                  <a:pt x="2100" y="2826"/>
                  <a:pt x="2100" y="2850"/>
                </a:cubicBezTo>
                <a:cubicBezTo>
                  <a:pt x="2075" y="2875"/>
                  <a:pt x="2025" y="2875"/>
                  <a:pt x="2000" y="2875"/>
                </a:cubicBezTo>
                <a:cubicBezTo>
                  <a:pt x="1975" y="2901"/>
                  <a:pt x="1950" y="2926"/>
                  <a:pt x="1925" y="2950"/>
                </a:cubicBezTo>
                <a:cubicBezTo>
                  <a:pt x="1900" y="2975"/>
                  <a:pt x="1875" y="3001"/>
                  <a:pt x="1925" y="3026"/>
                </a:cubicBezTo>
                <a:cubicBezTo>
                  <a:pt x="1950" y="3075"/>
                  <a:pt x="1975" y="3101"/>
                  <a:pt x="1950" y="3101"/>
                </a:cubicBezTo>
                <a:cubicBezTo>
                  <a:pt x="1950" y="3126"/>
                  <a:pt x="1875" y="3126"/>
                  <a:pt x="1850" y="3101"/>
                </a:cubicBezTo>
                <a:cubicBezTo>
                  <a:pt x="1825" y="3075"/>
                  <a:pt x="1775" y="3075"/>
                  <a:pt x="1750" y="3075"/>
                </a:cubicBezTo>
                <a:cubicBezTo>
                  <a:pt x="1725" y="3075"/>
                  <a:pt x="1675" y="3026"/>
                  <a:pt x="1650" y="3026"/>
                </a:cubicBezTo>
                <a:cubicBezTo>
                  <a:pt x="1625" y="3026"/>
                  <a:pt x="1600" y="3050"/>
                  <a:pt x="1575" y="3075"/>
                </a:cubicBezTo>
                <a:cubicBezTo>
                  <a:pt x="1575" y="3075"/>
                  <a:pt x="1600" y="3101"/>
                  <a:pt x="1625" y="3126"/>
                </a:cubicBezTo>
                <a:cubicBezTo>
                  <a:pt x="1625" y="3150"/>
                  <a:pt x="1675" y="3150"/>
                  <a:pt x="1700" y="3150"/>
                </a:cubicBezTo>
                <a:cubicBezTo>
                  <a:pt x="1725" y="3150"/>
                  <a:pt x="1725" y="3201"/>
                  <a:pt x="1725" y="3201"/>
                </a:cubicBezTo>
                <a:cubicBezTo>
                  <a:pt x="1700" y="3226"/>
                  <a:pt x="1650" y="3250"/>
                  <a:pt x="1650" y="3226"/>
                </a:cubicBezTo>
                <a:cubicBezTo>
                  <a:pt x="1625" y="3201"/>
                  <a:pt x="1575" y="3226"/>
                  <a:pt x="1575" y="3201"/>
                </a:cubicBezTo>
                <a:cubicBezTo>
                  <a:pt x="1575" y="3175"/>
                  <a:pt x="1525" y="3150"/>
                  <a:pt x="1475" y="3150"/>
                </a:cubicBezTo>
                <a:cubicBezTo>
                  <a:pt x="1450" y="3150"/>
                  <a:pt x="1425" y="3126"/>
                  <a:pt x="1425" y="3101"/>
                </a:cubicBezTo>
                <a:cubicBezTo>
                  <a:pt x="1450" y="3075"/>
                  <a:pt x="1400" y="3050"/>
                  <a:pt x="1425" y="3026"/>
                </a:cubicBezTo>
                <a:cubicBezTo>
                  <a:pt x="1425" y="3026"/>
                  <a:pt x="1400" y="2975"/>
                  <a:pt x="1425" y="2975"/>
                </a:cubicBezTo>
                <a:cubicBezTo>
                  <a:pt x="1450" y="2950"/>
                  <a:pt x="1425" y="2926"/>
                  <a:pt x="1425" y="2901"/>
                </a:cubicBezTo>
                <a:cubicBezTo>
                  <a:pt x="1425" y="2875"/>
                  <a:pt x="1375" y="2850"/>
                  <a:pt x="1350" y="2850"/>
                </a:cubicBezTo>
                <a:cubicBezTo>
                  <a:pt x="1325" y="2850"/>
                  <a:pt x="1325" y="2826"/>
                  <a:pt x="1300" y="2826"/>
                </a:cubicBezTo>
                <a:cubicBezTo>
                  <a:pt x="1275" y="2801"/>
                  <a:pt x="1200" y="2750"/>
                  <a:pt x="1200" y="2726"/>
                </a:cubicBezTo>
                <a:cubicBezTo>
                  <a:pt x="1200" y="2726"/>
                  <a:pt x="1150" y="2726"/>
                  <a:pt x="1175" y="2701"/>
                </a:cubicBezTo>
                <a:cubicBezTo>
                  <a:pt x="1175" y="2701"/>
                  <a:pt x="1225" y="2701"/>
                  <a:pt x="1250" y="2726"/>
                </a:cubicBezTo>
                <a:cubicBezTo>
                  <a:pt x="1275" y="2750"/>
                  <a:pt x="1300" y="2775"/>
                  <a:pt x="1375" y="2801"/>
                </a:cubicBezTo>
                <a:cubicBezTo>
                  <a:pt x="1450" y="2801"/>
                  <a:pt x="1475" y="2826"/>
                  <a:pt x="1550" y="2850"/>
                </a:cubicBezTo>
                <a:cubicBezTo>
                  <a:pt x="1600" y="2850"/>
                  <a:pt x="1650" y="2850"/>
                  <a:pt x="1750" y="2875"/>
                </a:cubicBezTo>
                <a:cubicBezTo>
                  <a:pt x="1850" y="2901"/>
                  <a:pt x="2000" y="2775"/>
                  <a:pt x="2025" y="2750"/>
                </a:cubicBezTo>
                <a:cubicBezTo>
                  <a:pt x="2050" y="2726"/>
                  <a:pt x="2025" y="2675"/>
                  <a:pt x="2025" y="2650"/>
                </a:cubicBezTo>
                <a:cubicBezTo>
                  <a:pt x="2025" y="2626"/>
                  <a:pt x="1975" y="2626"/>
                  <a:pt x="1975" y="2601"/>
                </a:cubicBezTo>
                <a:cubicBezTo>
                  <a:pt x="1950" y="2601"/>
                  <a:pt x="1925" y="2550"/>
                  <a:pt x="1900" y="2550"/>
                </a:cubicBezTo>
                <a:cubicBezTo>
                  <a:pt x="1850" y="2550"/>
                  <a:pt x="1850" y="2500"/>
                  <a:pt x="1800" y="2526"/>
                </a:cubicBezTo>
                <a:cubicBezTo>
                  <a:pt x="1775" y="2526"/>
                  <a:pt x="1750" y="2500"/>
                  <a:pt x="1675" y="2450"/>
                </a:cubicBezTo>
                <a:cubicBezTo>
                  <a:pt x="1600" y="2400"/>
                  <a:pt x="1475" y="2350"/>
                  <a:pt x="1450" y="2350"/>
                </a:cubicBezTo>
                <a:cubicBezTo>
                  <a:pt x="1425" y="2375"/>
                  <a:pt x="1425" y="2375"/>
                  <a:pt x="1400" y="2350"/>
                </a:cubicBezTo>
                <a:cubicBezTo>
                  <a:pt x="1400" y="2325"/>
                  <a:pt x="1350" y="2325"/>
                  <a:pt x="1350" y="2350"/>
                </a:cubicBezTo>
                <a:cubicBezTo>
                  <a:pt x="1325" y="2375"/>
                  <a:pt x="1300" y="2325"/>
                  <a:pt x="1250" y="2350"/>
                </a:cubicBezTo>
                <a:cubicBezTo>
                  <a:pt x="1200" y="2350"/>
                  <a:pt x="1200" y="2325"/>
                  <a:pt x="1200" y="2325"/>
                </a:cubicBezTo>
                <a:cubicBezTo>
                  <a:pt x="1200" y="2301"/>
                  <a:pt x="1275" y="2325"/>
                  <a:pt x="1275" y="2301"/>
                </a:cubicBezTo>
                <a:cubicBezTo>
                  <a:pt x="1275" y="2275"/>
                  <a:pt x="1250" y="2301"/>
                  <a:pt x="1200" y="2275"/>
                </a:cubicBezTo>
                <a:cubicBezTo>
                  <a:pt x="1175" y="2250"/>
                  <a:pt x="1150" y="2250"/>
                  <a:pt x="1150" y="2275"/>
                </a:cubicBezTo>
                <a:cubicBezTo>
                  <a:pt x="1125" y="2301"/>
                  <a:pt x="1100" y="2301"/>
                  <a:pt x="1075" y="2275"/>
                </a:cubicBezTo>
                <a:lnTo>
                  <a:pt x="1075" y="2275"/>
                </a:lnTo>
                <a:cubicBezTo>
                  <a:pt x="1075" y="2301"/>
                  <a:pt x="1050" y="2301"/>
                  <a:pt x="1025" y="2301"/>
                </a:cubicBezTo>
                <a:cubicBezTo>
                  <a:pt x="999" y="2301"/>
                  <a:pt x="975" y="2350"/>
                  <a:pt x="950" y="2350"/>
                </a:cubicBezTo>
                <a:cubicBezTo>
                  <a:pt x="925" y="2350"/>
                  <a:pt x="900" y="2375"/>
                  <a:pt x="875" y="2400"/>
                </a:cubicBezTo>
                <a:cubicBezTo>
                  <a:pt x="875" y="2425"/>
                  <a:pt x="850" y="2400"/>
                  <a:pt x="850" y="2425"/>
                </a:cubicBezTo>
                <a:cubicBezTo>
                  <a:pt x="850" y="2450"/>
                  <a:pt x="850" y="2450"/>
                  <a:pt x="825" y="2475"/>
                </a:cubicBezTo>
                <a:cubicBezTo>
                  <a:pt x="825" y="2500"/>
                  <a:pt x="825" y="2500"/>
                  <a:pt x="850" y="2526"/>
                </a:cubicBezTo>
                <a:cubicBezTo>
                  <a:pt x="875" y="2550"/>
                  <a:pt x="900" y="2550"/>
                  <a:pt x="900" y="2575"/>
                </a:cubicBezTo>
                <a:cubicBezTo>
                  <a:pt x="925" y="2575"/>
                  <a:pt x="975" y="2626"/>
                  <a:pt x="975" y="2626"/>
                </a:cubicBezTo>
                <a:cubicBezTo>
                  <a:pt x="975" y="2650"/>
                  <a:pt x="925" y="2701"/>
                  <a:pt x="925" y="2701"/>
                </a:cubicBezTo>
                <a:cubicBezTo>
                  <a:pt x="900" y="2726"/>
                  <a:pt x="875" y="2750"/>
                  <a:pt x="900" y="2750"/>
                </a:cubicBezTo>
                <a:cubicBezTo>
                  <a:pt x="900" y="2775"/>
                  <a:pt x="950" y="2850"/>
                  <a:pt x="975" y="2901"/>
                </a:cubicBezTo>
                <a:cubicBezTo>
                  <a:pt x="999" y="2950"/>
                  <a:pt x="975" y="2926"/>
                  <a:pt x="950" y="2950"/>
                </a:cubicBezTo>
                <a:cubicBezTo>
                  <a:pt x="925" y="2975"/>
                  <a:pt x="950" y="3001"/>
                  <a:pt x="950" y="3026"/>
                </a:cubicBezTo>
                <a:cubicBezTo>
                  <a:pt x="975" y="3050"/>
                  <a:pt x="925" y="3050"/>
                  <a:pt x="950" y="3050"/>
                </a:cubicBezTo>
                <a:cubicBezTo>
                  <a:pt x="950" y="3075"/>
                  <a:pt x="975" y="3075"/>
                  <a:pt x="975" y="3075"/>
                </a:cubicBezTo>
                <a:cubicBezTo>
                  <a:pt x="999" y="3101"/>
                  <a:pt x="950" y="3101"/>
                  <a:pt x="975" y="3126"/>
                </a:cubicBezTo>
                <a:cubicBezTo>
                  <a:pt x="975" y="3150"/>
                  <a:pt x="1025" y="3150"/>
                  <a:pt x="1025" y="3175"/>
                </a:cubicBezTo>
                <a:cubicBezTo>
                  <a:pt x="1025" y="3201"/>
                  <a:pt x="950" y="3226"/>
                  <a:pt x="975" y="3226"/>
                </a:cubicBezTo>
                <a:cubicBezTo>
                  <a:pt x="975" y="3250"/>
                  <a:pt x="1050" y="3275"/>
                  <a:pt x="1075" y="3326"/>
                </a:cubicBezTo>
                <a:cubicBezTo>
                  <a:pt x="1125" y="3375"/>
                  <a:pt x="1125" y="3375"/>
                  <a:pt x="1100" y="3401"/>
                </a:cubicBezTo>
                <a:cubicBezTo>
                  <a:pt x="1100" y="3450"/>
                  <a:pt x="999" y="3475"/>
                  <a:pt x="975" y="3526"/>
                </a:cubicBezTo>
                <a:cubicBezTo>
                  <a:pt x="950" y="3575"/>
                  <a:pt x="875" y="3626"/>
                  <a:pt x="825" y="3650"/>
                </a:cubicBezTo>
                <a:cubicBezTo>
                  <a:pt x="799" y="3675"/>
                  <a:pt x="799" y="3701"/>
                  <a:pt x="775" y="3701"/>
                </a:cubicBezTo>
                <a:cubicBezTo>
                  <a:pt x="799" y="3701"/>
                  <a:pt x="799" y="3701"/>
                  <a:pt x="825" y="3701"/>
                </a:cubicBezTo>
                <a:cubicBezTo>
                  <a:pt x="850" y="3675"/>
                  <a:pt x="850" y="3751"/>
                  <a:pt x="875" y="3751"/>
                </a:cubicBezTo>
                <a:cubicBezTo>
                  <a:pt x="900" y="3775"/>
                  <a:pt x="950" y="3751"/>
                  <a:pt x="950" y="3775"/>
                </a:cubicBezTo>
                <a:cubicBezTo>
                  <a:pt x="975" y="3800"/>
                  <a:pt x="950" y="3800"/>
                  <a:pt x="925" y="3775"/>
                </a:cubicBezTo>
                <a:cubicBezTo>
                  <a:pt x="875" y="3775"/>
                  <a:pt x="875" y="3800"/>
                  <a:pt x="825" y="3826"/>
                </a:cubicBezTo>
                <a:cubicBezTo>
                  <a:pt x="799" y="3826"/>
                  <a:pt x="799" y="3851"/>
                  <a:pt x="775" y="3851"/>
                </a:cubicBezTo>
                <a:cubicBezTo>
                  <a:pt x="799" y="3875"/>
                  <a:pt x="775" y="3901"/>
                  <a:pt x="750" y="3926"/>
                </a:cubicBezTo>
                <a:cubicBezTo>
                  <a:pt x="750" y="3951"/>
                  <a:pt x="725" y="3951"/>
                  <a:pt x="725" y="3975"/>
                </a:cubicBezTo>
                <a:cubicBezTo>
                  <a:pt x="725" y="3975"/>
                  <a:pt x="725" y="4001"/>
                  <a:pt x="725" y="4026"/>
                </a:cubicBezTo>
                <a:cubicBezTo>
                  <a:pt x="750" y="4051"/>
                  <a:pt x="750" y="4051"/>
                  <a:pt x="750" y="4075"/>
                </a:cubicBezTo>
                <a:cubicBezTo>
                  <a:pt x="775" y="4101"/>
                  <a:pt x="750" y="4101"/>
                  <a:pt x="725" y="4101"/>
                </a:cubicBezTo>
                <a:cubicBezTo>
                  <a:pt x="725" y="4101"/>
                  <a:pt x="725" y="4126"/>
                  <a:pt x="750" y="4151"/>
                </a:cubicBezTo>
                <a:cubicBezTo>
                  <a:pt x="750" y="4175"/>
                  <a:pt x="750" y="4175"/>
                  <a:pt x="750" y="4201"/>
                </a:cubicBezTo>
                <a:cubicBezTo>
                  <a:pt x="750" y="4226"/>
                  <a:pt x="775" y="4251"/>
                  <a:pt x="775" y="4251"/>
                </a:cubicBezTo>
                <a:cubicBezTo>
                  <a:pt x="799" y="4275"/>
                  <a:pt x="799" y="4301"/>
                  <a:pt x="799" y="4326"/>
                </a:cubicBezTo>
                <a:cubicBezTo>
                  <a:pt x="825" y="4326"/>
                  <a:pt x="825" y="4351"/>
                  <a:pt x="850" y="4326"/>
                </a:cubicBezTo>
                <a:cubicBezTo>
                  <a:pt x="875" y="4326"/>
                  <a:pt x="900" y="4351"/>
                  <a:pt x="900" y="4351"/>
                </a:cubicBezTo>
                <a:cubicBezTo>
                  <a:pt x="925" y="4375"/>
                  <a:pt x="925" y="4375"/>
                  <a:pt x="950" y="4351"/>
                </a:cubicBezTo>
                <a:cubicBezTo>
                  <a:pt x="975" y="4351"/>
                  <a:pt x="1025" y="4375"/>
                  <a:pt x="1050" y="4375"/>
                </a:cubicBezTo>
                <a:cubicBezTo>
                  <a:pt x="1050" y="4401"/>
                  <a:pt x="1050" y="4426"/>
                  <a:pt x="1050" y="4451"/>
                </a:cubicBezTo>
                <a:cubicBezTo>
                  <a:pt x="1050" y="4475"/>
                  <a:pt x="1050" y="4501"/>
                  <a:pt x="1075" y="4526"/>
                </a:cubicBezTo>
                <a:cubicBezTo>
                  <a:pt x="1075" y="4526"/>
                  <a:pt x="1075" y="4551"/>
                  <a:pt x="1100" y="4575"/>
                </a:cubicBezTo>
                <a:cubicBezTo>
                  <a:pt x="1125" y="4575"/>
                  <a:pt x="1150" y="4626"/>
                  <a:pt x="1150" y="4626"/>
                </a:cubicBezTo>
                <a:cubicBezTo>
                  <a:pt x="1175" y="4626"/>
                  <a:pt x="1200" y="4651"/>
                  <a:pt x="1225" y="4675"/>
                </a:cubicBezTo>
                <a:cubicBezTo>
                  <a:pt x="1225" y="4701"/>
                  <a:pt x="1175" y="4701"/>
                  <a:pt x="1175" y="4726"/>
                </a:cubicBezTo>
                <a:cubicBezTo>
                  <a:pt x="1150" y="4726"/>
                  <a:pt x="1100" y="4701"/>
                  <a:pt x="1100" y="4701"/>
                </a:cubicBezTo>
                <a:cubicBezTo>
                  <a:pt x="1075" y="4726"/>
                  <a:pt x="1100" y="4751"/>
                  <a:pt x="1125" y="4801"/>
                </a:cubicBezTo>
                <a:cubicBezTo>
                  <a:pt x="1125" y="4851"/>
                  <a:pt x="1125" y="4851"/>
                  <a:pt x="1150" y="4851"/>
                </a:cubicBezTo>
                <a:cubicBezTo>
                  <a:pt x="1175" y="4851"/>
                  <a:pt x="1175" y="4826"/>
                  <a:pt x="1200" y="4826"/>
                </a:cubicBezTo>
                <a:cubicBezTo>
                  <a:pt x="1200" y="4801"/>
                  <a:pt x="1250" y="4826"/>
                  <a:pt x="1250" y="4826"/>
                </a:cubicBezTo>
                <a:cubicBezTo>
                  <a:pt x="1275" y="4801"/>
                  <a:pt x="1325" y="4801"/>
                  <a:pt x="1325" y="4826"/>
                </a:cubicBezTo>
                <a:cubicBezTo>
                  <a:pt x="1350" y="4851"/>
                  <a:pt x="1350" y="4875"/>
                  <a:pt x="1350" y="4901"/>
                </a:cubicBezTo>
                <a:cubicBezTo>
                  <a:pt x="1350" y="4901"/>
                  <a:pt x="1350" y="4926"/>
                  <a:pt x="1375" y="4951"/>
                </a:cubicBezTo>
                <a:cubicBezTo>
                  <a:pt x="1375" y="4976"/>
                  <a:pt x="1425" y="4951"/>
                  <a:pt x="1450" y="4976"/>
                </a:cubicBezTo>
                <a:cubicBezTo>
                  <a:pt x="1450" y="4976"/>
                  <a:pt x="1475" y="5026"/>
                  <a:pt x="1475" y="5051"/>
                </a:cubicBezTo>
                <a:cubicBezTo>
                  <a:pt x="1475" y="5051"/>
                  <a:pt x="1500" y="5076"/>
                  <a:pt x="1525" y="5051"/>
                </a:cubicBezTo>
                <a:lnTo>
                  <a:pt x="1550" y="5076"/>
                </a:lnTo>
                <a:cubicBezTo>
                  <a:pt x="1575" y="5100"/>
                  <a:pt x="1600" y="5076"/>
                  <a:pt x="1600" y="5076"/>
                </a:cubicBezTo>
                <a:cubicBezTo>
                  <a:pt x="1625" y="5076"/>
                  <a:pt x="1650" y="5051"/>
                  <a:pt x="1650" y="5076"/>
                </a:cubicBezTo>
                <a:cubicBezTo>
                  <a:pt x="1675" y="5076"/>
                  <a:pt x="1700" y="5100"/>
                  <a:pt x="1700" y="5126"/>
                </a:cubicBezTo>
                <a:cubicBezTo>
                  <a:pt x="1700" y="5126"/>
                  <a:pt x="1750" y="5126"/>
                  <a:pt x="1775" y="5126"/>
                </a:cubicBezTo>
                <a:cubicBezTo>
                  <a:pt x="1800" y="5151"/>
                  <a:pt x="1825" y="5151"/>
                  <a:pt x="1850" y="5151"/>
                </a:cubicBezTo>
                <a:cubicBezTo>
                  <a:pt x="1875" y="5176"/>
                  <a:pt x="1900" y="5176"/>
                  <a:pt x="1925" y="5176"/>
                </a:cubicBezTo>
                <a:cubicBezTo>
                  <a:pt x="1925" y="5200"/>
                  <a:pt x="1875" y="5226"/>
                  <a:pt x="1875" y="5226"/>
                </a:cubicBezTo>
                <a:lnTo>
                  <a:pt x="1900" y="5251"/>
                </a:lnTo>
                <a:cubicBezTo>
                  <a:pt x="1900" y="5276"/>
                  <a:pt x="1875" y="5276"/>
                  <a:pt x="1875" y="5276"/>
                </a:cubicBezTo>
                <a:lnTo>
                  <a:pt x="1900" y="5301"/>
                </a:lnTo>
                <a:cubicBezTo>
                  <a:pt x="1900" y="5326"/>
                  <a:pt x="1875" y="5351"/>
                  <a:pt x="1875" y="5376"/>
                </a:cubicBezTo>
                <a:cubicBezTo>
                  <a:pt x="1875" y="5376"/>
                  <a:pt x="1825" y="5376"/>
                  <a:pt x="1800" y="5376"/>
                </a:cubicBezTo>
                <a:cubicBezTo>
                  <a:pt x="1800" y="5376"/>
                  <a:pt x="1750" y="5426"/>
                  <a:pt x="1725" y="5426"/>
                </a:cubicBezTo>
                <a:lnTo>
                  <a:pt x="1725" y="5451"/>
                </a:lnTo>
                <a:cubicBezTo>
                  <a:pt x="1775" y="5451"/>
                  <a:pt x="1825" y="5451"/>
                  <a:pt x="1825" y="5451"/>
                </a:cubicBezTo>
                <a:cubicBezTo>
                  <a:pt x="1825" y="5476"/>
                  <a:pt x="1725" y="5526"/>
                  <a:pt x="1700" y="5526"/>
                </a:cubicBezTo>
                <a:cubicBezTo>
                  <a:pt x="1700" y="5526"/>
                  <a:pt x="1750" y="5551"/>
                  <a:pt x="1750" y="5576"/>
                </a:cubicBezTo>
                <a:cubicBezTo>
                  <a:pt x="1750" y="5601"/>
                  <a:pt x="1675" y="5601"/>
                  <a:pt x="1700" y="5626"/>
                </a:cubicBezTo>
                <a:cubicBezTo>
                  <a:pt x="1700" y="5676"/>
                  <a:pt x="1675" y="5676"/>
                  <a:pt x="1625" y="5676"/>
                </a:cubicBezTo>
                <a:cubicBezTo>
                  <a:pt x="1600" y="5676"/>
                  <a:pt x="1600" y="5701"/>
                  <a:pt x="1600" y="5701"/>
                </a:cubicBezTo>
                <a:cubicBezTo>
                  <a:pt x="1625" y="5701"/>
                  <a:pt x="1625" y="5751"/>
                  <a:pt x="1675" y="5751"/>
                </a:cubicBezTo>
                <a:cubicBezTo>
                  <a:pt x="1750" y="5776"/>
                  <a:pt x="1800" y="5826"/>
                  <a:pt x="1850" y="5876"/>
                </a:cubicBezTo>
                <a:cubicBezTo>
                  <a:pt x="1875" y="5901"/>
                  <a:pt x="1875" y="5901"/>
                  <a:pt x="1875" y="5901"/>
                </a:cubicBezTo>
                <a:cubicBezTo>
                  <a:pt x="1900" y="5901"/>
                  <a:pt x="1900" y="5876"/>
                  <a:pt x="1925" y="5876"/>
                </a:cubicBezTo>
                <a:cubicBezTo>
                  <a:pt x="1950" y="5876"/>
                  <a:pt x="2000" y="5901"/>
                  <a:pt x="2025" y="5926"/>
                </a:cubicBezTo>
                <a:cubicBezTo>
                  <a:pt x="2050" y="5951"/>
                  <a:pt x="2175" y="5926"/>
                  <a:pt x="2175" y="5926"/>
                </a:cubicBezTo>
                <a:cubicBezTo>
                  <a:pt x="2200" y="5951"/>
                  <a:pt x="2225" y="5976"/>
                  <a:pt x="2225" y="5976"/>
                </a:cubicBezTo>
                <a:cubicBezTo>
                  <a:pt x="2250" y="5976"/>
                  <a:pt x="2275" y="6001"/>
                  <a:pt x="2300" y="6001"/>
                </a:cubicBezTo>
                <a:cubicBezTo>
                  <a:pt x="2300" y="5976"/>
                  <a:pt x="2375" y="5976"/>
                  <a:pt x="2401" y="5976"/>
                </a:cubicBezTo>
                <a:cubicBezTo>
                  <a:pt x="2401" y="5976"/>
                  <a:pt x="2401" y="6001"/>
                  <a:pt x="2425" y="6001"/>
                </a:cubicBezTo>
                <a:cubicBezTo>
                  <a:pt x="2450" y="6001"/>
                  <a:pt x="2450" y="6051"/>
                  <a:pt x="2450" y="6051"/>
                </a:cubicBezTo>
                <a:cubicBezTo>
                  <a:pt x="2475" y="6051"/>
                  <a:pt x="2500" y="6101"/>
                  <a:pt x="2550" y="6101"/>
                </a:cubicBezTo>
                <a:cubicBezTo>
                  <a:pt x="2575" y="6101"/>
                  <a:pt x="2601" y="6151"/>
                  <a:pt x="2601" y="6151"/>
                </a:cubicBezTo>
                <a:cubicBezTo>
                  <a:pt x="2625" y="6151"/>
                  <a:pt x="2650" y="6176"/>
                  <a:pt x="2650" y="6151"/>
                </a:cubicBezTo>
                <a:cubicBezTo>
                  <a:pt x="2650" y="6126"/>
                  <a:pt x="2701" y="6126"/>
                  <a:pt x="2725" y="6101"/>
                </a:cubicBezTo>
                <a:cubicBezTo>
                  <a:pt x="2650" y="6026"/>
                  <a:pt x="2601" y="5976"/>
                  <a:pt x="2601" y="5951"/>
                </a:cubicBezTo>
                <a:cubicBezTo>
                  <a:pt x="2601" y="5901"/>
                  <a:pt x="2625" y="5851"/>
                  <a:pt x="2575" y="5801"/>
                </a:cubicBezTo>
                <a:cubicBezTo>
                  <a:pt x="2500" y="5751"/>
                  <a:pt x="2575" y="5726"/>
                  <a:pt x="2625" y="5676"/>
                </a:cubicBezTo>
                <a:cubicBezTo>
                  <a:pt x="2650" y="5626"/>
                  <a:pt x="2725" y="5601"/>
                  <a:pt x="2775" y="5576"/>
                </a:cubicBezTo>
                <a:cubicBezTo>
                  <a:pt x="2775" y="5576"/>
                  <a:pt x="2775" y="5551"/>
                  <a:pt x="2750" y="5551"/>
                </a:cubicBezTo>
                <a:cubicBezTo>
                  <a:pt x="2725" y="5551"/>
                  <a:pt x="2701" y="5526"/>
                  <a:pt x="2725" y="5526"/>
                </a:cubicBezTo>
                <a:cubicBezTo>
                  <a:pt x="2750" y="5501"/>
                  <a:pt x="2750" y="5501"/>
                  <a:pt x="2725" y="5451"/>
                </a:cubicBezTo>
                <a:cubicBezTo>
                  <a:pt x="2701" y="5426"/>
                  <a:pt x="2675" y="5401"/>
                  <a:pt x="2650" y="5401"/>
                </a:cubicBezTo>
                <a:cubicBezTo>
                  <a:pt x="2650" y="5401"/>
                  <a:pt x="2625" y="5376"/>
                  <a:pt x="2601" y="5401"/>
                </a:cubicBezTo>
                <a:cubicBezTo>
                  <a:pt x="2575" y="5401"/>
                  <a:pt x="2575" y="5376"/>
                  <a:pt x="2575" y="5351"/>
                </a:cubicBezTo>
                <a:cubicBezTo>
                  <a:pt x="2575" y="5326"/>
                  <a:pt x="2525" y="5326"/>
                  <a:pt x="2525" y="5301"/>
                </a:cubicBezTo>
                <a:cubicBezTo>
                  <a:pt x="2525" y="5301"/>
                  <a:pt x="2525" y="5251"/>
                  <a:pt x="2550" y="5251"/>
                </a:cubicBezTo>
                <a:lnTo>
                  <a:pt x="2575" y="5226"/>
                </a:lnTo>
                <a:cubicBezTo>
                  <a:pt x="2575" y="5200"/>
                  <a:pt x="2525" y="5200"/>
                  <a:pt x="2550" y="5176"/>
                </a:cubicBezTo>
                <a:cubicBezTo>
                  <a:pt x="2575" y="5151"/>
                  <a:pt x="2601" y="5151"/>
                  <a:pt x="2601" y="5126"/>
                </a:cubicBezTo>
                <a:cubicBezTo>
                  <a:pt x="2601" y="5076"/>
                  <a:pt x="2625" y="5051"/>
                  <a:pt x="2650" y="5076"/>
                </a:cubicBezTo>
                <a:cubicBezTo>
                  <a:pt x="2675" y="5100"/>
                  <a:pt x="2701" y="5151"/>
                  <a:pt x="2725" y="5151"/>
                </a:cubicBezTo>
                <a:cubicBezTo>
                  <a:pt x="2750" y="5126"/>
                  <a:pt x="2750" y="5100"/>
                  <a:pt x="2725" y="5076"/>
                </a:cubicBezTo>
                <a:cubicBezTo>
                  <a:pt x="2725" y="5076"/>
                  <a:pt x="2725" y="5051"/>
                  <a:pt x="2750" y="5026"/>
                </a:cubicBezTo>
                <a:cubicBezTo>
                  <a:pt x="2801" y="5026"/>
                  <a:pt x="2775" y="5001"/>
                  <a:pt x="2801" y="5001"/>
                </a:cubicBezTo>
                <a:cubicBezTo>
                  <a:pt x="2850" y="5001"/>
                  <a:pt x="2901" y="4951"/>
                  <a:pt x="2901" y="4951"/>
                </a:cubicBezTo>
                <a:cubicBezTo>
                  <a:pt x="2925" y="4926"/>
                  <a:pt x="2975" y="4926"/>
                  <a:pt x="2975" y="4926"/>
                </a:cubicBezTo>
                <a:cubicBezTo>
                  <a:pt x="3001" y="4926"/>
                  <a:pt x="3025" y="4951"/>
                  <a:pt x="3025" y="4926"/>
                </a:cubicBezTo>
                <a:cubicBezTo>
                  <a:pt x="3050" y="4901"/>
                  <a:pt x="3101" y="4901"/>
                  <a:pt x="3101" y="4926"/>
                </a:cubicBezTo>
                <a:cubicBezTo>
                  <a:pt x="3101" y="4951"/>
                  <a:pt x="3175" y="4951"/>
                  <a:pt x="3201" y="4951"/>
                </a:cubicBezTo>
                <a:cubicBezTo>
                  <a:pt x="3225" y="4976"/>
                  <a:pt x="3275" y="5001"/>
                  <a:pt x="3275" y="5026"/>
                </a:cubicBezTo>
                <a:cubicBezTo>
                  <a:pt x="3275" y="5051"/>
                  <a:pt x="3301" y="5076"/>
                  <a:pt x="3301" y="5026"/>
                </a:cubicBezTo>
                <a:cubicBezTo>
                  <a:pt x="3301" y="5001"/>
                  <a:pt x="3326" y="5026"/>
                  <a:pt x="3375" y="5026"/>
                </a:cubicBezTo>
                <a:cubicBezTo>
                  <a:pt x="3401" y="5051"/>
                  <a:pt x="3450" y="5051"/>
                  <a:pt x="3450" y="5026"/>
                </a:cubicBezTo>
                <a:cubicBezTo>
                  <a:pt x="3450" y="5001"/>
                  <a:pt x="3526" y="4976"/>
                  <a:pt x="3550" y="5001"/>
                </a:cubicBezTo>
                <a:cubicBezTo>
                  <a:pt x="3575" y="5026"/>
                  <a:pt x="3575" y="5026"/>
                  <a:pt x="3601" y="5001"/>
                </a:cubicBezTo>
                <a:cubicBezTo>
                  <a:pt x="3626" y="4976"/>
                  <a:pt x="3675" y="4976"/>
                  <a:pt x="3701" y="5001"/>
                </a:cubicBezTo>
                <a:cubicBezTo>
                  <a:pt x="3701" y="5026"/>
                  <a:pt x="3726" y="5026"/>
                  <a:pt x="3750" y="5026"/>
                </a:cubicBezTo>
                <a:cubicBezTo>
                  <a:pt x="3775" y="5026"/>
                  <a:pt x="3775" y="5076"/>
                  <a:pt x="3800" y="5076"/>
                </a:cubicBezTo>
                <a:cubicBezTo>
                  <a:pt x="3826" y="5051"/>
                  <a:pt x="3800" y="5026"/>
                  <a:pt x="3826" y="5026"/>
                </a:cubicBezTo>
                <a:cubicBezTo>
                  <a:pt x="3850" y="5026"/>
                  <a:pt x="3875" y="5051"/>
                  <a:pt x="3901" y="5051"/>
                </a:cubicBezTo>
                <a:cubicBezTo>
                  <a:pt x="3926" y="5051"/>
                  <a:pt x="3950" y="5051"/>
                  <a:pt x="3950" y="5026"/>
                </a:cubicBezTo>
                <a:cubicBezTo>
                  <a:pt x="3950" y="5001"/>
                  <a:pt x="3950" y="4951"/>
                  <a:pt x="3926" y="4951"/>
                </a:cubicBezTo>
                <a:cubicBezTo>
                  <a:pt x="3926" y="4951"/>
                  <a:pt x="3901" y="4926"/>
                  <a:pt x="3875" y="4926"/>
                </a:cubicBezTo>
                <a:cubicBezTo>
                  <a:pt x="3850" y="4926"/>
                  <a:pt x="3826" y="4875"/>
                  <a:pt x="3850" y="4875"/>
                </a:cubicBezTo>
                <a:cubicBezTo>
                  <a:pt x="3875" y="4875"/>
                  <a:pt x="3901" y="4851"/>
                  <a:pt x="3901" y="4826"/>
                </a:cubicBezTo>
                <a:cubicBezTo>
                  <a:pt x="3901" y="4801"/>
                  <a:pt x="3875" y="4775"/>
                  <a:pt x="3926" y="4751"/>
                </a:cubicBezTo>
                <a:cubicBezTo>
                  <a:pt x="3950" y="4751"/>
                  <a:pt x="4026" y="4751"/>
                  <a:pt x="4026" y="4751"/>
                </a:cubicBezTo>
                <a:cubicBezTo>
                  <a:pt x="4026" y="4726"/>
                  <a:pt x="3950" y="4726"/>
                  <a:pt x="3926" y="4701"/>
                </a:cubicBezTo>
                <a:cubicBezTo>
                  <a:pt x="3926" y="4675"/>
                  <a:pt x="3926" y="4626"/>
                  <a:pt x="3926" y="4626"/>
                </a:cubicBezTo>
                <a:cubicBezTo>
                  <a:pt x="3950" y="4626"/>
                  <a:pt x="3975" y="4626"/>
                  <a:pt x="4001" y="4626"/>
                </a:cubicBezTo>
                <a:cubicBezTo>
                  <a:pt x="4026" y="4601"/>
                  <a:pt x="4101" y="4626"/>
                  <a:pt x="4126" y="4601"/>
                </a:cubicBezTo>
                <a:cubicBezTo>
                  <a:pt x="4151" y="4575"/>
                  <a:pt x="4226" y="4575"/>
                  <a:pt x="4275" y="4575"/>
                </a:cubicBezTo>
                <a:cubicBezTo>
                  <a:pt x="4301" y="4575"/>
                  <a:pt x="4326" y="4551"/>
                  <a:pt x="4351" y="4551"/>
                </a:cubicBezTo>
                <a:cubicBezTo>
                  <a:pt x="4401" y="4551"/>
                  <a:pt x="4475" y="4526"/>
                  <a:pt x="4501" y="4526"/>
                </a:cubicBezTo>
                <a:cubicBezTo>
                  <a:pt x="4526" y="4526"/>
                  <a:pt x="4626" y="4501"/>
                  <a:pt x="4626" y="4475"/>
                </a:cubicBezTo>
                <a:cubicBezTo>
                  <a:pt x="4626" y="4451"/>
                  <a:pt x="4726" y="4451"/>
                  <a:pt x="4751" y="4451"/>
                </a:cubicBezTo>
                <a:cubicBezTo>
                  <a:pt x="4775" y="4451"/>
                  <a:pt x="4801" y="4475"/>
                  <a:pt x="4826" y="4451"/>
                </a:cubicBezTo>
                <a:cubicBezTo>
                  <a:pt x="4851" y="4451"/>
                  <a:pt x="4875" y="4475"/>
                  <a:pt x="4875" y="4501"/>
                </a:cubicBezTo>
                <a:cubicBezTo>
                  <a:pt x="4875" y="4526"/>
                  <a:pt x="4901" y="4551"/>
                  <a:pt x="4901" y="4575"/>
                </a:cubicBezTo>
                <a:cubicBezTo>
                  <a:pt x="4901" y="4575"/>
                  <a:pt x="4875" y="4601"/>
                  <a:pt x="4901" y="4601"/>
                </a:cubicBezTo>
                <a:cubicBezTo>
                  <a:pt x="4901" y="4626"/>
                  <a:pt x="4951" y="4601"/>
                  <a:pt x="4975" y="4601"/>
                </a:cubicBezTo>
                <a:cubicBezTo>
                  <a:pt x="5001" y="4575"/>
                  <a:pt x="5001" y="4601"/>
                  <a:pt x="5001" y="4601"/>
                </a:cubicBezTo>
                <a:cubicBezTo>
                  <a:pt x="5001" y="4626"/>
                  <a:pt x="5026" y="4626"/>
                  <a:pt x="5026" y="4626"/>
                </a:cubicBezTo>
                <a:cubicBezTo>
                  <a:pt x="5026" y="4601"/>
                  <a:pt x="5076" y="4601"/>
                  <a:pt x="5076" y="4626"/>
                </a:cubicBezTo>
                <a:cubicBezTo>
                  <a:pt x="5100" y="4626"/>
                  <a:pt x="5126" y="4601"/>
                  <a:pt x="5126" y="4626"/>
                </a:cubicBezTo>
                <a:cubicBezTo>
                  <a:pt x="5126" y="4651"/>
                  <a:pt x="5076" y="4675"/>
                  <a:pt x="5100" y="4701"/>
                </a:cubicBezTo>
                <a:cubicBezTo>
                  <a:pt x="5126" y="4726"/>
                  <a:pt x="5126" y="4675"/>
                  <a:pt x="5176" y="4675"/>
                </a:cubicBezTo>
                <a:cubicBezTo>
                  <a:pt x="5201" y="4675"/>
                  <a:pt x="5251" y="4651"/>
                  <a:pt x="5276" y="4626"/>
                </a:cubicBezTo>
                <a:cubicBezTo>
                  <a:pt x="5300" y="4626"/>
                  <a:pt x="5326" y="4601"/>
                  <a:pt x="5351" y="4575"/>
                </a:cubicBezTo>
                <a:cubicBezTo>
                  <a:pt x="5376" y="4575"/>
                  <a:pt x="5426" y="4575"/>
                  <a:pt x="5426" y="4601"/>
                </a:cubicBezTo>
                <a:cubicBezTo>
                  <a:pt x="5401" y="4601"/>
                  <a:pt x="5376" y="4651"/>
                  <a:pt x="5451" y="4651"/>
                </a:cubicBezTo>
                <a:cubicBezTo>
                  <a:pt x="5501" y="4675"/>
                  <a:pt x="5576" y="4801"/>
                  <a:pt x="5626" y="4875"/>
                </a:cubicBezTo>
                <a:cubicBezTo>
                  <a:pt x="5651" y="4926"/>
                  <a:pt x="5701" y="5026"/>
                  <a:pt x="5726" y="5026"/>
                </a:cubicBezTo>
                <a:cubicBezTo>
                  <a:pt x="5726" y="5026"/>
                  <a:pt x="5751" y="4976"/>
                  <a:pt x="5776" y="4976"/>
                </a:cubicBezTo>
                <a:cubicBezTo>
                  <a:pt x="5801" y="4976"/>
                  <a:pt x="5826" y="5026"/>
                  <a:pt x="5851" y="5026"/>
                </a:cubicBezTo>
                <a:cubicBezTo>
                  <a:pt x="5876" y="5026"/>
                  <a:pt x="5901" y="5051"/>
                  <a:pt x="5926" y="5051"/>
                </a:cubicBezTo>
                <a:cubicBezTo>
                  <a:pt x="5951" y="5026"/>
                  <a:pt x="6001" y="5001"/>
                  <a:pt x="6026" y="5026"/>
                </a:cubicBezTo>
                <a:cubicBezTo>
                  <a:pt x="6051" y="5026"/>
                  <a:pt x="6076" y="5026"/>
                  <a:pt x="6101" y="5076"/>
                </a:cubicBezTo>
                <a:cubicBezTo>
                  <a:pt x="6101" y="5100"/>
                  <a:pt x="6126" y="5100"/>
                  <a:pt x="6151" y="5100"/>
                </a:cubicBezTo>
                <a:cubicBezTo>
                  <a:pt x="6176" y="5100"/>
                  <a:pt x="6176" y="5126"/>
                  <a:pt x="6176" y="5151"/>
                </a:cubicBezTo>
                <a:cubicBezTo>
                  <a:pt x="6176" y="5176"/>
                  <a:pt x="6201" y="5176"/>
                  <a:pt x="6226" y="5176"/>
                </a:cubicBezTo>
                <a:cubicBezTo>
                  <a:pt x="6226" y="5176"/>
                  <a:pt x="6276" y="5176"/>
                  <a:pt x="6301" y="5176"/>
                </a:cubicBezTo>
                <a:cubicBezTo>
                  <a:pt x="6301" y="5176"/>
                  <a:pt x="6326" y="5151"/>
                  <a:pt x="6326" y="5176"/>
                </a:cubicBezTo>
                <a:cubicBezTo>
                  <a:pt x="6326" y="5200"/>
                  <a:pt x="6351" y="5226"/>
                  <a:pt x="6376" y="5226"/>
                </a:cubicBezTo>
                <a:cubicBezTo>
                  <a:pt x="6376" y="5226"/>
                  <a:pt x="6426" y="5251"/>
                  <a:pt x="6426" y="5226"/>
                </a:cubicBezTo>
                <a:cubicBezTo>
                  <a:pt x="6426" y="5200"/>
                  <a:pt x="6476" y="5200"/>
                  <a:pt x="6476" y="5200"/>
                </a:cubicBezTo>
                <a:cubicBezTo>
                  <a:pt x="6501" y="5200"/>
                  <a:pt x="6551" y="5176"/>
                  <a:pt x="6576" y="5151"/>
                </a:cubicBezTo>
                <a:cubicBezTo>
                  <a:pt x="6576" y="5126"/>
                  <a:pt x="6626" y="5126"/>
                  <a:pt x="6651" y="5126"/>
                </a:cubicBezTo>
                <a:cubicBezTo>
                  <a:pt x="6651" y="5100"/>
                  <a:pt x="6701" y="5100"/>
                  <a:pt x="6701" y="5076"/>
                </a:cubicBezTo>
                <a:cubicBezTo>
                  <a:pt x="6701" y="5051"/>
                  <a:pt x="6751" y="5076"/>
                  <a:pt x="6776" y="5051"/>
                </a:cubicBezTo>
                <a:cubicBezTo>
                  <a:pt x="6776" y="5026"/>
                  <a:pt x="6826" y="5026"/>
                  <a:pt x="6826" y="5051"/>
                </a:cubicBezTo>
                <a:cubicBezTo>
                  <a:pt x="6851" y="5051"/>
                  <a:pt x="6951" y="5076"/>
                  <a:pt x="6976" y="5051"/>
                </a:cubicBezTo>
                <a:cubicBezTo>
                  <a:pt x="6976" y="5051"/>
                  <a:pt x="6976" y="5100"/>
                  <a:pt x="7002" y="5126"/>
                </a:cubicBezTo>
                <a:cubicBezTo>
                  <a:pt x="7002" y="5126"/>
                  <a:pt x="7051" y="5151"/>
                  <a:pt x="7076" y="5151"/>
                </a:cubicBezTo>
                <a:cubicBezTo>
                  <a:pt x="7076" y="5126"/>
                  <a:pt x="7126" y="5126"/>
                  <a:pt x="7151" y="5151"/>
                </a:cubicBezTo>
                <a:cubicBezTo>
                  <a:pt x="7176" y="5151"/>
                  <a:pt x="7202" y="5176"/>
                  <a:pt x="7226" y="5151"/>
                </a:cubicBezTo>
                <a:cubicBezTo>
                  <a:pt x="7226" y="5151"/>
                  <a:pt x="7276" y="5126"/>
                  <a:pt x="7302" y="5126"/>
                </a:cubicBezTo>
                <a:cubicBezTo>
                  <a:pt x="7302" y="5100"/>
                  <a:pt x="7302" y="5076"/>
                  <a:pt x="7302" y="5076"/>
                </a:cubicBezTo>
                <a:cubicBezTo>
                  <a:pt x="7276" y="5051"/>
                  <a:pt x="7276" y="5001"/>
                  <a:pt x="7251" y="4976"/>
                </a:cubicBezTo>
                <a:lnTo>
                  <a:pt x="7302" y="4951"/>
                </a:lnTo>
                <a:cubicBezTo>
                  <a:pt x="7302" y="4926"/>
                  <a:pt x="7351" y="4926"/>
                  <a:pt x="7351" y="4901"/>
                </a:cubicBezTo>
                <a:lnTo>
                  <a:pt x="7376" y="4875"/>
                </a:lnTo>
                <a:cubicBezTo>
                  <a:pt x="7402" y="4875"/>
                  <a:pt x="7451" y="4901"/>
                  <a:pt x="7451" y="4901"/>
                </a:cubicBezTo>
                <a:lnTo>
                  <a:pt x="7502" y="4926"/>
                </a:lnTo>
                <a:cubicBezTo>
                  <a:pt x="7526" y="4926"/>
                  <a:pt x="7551" y="4926"/>
                  <a:pt x="7576" y="4951"/>
                </a:cubicBezTo>
                <a:cubicBezTo>
                  <a:pt x="7602" y="4951"/>
                  <a:pt x="7651" y="4951"/>
                  <a:pt x="7676" y="4976"/>
                </a:cubicBezTo>
                <a:cubicBezTo>
                  <a:pt x="7676" y="5001"/>
                  <a:pt x="7676" y="5026"/>
                  <a:pt x="7676" y="5051"/>
                </a:cubicBezTo>
                <a:cubicBezTo>
                  <a:pt x="7702" y="5076"/>
                  <a:pt x="7727" y="5100"/>
                  <a:pt x="7751" y="5100"/>
                </a:cubicBezTo>
                <a:cubicBezTo>
                  <a:pt x="7751" y="5100"/>
                  <a:pt x="7802" y="5126"/>
                  <a:pt x="7827" y="5126"/>
                </a:cubicBezTo>
                <a:cubicBezTo>
                  <a:pt x="7851" y="5126"/>
                  <a:pt x="7876" y="5100"/>
                  <a:pt x="7902" y="5100"/>
                </a:cubicBezTo>
                <a:cubicBezTo>
                  <a:pt x="7902" y="5100"/>
                  <a:pt x="7951" y="5076"/>
                  <a:pt x="7976" y="5076"/>
                </a:cubicBezTo>
                <a:cubicBezTo>
                  <a:pt x="8002" y="5076"/>
                  <a:pt x="8051" y="5100"/>
                  <a:pt x="8076" y="5100"/>
                </a:cubicBezTo>
                <a:cubicBezTo>
                  <a:pt x="8076" y="5100"/>
                  <a:pt x="8127" y="5100"/>
                  <a:pt x="8127" y="5126"/>
                </a:cubicBezTo>
                <a:cubicBezTo>
                  <a:pt x="8151" y="5126"/>
                  <a:pt x="8227" y="5126"/>
                  <a:pt x="8227" y="5151"/>
                </a:cubicBezTo>
                <a:cubicBezTo>
                  <a:pt x="8227" y="5176"/>
                  <a:pt x="8251" y="5176"/>
                  <a:pt x="8276" y="5200"/>
                </a:cubicBezTo>
                <a:cubicBezTo>
                  <a:pt x="8276" y="5226"/>
                  <a:pt x="8376" y="5226"/>
                  <a:pt x="8376" y="5226"/>
                </a:cubicBezTo>
                <a:cubicBezTo>
                  <a:pt x="8402" y="5251"/>
                  <a:pt x="8502" y="5251"/>
                  <a:pt x="8502" y="5226"/>
                </a:cubicBezTo>
                <a:cubicBezTo>
                  <a:pt x="8502" y="5226"/>
                  <a:pt x="8602" y="5200"/>
                  <a:pt x="8627" y="5200"/>
                </a:cubicBezTo>
                <a:cubicBezTo>
                  <a:pt x="8652" y="5176"/>
                  <a:pt x="8702" y="5200"/>
                  <a:pt x="8702" y="5176"/>
                </a:cubicBezTo>
                <a:cubicBezTo>
                  <a:pt x="8702" y="5151"/>
                  <a:pt x="8752" y="5126"/>
                  <a:pt x="8776" y="5126"/>
                </a:cubicBezTo>
                <a:cubicBezTo>
                  <a:pt x="8802" y="5100"/>
                  <a:pt x="8902" y="5100"/>
                  <a:pt x="8902" y="5126"/>
                </a:cubicBezTo>
                <a:cubicBezTo>
                  <a:pt x="8902" y="5151"/>
                  <a:pt x="8952" y="5151"/>
                  <a:pt x="8976" y="5151"/>
                </a:cubicBezTo>
                <a:cubicBezTo>
                  <a:pt x="9002" y="5126"/>
                  <a:pt x="9052" y="5151"/>
                  <a:pt x="9076" y="5176"/>
                </a:cubicBezTo>
                <a:lnTo>
                  <a:pt x="9152" y="5200"/>
                </a:lnTo>
                <a:cubicBezTo>
                  <a:pt x="9176" y="5176"/>
                  <a:pt x="9227" y="5151"/>
                  <a:pt x="9252" y="5151"/>
                </a:cubicBezTo>
                <a:cubicBezTo>
                  <a:pt x="9276" y="5151"/>
                  <a:pt x="9302" y="5126"/>
                  <a:pt x="9302" y="5100"/>
                </a:cubicBezTo>
                <a:cubicBezTo>
                  <a:pt x="9276" y="5076"/>
                  <a:pt x="9327" y="5026"/>
                  <a:pt x="9327" y="5001"/>
                </a:cubicBezTo>
                <a:cubicBezTo>
                  <a:pt x="9352" y="4976"/>
                  <a:pt x="9376" y="4926"/>
                  <a:pt x="9401" y="4926"/>
                </a:cubicBezTo>
                <a:cubicBezTo>
                  <a:pt x="9401" y="4901"/>
                  <a:pt x="9427" y="4875"/>
                  <a:pt x="9427" y="4875"/>
                </a:cubicBezTo>
                <a:cubicBezTo>
                  <a:pt x="9427" y="4851"/>
                  <a:pt x="9427" y="4801"/>
                  <a:pt x="9401" y="4801"/>
                </a:cubicBezTo>
                <a:cubicBezTo>
                  <a:pt x="9401" y="4801"/>
                  <a:pt x="9352" y="4801"/>
                  <a:pt x="9401" y="4751"/>
                </a:cubicBezTo>
                <a:cubicBezTo>
                  <a:pt x="9427" y="4701"/>
                  <a:pt x="9502" y="4701"/>
                  <a:pt x="9527" y="4701"/>
                </a:cubicBezTo>
                <a:cubicBezTo>
                  <a:pt x="9527" y="4701"/>
                  <a:pt x="9627" y="4701"/>
                  <a:pt x="9652" y="4701"/>
                </a:cubicBezTo>
                <a:cubicBezTo>
                  <a:pt x="9702" y="4701"/>
                  <a:pt x="9727" y="4701"/>
                  <a:pt x="9752" y="4726"/>
                </a:cubicBezTo>
                <a:cubicBezTo>
                  <a:pt x="9802" y="4751"/>
                  <a:pt x="9852" y="4726"/>
                  <a:pt x="9877" y="4751"/>
                </a:cubicBezTo>
                <a:cubicBezTo>
                  <a:pt x="9902" y="4775"/>
                  <a:pt x="9952" y="4775"/>
                  <a:pt x="9927" y="4826"/>
                </a:cubicBezTo>
                <a:cubicBezTo>
                  <a:pt x="9927" y="4851"/>
                  <a:pt x="9977" y="4826"/>
                  <a:pt x="9977" y="4901"/>
                </a:cubicBezTo>
                <a:cubicBezTo>
                  <a:pt x="10002" y="4976"/>
                  <a:pt x="10027" y="4976"/>
                  <a:pt x="10027" y="5026"/>
                </a:cubicBezTo>
                <a:cubicBezTo>
                  <a:pt x="10052" y="5051"/>
                  <a:pt x="10102" y="5100"/>
                  <a:pt x="10077" y="5126"/>
                </a:cubicBezTo>
                <a:cubicBezTo>
                  <a:pt x="10077" y="5151"/>
                  <a:pt x="10077" y="5176"/>
                  <a:pt x="10127" y="5176"/>
                </a:cubicBezTo>
                <a:cubicBezTo>
                  <a:pt x="10177" y="5176"/>
                  <a:pt x="10202" y="5226"/>
                  <a:pt x="10202" y="5226"/>
                </a:cubicBezTo>
                <a:cubicBezTo>
                  <a:pt x="10227" y="5200"/>
                  <a:pt x="10277" y="5226"/>
                  <a:pt x="10302" y="5251"/>
                </a:cubicBezTo>
                <a:cubicBezTo>
                  <a:pt x="10327" y="5276"/>
                  <a:pt x="10377" y="5276"/>
                  <a:pt x="10377" y="5301"/>
                </a:cubicBezTo>
                <a:cubicBezTo>
                  <a:pt x="10377" y="5326"/>
                  <a:pt x="10402" y="5351"/>
                  <a:pt x="10402" y="5376"/>
                </a:cubicBezTo>
                <a:cubicBezTo>
                  <a:pt x="10402" y="5401"/>
                  <a:pt x="10452" y="5426"/>
                  <a:pt x="10477" y="5426"/>
                </a:cubicBezTo>
                <a:cubicBezTo>
                  <a:pt x="10527" y="5426"/>
                  <a:pt x="10552" y="5426"/>
                  <a:pt x="10577" y="5401"/>
                </a:cubicBezTo>
                <a:cubicBezTo>
                  <a:pt x="10577" y="5376"/>
                  <a:pt x="10652" y="5376"/>
                  <a:pt x="10652" y="5376"/>
                </a:cubicBezTo>
                <a:cubicBezTo>
                  <a:pt x="10677" y="5351"/>
                  <a:pt x="10727" y="5326"/>
                  <a:pt x="10727" y="5376"/>
                </a:cubicBezTo>
                <a:cubicBezTo>
                  <a:pt x="10727" y="5426"/>
                  <a:pt x="10777" y="5451"/>
                  <a:pt x="10727" y="5476"/>
                </a:cubicBezTo>
                <a:cubicBezTo>
                  <a:pt x="10702" y="5476"/>
                  <a:pt x="10702" y="5551"/>
                  <a:pt x="10677" y="5576"/>
                </a:cubicBezTo>
                <a:cubicBezTo>
                  <a:pt x="10677" y="5626"/>
                  <a:pt x="10627" y="5626"/>
                  <a:pt x="10627" y="5651"/>
                </a:cubicBezTo>
                <a:cubicBezTo>
                  <a:pt x="10627" y="5701"/>
                  <a:pt x="10577" y="5701"/>
                  <a:pt x="10577" y="5726"/>
                </a:cubicBezTo>
                <a:cubicBezTo>
                  <a:pt x="10577" y="5751"/>
                  <a:pt x="10527" y="5726"/>
                  <a:pt x="10502" y="5726"/>
                </a:cubicBezTo>
                <a:cubicBezTo>
                  <a:pt x="10477" y="5701"/>
                  <a:pt x="10452" y="5751"/>
                  <a:pt x="10427" y="5751"/>
                </a:cubicBezTo>
                <a:cubicBezTo>
                  <a:pt x="10402" y="5751"/>
                  <a:pt x="10402" y="5801"/>
                  <a:pt x="10402" y="5826"/>
                </a:cubicBezTo>
                <a:cubicBezTo>
                  <a:pt x="10427" y="5851"/>
                  <a:pt x="10402" y="5876"/>
                  <a:pt x="10427" y="5901"/>
                </a:cubicBezTo>
                <a:cubicBezTo>
                  <a:pt x="10427" y="5926"/>
                  <a:pt x="10427" y="5951"/>
                  <a:pt x="10427" y="5976"/>
                </a:cubicBezTo>
                <a:cubicBezTo>
                  <a:pt x="10452" y="5951"/>
                  <a:pt x="10502" y="5951"/>
                  <a:pt x="10502" y="5951"/>
                </a:cubicBezTo>
                <a:cubicBezTo>
                  <a:pt x="10527" y="5951"/>
                  <a:pt x="10577" y="6001"/>
                  <a:pt x="10602" y="6001"/>
                </a:cubicBezTo>
                <a:cubicBezTo>
                  <a:pt x="10652" y="6001"/>
                  <a:pt x="10827" y="5901"/>
                  <a:pt x="10827" y="5876"/>
                </a:cubicBezTo>
                <a:cubicBezTo>
                  <a:pt x="10827" y="5851"/>
                  <a:pt x="10927" y="5751"/>
                  <a:pt x="10977" y="5701"/>
                </a:cubicBezTo>
                <a:cubicBezTo>
                  <a:pt x="11027" y="5651"/>
                  <a:pt x="11102" y="5576"/>
                  <a:pt x="11127" y="5526"/>
                </a:cubicBezTo>
                <a:cubicBezTo>
                  <a:pt x="11127" y="5476"/>
                  <a:pt x="11202" y="5401"/>
                  <a:pt x="11227" y="5376"/>
                </a:cubicBezTo>
                <a:cubicBezTo>
                  <a:pt x="11227" y="5351"/>
                  <a:pt x="11252" y="5351"/>
                  <a:pt x="11277" y="5276"/>
                </a:cubicBezTo>
                <a:cubicBezTo>
                  <a:pt x="11303" y="5226"/>
                  <a:pt x="11303" y="5051"/>
                  <a:pt x="11327" y="5051"/>
                </a:cubicBezTo>
                <a:cubicBezTo>
                  <a:pt x="11327" y="5026"/>
                  <a:pt x="11327" y="5001"/>
                  <a:pt x="11327" y="4976"/>
                </a:cubicBezTo>
                <a:cubicBezTo>
                  <a:pt x="11352" y="4951"/>
                  <a:pt x="11352" y="4926"/>
                  <a:pt x="11377" y="4926"/>
                </a:cubicBezTo>
                <a:cubicBezTo>
                  <a:pt x="11403" y="4901"/>
                  <a:pt x="11403" y="4875"/>
                  <a:pt x="11377" y="4851"/>
                </a:cubicBezTo>
                <a:cubicBezTo>
                  <a:pt x="11377" y="4826"/>
                  <a:pt x="11377" y="4801"/>
                  <a:pt x="11377" y="4775"/>
                </a:cubicBezTo>
                <a:cubicBezTo>
                  <a:pt x="11377" y="4775"/>
                  <a:pt x="11377" y="4751"/>
                  <a:pt x="11403" y="4751"/>
                </a:cubicBezTo>
                <a:cubicBezTo>
                  <a:pt x="11403" y="4751"/>
                  <a:pt x="11377" y="4726"/>
                  <a:pt x="11352" y="4701"/>
                </a:cubicBezTo>
                <a:cubicBezTo>
                  <a:pt x="11327" y="4701"/>
                  <a:pt x="11303" y="4675"/>
                  <a:pt x="11303" y="4651"/>
                </a:cubicBezTo>
                <a:cubicBezTo>
                  <a:pt x="11303" y="4626"/>
                  <a:pt x="11252" y="4601"/>
                  <a:pt x="11227" y="4601"/>
                </a:cubicBezTo>
                <a:cubicBezTo>
                  <a:pt x="11202" y="4601"/>
                  <a:pt x="11127" y="4575"/>
                  <a:pt x="11152" y="4601"/>
                </a:cubicBezTo>
                <a:cubicBezTo>
                  <a:pt x="11152" y="4626"/>
                  <a:pt x="11152" y="4651"/>
                  <a:pt x="11127" y="4651"/>
                </a:cubicBezTo>
                <a:cubicBezTo>
                  <a:pt x="11102" y="4626"/>
                  <a:pt x="11102" y="4651"/>
                  <a:pt x="11077" y="4675"/>
                </a:cubicBezTo>
                <a:cubicBezTo>
                  <a:pt x="11077" y="4701"/>
                  <a:pt x="11002" y="4701"/>
                  <a:pt x="11027" y="4675"/>
                </a:cubicBezTo>
                <a:cubicBezTo>
                  <a:pt x="11052" y="4651"/>
                  <a:pt x="11027" y="4651"/>
                  <a:pt x="11027" y="4626"/>
                </a:cubicBezTo>
                <a:cubicBezTo>
                  <a:pt x="11027" y="4601"/>
                  <a:pt x="11052" y="4575"/>
                  <a:pt x="11027" y="4575"/>
                </a:cubicBezTo>
                <a:cubicBezTo>
                  <a:pt x="11002" y="4601"/>
                  <a:pt x="11002" y="4651"/>
                  <a:pt x="10977" y="4651"/>
                </a:cubicBezTo>
                <a:cubicBezTo>
                  <a:pt x="10952" y="4651"/>
                  <a:pt x="10952" y="4575"/>
                  <a:pt x="10952" y="4551"/>
                </a:cubicBezTo>
                <a:cubicBezTo>
                  <a:pt x="10977" y="4526"/>
                  <a:pt x="10902" y="4551"/>
                  <a:pt x="10852" y="4551"/>
                </a:cubicBezTo>
                <a:cubicBezTo>
                  <a:pt x="10802" y="4551"/>
                  <a:pt x="10802" y="4501"/>
                  <a:pt x="10852" y="4475"/>
                </a:cubicBezTo>
                <a:cubicBezTo>
                  <a:pt x="10902" y="4451"/>
                  <a:pt x="10902" y="4426"/>
                  <a:pt x="10927" y="4426"/>
                </a:cubicBezTo>
                <a:cubicBezTo>
                  <a:pt x="10952" y="4426"/>
                  <a:pt x="11002" y="4375"/>
                  <a:pt x="11027" y="4351"/>
                </a:cubicBezTo>
                <a:cubicBezTo>
                  <a:pt x="11077" y="4326"/>
                  <a:pt x="11077" y="4301"/>
                  <a:pt x="11102" y="4275"/>
                </a:cubicBezTo>
                <a:cubicBezTo>
                  <a:pt x="11102" y="4275"/>
                  <a:pt x="11177" y="4226"/>
                  <a:pt x="11227" y="4175"/>
                </a:cubicBezTo>
                <a:cubicBezTo>
                  <a:pt x="11277" y="4126"/>
                  <a:pt x="11303" y="4101"/>
                  <a:pt x="11327" y="4075"/>
                </a:cubicBezTo>
                <a:cubicBezTo>
                  <a:pt x="11352" y="4051"/>
                  <a:pt x="11427" y="4026"/>
                  <a:pt x="11427" y="4001"/>
                </a:cubicBezTo>
                <a:cubicBezTo>
                  <a:pt x="11427" y="3975"/>
                  <a:pt x="11527" y="3926"/>
                  <a:pt x="11603" y="3901"/>
                </a:cubicBezTo>
                <a:cubicBezTo>
                  <a:pt x="11677" y="3875"/>
                  <a:pt x="11803" y="3901"/>
                  <a:pt x="11803" y="3926"/>
                </a:cubicBezTo>
                <a:cubicBezTo>
                  <a:pt x="11827" y="3951"/>
                  <a:pt x="11852" y="3951"/>
                  <a:pt x="11852" y="3926"/>
                </a:cubicBezTo>
                <a:cubicBezTo>
                  <a:pt x="11877" y="3901"/>
                  <a:pt x="11903" y="3926"/>
                  <a:pt x="11952" y="3926"/>
                </a:cubicBezTo>
                <a:cubicBezTo>
                  <a:pt x="12003" y="3926"/>
                  <a:pt x="12003" y="3901"/>
                  <a:pt x="12027" y="3901"/>
                </a:cubicBezTo>
                <a:cubicBezTo>
                  <a:pt x="12077" y="3926"/>
                  <a:pt x="12103" y="3926"/>
                  <a:pt x="12127" y="3901"/>
                </a:cubicBezTo>
                <a:cubicBezTo>
                  <a:pt x="12127" y="3851"/>
                  <a:pt x="12228" y="3851"/>
                  <a:pt x="12252" y="3875"/>
                </a:cubicBezTo>
                <a:cubicBezTo>
                  <a:pt x="12277" y="3901"/>
                  <a:pt x="12277" y="3901"/>
                  <a:pt x="12328" y="3875"/>
                </a:cubicBezTo>
                <a:cubicBezTo>
                  <a:pt x="12352" y="3875"/>
                  <a:pt x="12352" y="3926"/>
                  <a:pt x="12377" y="3926"/>
                </a:cubicBezTo>
                <a:cubicBezTo>
                  <a:pt x="12428" y="3926"/>
                  <a:pt x="12402" y="3951"/>
                  <a:pt x="12377" y="3951"/>
                </a:cubicBezTo>
                <a:cubicBezTo>
                  <a:pt x="12352" y="3951"/>
                  <a:pt x="12303" y="3975"/>
                  <a:pt x="12328" y="3975"/>
                </a:cubicBezTo>
                <a:cubicBezTo>
                  <a:pt x="12377" y="4001"/>
                  <a:pt x="12402" y="3975"/>
                  <a:pt x="12428" y="3975"/>
                </a:cubicBezTo>
                <a:cubicBezTo>
                  <a:pt x="12452" y="3975"/>
                  <a:pt x="12503" y="3975"/>
                  <a:pt x="12528" y="3951"/>
                </a:cubicBezTo>
                <a:cubicBezTo>
                  <a:pt x="12577" y="3926"/>
                  <a:pt x="12577" y="3975"/>
                  <a:pt x="12602" y="3951"/>
                </a:cubicBezTo>
                <a:cubicBezTo>
                  <a:pt x="12628" y="3926"/>
                  <a:pt x="12677" y="3926"/>
                  <a:pt x="12703" y="3926"/>
                </a:cubicBezTo>
                <a:cubicBezTo>
                  <a:pt x="12728" y="3926"/>
                  <a:pt x="12703" y="3901"/>
                  <a:pt x="12652" y="3901"/>
                </a:cubicBezTo>
                <a:cubicBezTo>
                  <a:pt x="12628" y="3901"/>
                  <a:pt x="12628" y="3875"/>
                  <a:pt x="12652" y="3826"/>
                </a:cubicBezTo>
                <a:cubicBezTo>
                  <a:pt x="12677" y="3751"/>
                  <a:pt x="12752" y="3726"/>
                  <a:pt x="12777" y="3701"/>
                </a:cubicBezTo>
                <a:cubicBezTo>
                  <a:pt x="12828" y="3650"/>
                  <a:pt x="12852" y="3675"/>
                  <a:pt x="12852" y="3650"/>
                </a:cubicBezTo>
                <a:cubicBezTo>
                  <a:pt x="12852" y="3626"/>
                  <a:pt x="12877" y="3575"/>
                  <a:pt x="12903" y="3575"/>
                </a:cubicBezTo>
                <a:cubicBezTo>
                  <a:pt x="12928" y="3575"/>
                  <a:pt x="13003" y="3575"/>
                  <a:pt x="13053" y="3550"/>
                </a:cubicBezTo>
                <a:cubicBezTo>
                  <a:pt x="13103" y="3526"/>
                  <a:pt x="13103" y="3575"/>
                  <a:pt x="13128" y="3575"/>
                </a:cubicBezTo>
                <a:cubicBezTo>
                  <a:pt x="13153" y="3601"/>
                  <a:pt x="13177" y="3550"/>
                  <a:pt x="13203" y="3550"/>
                </a:cubicBezTo>
                <a:cubicBezTo>
                  <a:pt x="13203" y="3575"/>
                  <a:pt x="13153" y="3601"/>
                  <a:pt x="13153" y="3650"/>
                </a:cubicBezTo>
                <a:cubicBezTo>
                  <a:pt x="13128" y="3675"/>
                  <a:pt x="13177" y="3675"/>
                  <a:pt x="13203" y="3675"/>
                </a:cubicBezTo>
                <a:cubicBezTo>
                  <a:pt x="13228" y="3701"/>
                  <a:pt x="13177" y="3701"/>
                  <a:pt x="13177" y="3726"/>
                </a:cubicBezTo>
                <a:cubicBezTo>
                  <a:pt x="13177" y="3726"/>
                  <a:pt x="13228" y="3726"/>
                  <a:pt x="13277" y="3675"/>
                </a:cubicBezTo>
                <a:cubicBezTo>
                  <a:pt x="13353" y="3601"/>
                  <a:pt x="13403" y="3601"/>
                  <a:pt x="13453" y="3601"/>
                </a:cubicBezTo>
                <a:cubicBezTo>
                  <a:pt x="13477" y="3601"/>
                  <a:pt x="13453" y="3550"/>
                  <a:pt x="13453" y="3501"/>
                </a:cubicBezTo>
                <a:cubicBezTo>
                  <a:pt x="13477" y="3450"/>
                  <a:pt x="13577" y="3426"/>
                  <a:pt x="13628" y="3450"/>
                </a:cubicBezTo>
                <a:cubicBezTo>
                  <a:pt x="13653" y="3450"/>
                  <a:pt x="13653" y="3475"/>
                  <a:pt x="13628" y="3475"/>
                </a:cubicBezTo>
                <a:cubicBezTo>
                  <a:pt x="13577" y="3450"/>
                  <a:pt x="13553" y="3501"/>
                  <a:pt x="13553" y="3550"/>
                </a:cubicBezTo>
                <a:cubicBezTo>
                  <a:pt x="13553" y="3575"/>
                  <a:pt x="13528" y="3601"/>
                  <a:pt x="13528" y="3626"/>
                </a:cubicBezTo>
                <a:cubicBezTo>
                  <a:pt x="13553" y="3626"/>
                  <a:pt x="13503" y="3650"/>
                  <a:pt x="13503" y="3650"/>
                </a:cubicBezTo>
                <a:cubicBezTo>
                  <a:pt x="13503" y="3675"/>
                  <a:pt x="13503" y="3701"/>
                  <a:pt x="13477" y="3701"/>
                </a:cubicBezTo>
                <a:cubicBezTo>
                  <a:pt x="13453" y="3701"/>
                  <a:pt x="13353" y="3726"/>
                  <a:pt x="13353" y="3751"/>
                </a:cubicBezTo>
                <a:cubicBezTo>
                  <a:pt x="13353" y="3800"/>
                  <a:pt x="13303" y="3800"/>
                  <a:pt x="13277" y="3851"/>
                </a:cubicBezTo>
                <a:cubicBezTo>
                  <a:pt x="13253" y="3875"/>
                  <a:pt x="13177" y="3926"/>
                  <a:pt x="13103" y="4001"/>
                </a:cubicBezTo>
                <a:cubicBezTo>
                  <a:pt x="13053" y="4101"/>
                  <a:pt x="12952" y="4101"/>
                  <a:pt x="12952" y="4101"/>
                </a:cubicBezTo>
                <a:cubicBezTo>
                  <a:pt x="12952" y="4126"/>
                  <a:pt x="12877" y="4126"/>
                  <a:pt x="12877" y="4126"/>
                </a:cubicBezTo>
                <a:cubicBezTo>
                  <a:pt x="12852" y="4126"/>
                  <a:pt x="12877" y="4175"/>
                  <a:pt x="12828" y="4251"/>
                </a:cubicBezTo>
                <a:cubicBezTo>
                  <a:pt x="12777" y="4301"/>
                  <a:pt x="12752" y="4375"/>
                  <a:pt x="12752" y="4451"/>
                </a:cubicBezTo>
                <a:cubicBezTo>
                  <a:pt x="12752" y="4526"/>
                  <a:pt x="12777" y="4751"/>
                  <a:pt x="12803" y="4801"/>
                </a:cubicBezTo>
                <a:cubicBezTo>
                  <a:pt x="12828" y="4851"/>
                  <a:pt x="12803" y="4951"/>
                  <a:pt x="12828" y="4951"/>
                </a:cubicBezTo>
                <a:cubicBezTo>
                  <a:pt x="12852" y="4976"/>
                  <a:pt x="12852" y="5026"/>
                  <a:pt x="12852" y="5026"/>
                </a:cubicBezTo>
                <a:cubicBezTo>
                  <a:pt x="12877" y="5051"/>
                  <a:pt x="12928" y="4976"/>
                  <a:pt x="12952" y="4951"/>
                </a:cubicBezTo>
                <a:cubicBezTo>
                  <a:pt x="12977" y="4926"/>
                  <a:pt x="12977" y="4901"/>
                  <a:pt x="13003" y="4901"/>
                </a:cubicBezTo>
                <a:cubicBezTo>
                  <a:pt x="13028" y="4875"/>
                  <a:pt x="13003" y="4801"/>
                  <a:pt x="13028" y="4801"/>
                </a:cubicBezTo>
                <a:cubicBezTo>
                  <a:pt x="13028" y="4775"/>
                  <a:pt x="13077" y="4775"/>
                  <a:pt x="13077" y="4751"/>
                </a:cubicBezTo>
                <a:cubicBezTo>
                  <a:pt x="13103" y="4726"/>
                  <a:pt x="13128" y="4751"/>
                  <a:pt x="13153" y="4751"/>
                </a:cubicBezTo>
                <a:cubicBezTo>
                  <a:pt x="13177" y="4726"/>
                  <a:pt x="13153" y="4675"/>
                  <a:pt x="13153" y="4651"/>
                </a:cubicBezTo>
                <a:cubicBezTo>
                  <a:pt x="13128" y="4626"/>
                  <a:pt x="13203" y="4601"/>
                  <a:pt x="13228" y="4575"/>
                </a:cubicBezTo>
                <a:cubicBezTo>
                  <a:pt x="13277" y="4551"/>
                  <a:pt x="13303" y="4601"/>
                  <a:pt x="13353" y="4551"/>
                </a:cubicBezTo>
                <a:cubicBezTo>
                  <a:pt x="13377" y="4526"/>
                  <a:pt x="13353" y="4475"/>
                  <a:pt x="13328" y="4451"/>
                </a:cubicBezTo>
                <a:cubicBezTo>
                  <a:pt x="13328" y="4451"/>
                  <a:pt x="13377" y="4351"/>
                  <a:pt x="13403" y="4351"/>
                </a:cubicBezTo>
                <a:cubicBezTo>
                  <a:pt x="13428" y="4351"/>
                  <a:pt x="13453" y="4375"/>
                  <a:pt x="13477" y="4351"/>
                </a:cubicBezTo>
                <a:cubicBezTo>
                  <a:pt x="13503" y="4326"/>
                  <a:pt x="13453" y="4275"/>
                  <a:pt x="13428" y="4275"/>
                </a:cubicBezTo>
                <a:cubicBezTo>
                  <a:pt x="13403" y="4275"/>
                  <a:pt x="13403" y="4201"/>
                  <a:pt x="13453" y="4175"/>
                </a:cubicBezTo>
                <a:cubicBezTo>
                  <a:pt x="13503" y="4151"/>
                  <a:pt x="13477" y="4126"/>
                  <a:pt x="13453" y="4126"/>
                </a:cubicBezTo>
                <a:cubicBezTo>
                  <a:pt x="13403" y="4126"/>
                  <a:pt x="13403" y="4126"/>
                  <a:pt x="13377" y="4126"/>
                </a:cubicBezTo>
                <a:cubicBezTo>
                  <a:pt x="13353" y="4126"/>
                  <a:pt x="13328" y="4075"/>
                  <a:pt x="13377" y="4026"/>
                </a:cubicBezTo>
                <a:cubicBezTo>
                  <a:pt x="13403" y="3975"/>
                  <a:pt x="13453" y="4001"/>
                  <a:pt x="13453" y="3951"/>
                </a:cubicBezTo>
                <a:cubicBezTo>
                  <a:pt x="13453" y="3901"/>
                  <a:pt x="13503" y="3851"/>
                  <a:pt x="13528" y="3826"/>
                </a:cubicBezTo>
                <a:cubicBezTo>
                  <a:pt x="13528" y="3800"/>
                  <a:pt x="13577" y="3826"/>
                  <a:pt x="13603" y="3826"/>
                </a:cubicBezTo>
                <a:cubicBezTo>
                  <a:pt x="13628" y="3826"/>
                  <a:pt x="13628" y="3875"/>
                  <a:pt x="13628" y="3851"/>
                </a:cubicBezTo>
                <a:cubicBezTo>
                  <a:pt x="13653" y="3826"/>
                  <a:pt x="13703" y="3751"/>
                  <a:pt x="13728" y="3751"/>
                </a:cubicBezTo>
                <a:cubicBezTo>
                  <a:pt x="13777" y="3751"/>
                  <a:pt x="13753" y="3800"/>
                  <a:pt x="13753" y="3826"/>
                </a:cubicBezTo>
                <a:cubicBezTo>
                  <a:pt x="13753" y="3875"/>
                  <a:pt x="13777" y="3826"/>
                  <a:pt x="13853" y="3775"/>
                </a:cubicBezTo>
                <a:cubicBezTo>
                  <a:pt x="13902" y="3751"/>
                  <a:pt x="14028" y="3751"/>
                  <a:pt x="14078" y="3775"/>
                </a:cubicBezTo>
                <a:cubicBezTo>
                  <a:pt x="14128" y="3775"/>
                  <a:pt x="14128" y="3826"/>
                  <a:pt x="14153" y="3826"/>
                </a:cubicBezTo>
                <a:cubicBezTo>
                  <a:pt x="14178" y="3826"/>
                  <a:pt x="14153" y="3775"/>
                  <a:pt x="14178" y="3775"/>
                </a:cubicBezTo>
                <a:cubicBezTo>
                  <a:pt x="14228" y="3751"/>
                  <a:pt x="14278" y="3726"/>
                  <a:pt x="14328" y="3701"/>
                </a:cubicBezTo>
                <a:cubicBezTo>
                  <a:pt x="14353" y="3650"/>
                  <a:pt x="14353" y="3675"/>
                  <a:pt x="14378" y="3650"/>
                </a:cubicBezTo>
                <a:cubicBezTo>
                  <a:pt x="14403" y="3626"/>
                  <a:pt x="14428" y="3650"/>
                  <a:pt x="14428" y="3626"/>
                </a:cubicBezTo>
                <a:cubicBezTo>
                  <a:pt x="14428" y="3601"/>
                  <a:pt x="14503" y="3575"/>
                  <a:pt x="14578" y="3550"/>
                </a:cubicBezTo>
                <a:cubicBezTo>
                  <a:pt x="14678" y="3526"/>
                  <a:pt x="14778" y="3475"/>
                  <a:pt x="14778" y="3450"/>
                </a:cubicBezTo>
                <a:cubicBezTo>
                  <a:pt x="14778" y="3426"/>
                  <a:pt x="14828" y="3426"/>
                  <a:pt x="14828" y="3450"/>
                </a:cubicBezTo>
                <a:cubicBezTo>
                  <a:pt x="14828" y="3475"/>
                  <a:pt x="14853" y="3450"/>
                  <a:pt x="14903" y="3475"/>
                </a:cubicBezTo>
                <a:cubicBezTo>
                  <a:pt x="14953" y="3475"/>
                  <a:pt x="14978" y="3501"/>
                  <a:pt x="15003" y="3450"/>
                </a:cubicBezTo>
                <a:cubicBezTo>
                  <a:pt x="15053" y="3426"/>
                  <a:pt x="15003" y="3401"/>
                  <a:pt x="15003" y="3375"/>
                </a:cubicBezTo>
                <a:cubicBezTo>
                  <a:pt x="15003" y="3350"/>
                  <a:pt x="14953" y="3326"/>
                  <a:pt x="14953" y="3301"/>
                </a:cubicBezTo>
                <a:cubicBezTo>
                  <a:pt x="14953" y="3275"/>
                  <a:pt x="14903" y="3201"/>
                  <a:pt x="14878" y="3201"/>
                </a:cubicBezTo>
                <a:cubicBezTo>
                  <a:pt x="14878" y="3226"/>
                  <a:pt x="14828" y="3201"/>
                  <a:pt x="14828" y="3175"/>
                </a:cubicBezTo>
                <a:cubicBezTo>
                  <a:pt x="14828" y="3150"/>
                  <a:pt x="14828" y="3126"/>
                  <a:pt x="14803" y="3126"/>
                </a:cubicBezTo>
                <a:cubicBezTo>
                  <a:pt x="14778" y="3150"/>
                  <a:pt x="14728" y="3150"/>
                  <a:pt x="14728" y="3126"/>
                </a:cubicBezTo>
                <a:cubicBezTo>
                  <a:pt x="14703" y="3101"/>
                  <a:pt x="14778" y="3075"/>
                  <a:pt x="14828" y="3101"/>
                </a:cubicBezTo>
                <a:cubicBezTo>
                  <a:pt x="14853" y="3101"/>
                  <a:pt x="14853" y="3126"/>
                  <a:pt x="14878" y="3150"/>
                </a:cubicBezTo>
                <a:cubicBezTo>
                  <a:pt x="14878" y="3150"/>
                  <a:pt x="14953" y="3150"/>
                  <a:pt x="14978" y="3126"/>
                </a:cubicBezTo>
                <a:cubicBezTo>
                  <a:pt x="15003" y="3126"/>
                  <a:pt x="15078" y="3101"/>
                  <a:pt x="15103" y="3075"/>
                </a:cubicBezTo>
                <a:cubicBezTo>
                  <a:pt x="15103" y="3050"/>
                  <a:pt x="15103" y="3026"/>
                  <a:pt x="15128" y="3026"/>
                </a:cubicBezTo>
                <a:cubicBezTo>
                  <a:pt x="15153" y="3001"/>
                  <a:pt x="15128" y="2975"/>
                  <a:pt x="15103" y="2975"/>
                </a:cubicBezTo>
                <a:cubicBezTo>
                  <a:pt x="15078" y="2950"/>
                  <a:pt x="15078" y="2926"/>
                  <a:pt x="15103" y="2926"/>
                </a:cubicBezTo>
                <a:cubicBezTo>
                  <a:pt x="15128" y="2926"/>
                  <a:pt x="15128" y="2901"/>
                  <a:pt x="15153" y="2901"/>
                </a:cubicBezTo>
                <a:cubicBezTo>
                  <a:pt x="15178" y="2875"/>
                  <a:pt x="15178" y="2901"/>
                  <a:pt x="15203" y="2875"/>
                </a:cubicBezTo>
                <a:cubicBezTo>
                  <a:pt x="15228" y="2875"/>
                  <a:pt x="15203" y="2901"/>
                  <a:pt x="15178" y="2926"/>
                </a:cubicBezTo>
                <a:cubicBezTo>
                  <a:pt x="15178" y="2950"/>
                  <a:pt x="15228" y="2975"/>
                  <a:pt x="15228" y="3001"/>
                </a:cubicBezTo>
                <a:cubicBezTo>
                  <a:pt x="15228" y="3026"/>
                  <a:pt x="15278" y="3026"/>
                  <a:pt x="15328" y="3001"/>
                </a:cubicBezTo>
                <a:cubicBezTo>
                  <a:pt x="15353" y="2975"/>
                  <a:pt x="15453" y="3026"/>
                  <a:pt x="15453" y="3050"/>
                </a:cubicBezTo>
                <a:cubicBezTo>
                  <a:pt x="15478" y="3075"/>
                  <a:pt x="15478" y="3101"/>
                  <a:pt x="15528" y="3126"/>
                </a:cubicBezTo>
                <a:cubicBezTo>
                  <a:pt x="15578" y="3150"/>
                  <a:pt x="15628" y="3150"/>
                  <a:pt x="15628" y="3175"/>
                </a:cubicBezTo>
                <a:cubicBezTo>
                  <a:pt x="15628" y="3175"/>
                  <a:pt x="15653" y="3201"/>
                  <a:pt x="15678" y="3201"/>
                </a:cubicBezTo>
                <a:cubicBezTo>
                  <a:pt x="15703" y="3175"/>
                  <a:pt x="15703" y="3226"/>
                  <a:pt x="15728" y="3201"/>
                </a:cubicBezTo>
                <a:cubicBezTo>
                  <a:pt x="15753" y="3175"/>
                  <a:pt x="15753" y="3201"/>
                  <a:pt x="15778" y="3175"/>
                </a:cubicBezTo>
                <a:cubicBezTo>
                  <a:pt x="15804" y="3175"/>
                  <a:pt x="15728" y="3150"/>
                  <a:pt x="15753" y="3126"/>
                </a:cubicBezTo>
                <a:lnTo>
                  <a:pt x="15778" y="3150"/>
                </a:lnTo>
                <a:cubicBezTo>
                  <a:pt x="15804" y="3150"/>
                  <a:pt x="15778" y="3101"/>
                  <a:pt x="15804" y="3101"/>
                </a:cubicBezTo>
                <a:cubicBezTo>
                  <a:pt x="15804" y="3101"/>
                  <a:pt x="15804" y="3001"/>
                  <a:pt x="15778" y="3001"/>
                </a:cubicBezTo>
                <a:cubicBezTo>
                  <a:pt x="15778" y="3001"/>
                  <a:pt x="15778" y="2975"/>
                  <a:pt x="15804" y="3001"/>
                </a:cubicBezTo>
                <a:cubicBezTo>
                  <a:pt x="15853" y="3026"/>
                  <a:pt x="15904" y="3026"/>
                  <a:pt x="15928" y="3026"/>
                </a:cubicBezTo>
                <a:cubicBezTo>
                  <a:pt x="15953" y="3026"/>
                  <a:pt x="15928" y="3001"/>
                  <a:pt x="15904" y="3001"/>
                </a:cubicBezTo>
                <a:cubicBezTo>
                  <a:pt x="15878" y="2975"/>
                  <a:pt x="15904" y="2975"/>
                  <a:pt x="15928" y="2975"/>
                </a:cubicBezTo>
                <a:cubicBezTo>
                  <a:pt x="15928" y="3001"/>
                  <a:pt x="15953" y="3001"/>
                  <a:pt x="15978" y="3001"/>
                </a:cubicBezTo>
                <a:cubicBezTo>
                  <a:pt x="15978" y="2975"/>
                  <a:pt x="15978" y="2926"/>
                  <a:pt x="16028" y="2926"/>
                </a:cubicBezTo>
                <a:cubicBezTo>
                  <a:pt x="16053" y="2950"/>
                  <a:pt x="16053" y="2926"/>
                  <a:pt x="16028" y="2901"/>
                </a:cubicBezTo>
                <a:close/>
                <a:moveTo>
                  <a:pt x="8276" y="4726"/>
                </a:moveTo>
                <a:lnTo>
                  <a:pt x="8276" y="4726"/>
                </a:lnTo>
                <a:cubicBezTo>
                  <a:pt x="8202" y="4801"/>
                  <a:pt x="8051" y="4826"/>
                  <a:pt x="8051" y="4875"/>
                </a:cubicBezTo>
                <a:cubicBezTo>
                  <a:pt x="8051" y="4951"/>
                  <a:pt x="7851" y="4976"/>
                  <a:pt x="7827" y="4951"/>
                </a:cubicBezTo>
                <a:cubicBezTo>
                  <a:pt x="7827" y="4926"/>
                  <a:pt x="7976" y="4926"/>
                  <a:pt x="8002" y="4826"/>
                </a:cubicBezTo>
                <a:cubicBezTo>
                  <a:pt x="8051" y="4751"/>
                  <a:pt x="8202" y="4701"/>
                  <a:pt x="8251" y="4601"/>
                </a:cubicBezTo>
                <a:cubicBezTo>
                  <a:pt x="8302" y="4526"/>
                  <a:pt x="8351" y="4401"/>
                  <a:pt x="8376" y="4401"/>
                </a:cubicBezTo>
                <a:cubicBezTo>
                  <a:pt x="8402" y="4401"/>
                  <a:pt x="8351" y="4675"/>
                  <a:pt x="8276" y="4726"/>
                </a:cubicBezTo>
                <a:close/>
                <a:moveTo>
                  <a:pt x="8627" y="1475"/>
                </a:moveTo>
                <a:lnTo>
                  <a:pt x="8627" y="1475"/>
                </a:lnTo>
                <a:cubicBezTo>
                  <a:pt x="8627" y="1501"/>
                  <a:pt x="8551" y="1501"/>
                  <a:pt x="8576" y="1525"/>
                </a:cubicBezTo>
                <a:cubicBezTo>
                  <a:pt x="8602" y="1550"/>
                  <a:pt x="8752" y="1525"/>
                  <a:pt x="8752" y="1501"/>
                </a:cubicBezTo>
                <a:cubicBezTo>
                  <a:pt x="8752" y="1450"/>
                  <a:pt x="8652" y="1450"/>
                  <a:pt x="8627" y="1475"/>
                </a:cubicBezTo>
                <a:close/>
                <a:moveTo>
                  <a:pt x="2825" y="200"/>
                </a:moveTo>
                <a:lnTo>
                  <a:pt x="2825" y="200"/>
                </a:lnTo>
                <a:cubicBezTo>
                  <a:pt x="2875" y="225"/>
                  <a:pt x="2725" y="225"/>
                  <a:pt x="2701" y="250"/>
                </a:cubicBezTo>
                <a:cubicBezTo>
                  <a:pt x="2701" y="275"/>
                  <a:pt x="2601" y="250"/>
                  <a:pt x="2625" y="300"/>
                </a:cubicBezTo>
                <a:cubicBezTo>
                  <a:pt x="2625" y="325"/>
                  <a:pt x="2775" y="325"/>
                  <a:pt x="2775" y="300"/>
                </a:cubicBezTo>
                <a:cubicBezTo>
                  <a:pt x="2775" y="275"/>
                  <a:pt x="2850" y="300"/>
                  <a:pt x="2850" y="275"/>
                </a:cubicBezTo>
                <a:cubicBezTo>
                  <a:pt x="2850" y="250"/>
                  <a:pt x="2875" y="225"/>
                  <a:pt x="2950" y="225"/>
                </a:cubicBezTo>
                <a:cubicBezTo>
                  <a:pt x="3050" y="200"/>
                  <a:pt x="3050" y="175"/>
                  <a:pt x="2975" y="150"/>
                </a:cubicBezTo>
                <a:cubicBezTo>
                  <a:pt x="2901" y="125"/>
                  <a:pt x="2801" y="175"/>
                  <a:pt x="2825" y="200"/>
                </a:cubicBezTo>
                <a:close/>
                <a:moveTo>
                  <a:pt x="3201" y="1701"/>
                </a:moveTo>
                <a:lnTo>
                  <a:pt x="3201" y="1701"/>
                </a:lnTo>
                <a:cubicBezTo>
                  <a:pt x="3201" y="1725"/>
                  <a:pt x="3201" y="1750"/>
                  <a:pt x="3150" y="1750"/>
                </a:cubicBezTo>
                <a:cubicBezTo>
                  <a:pt x="3075" y="1750"/>
                  <a:pt x="3175" y="1775"/>
                  <a:pt x="3175" y="1801"/>
                </a:cubicBezTo>
                <a:cubicBezTo>
                  <a:pt x="3175" y="1825"/>
                  <a:pt x="3125" y="1825"/>
                  <a:pt x="3125" y="1850"/>
                </a:cubicBezTo>
                <a:cubicBezTo>
                  <a:pt x="3101" y="1901"/>
                  <a:pt x="3001" y="1850"/>
                  <a:pt x="3001" y="1925"/>
                </a:cubicBezTo>
                <a:cubicBezTo>
                  <a:pt x="2975" y="1975"/>
                  <a:pt x="3050" y="1975"/>
                  <a:pt x="3101" y="1975"/>
                </a:cubicBezTo>
                <a:cubicBezTo>
                  <a:pt x="3125" y="1975"/>
                  <a:pt x="3075" y="2025"/>
                  <a:pt x="3101" y="2050"/>
                </a:cubicBezTo>
                <a:cubicBezTo>
                  <a:pt x="3150" y="2075"/>
                  <a:pt x="3175" y="2075"/>
                  <a:pt x="3150" y="2025"/>
                </a:cubicBezTo>
                <a:cubicBezTo>
                  <a:pt x="3125" y="1975"/>
                  <a:pt x="3250" y="2025"/>
                  <a:pt x="3225" y="2075"/>
                </a:cubicBezTo>
                <a:cubicBezTo>
                  <a:pt x="3175" y="2101"/>
                  <a:pt x="3275" y="2125"/>
                  <a:pt x="3350" y="2125"/>
                </a:cubicBezTo>
                <a:cubicBezTo>
                  <a:pt x="3401" y="2150"/>
                  <a:pt x="3575" y="2175"/>
                  <a:pt x="3575" y="2125"/>
                </a:cubicBezTo>
                <a:cubicBezTo>
                  <a:pt x="3575" y="2101"/>
                  <a:pt x="3526" y="2075"/>
                  <a:pt x="3450" y="2025"/>
                </a:cubicBezTo>
                <a:cubicBezTo>
                  <a:pt x="3401" y="1950"/>
                  <a:pt x="3350" y="1850"/>
                  <a:pt x="3426" y="1825"/>
                </a:cubicBezTo>
                <a:cubicBezTo>
                  <a:pt x="3501" y="1775"/>
                  <a:pt x="3426" y="1750"/>
                  <a:pt x="3501" y="1701"/>
                </a:cubicBezTo>
                <a:cubicBezTo>
                  <a:pt x="3575" y="1675"/>
                  <a:pt x="3526" y="1625"/>
                  <a:pt x="3575" y="1625"/>
                </a:cubicBezTo>
                <a:cubicBezTo>
                  <a:pt x="3626" y="1601"/>
                  <a:pt x="3575" y="1550"/>
                  <a:pt x="3626" y="1550"/>
                </a:cubicBezTo>
                <a:cubicBezTo>
                  <a:pt x="3675" y="1550"/>
                  <a:pt x="3701" y="1475"/>
                  <a:pt x="3701" y="1450"/>
                </a:cubicBezTo>
                <a:cubicBezTo>
                  <a:pt x="3675" y="1425"/>
                  <a:pt x="3750" y="1450"/>
                  <a:pt x="3775" y="1425"/>
                </a:cubicBezTo>
                <a:cubicBezTo>
                  <a:pt x="3800" y="1401"/>
                  <a:pt x="3875" y="1425"/>
                  <a:pt x="3901" y="1375"/>
                </a:cubicBezTo>
                <a:cubicBezTo>
                  <a:pt x="3926" y="1325"/>
                  <a:pt x="4251" y="1225"/>
                  <a:pt x="4426" y="1175"/>
                </a:cubicBezTo>
                <a:cubicBezTo>
                  <a:pt x="4601" y="1125"/>
                  <a:pt x="4726" y="1050"/>
                  <a:pt x="4675" y="1000"/>
                </a:cubicBezTo>
                <a:cubicBezTo>
                  <a:pt x="4601" y="950"/>
                  <a:pt x="4426" y="1025"/>
                  <a:pt x="4375" y="1050"/>
                </a:cubicBezTo>
                <a:cubicBezTo>
                  <a:pt x="4326" y="1100"/>
                  <a:pt x="4275" y="1075"/>
                  <a:pt x="4226" y="1100"/>
                </a:cubicBezTo>
                <a:cubicBezTo>
                  <a:pt x="4175" y="1125"/>
                  <a:pt x="4075" y="1150"/>
                  <a:pt x="4050" y="1125"/>
                </a:cubicBezTo>
                <a:cubicBezTo>
                  <a:pt x="4001" y="1075"/>
                  <a:pt x="3926" y="1150"/>
                  <a:pt x="3901" y="1150"/>
                </a:cubicBezTo>
                <a:cubicBezTo>
                  <a:pt x="3875" y="1150"/>
                  <a:pt x="3826" y="1175"/>
                  <a:pt x="3775" y="1175"/>
                </a:cubicBezTo>
                <a:cubicBezTo>
                  <a:pt x="3750" y="1175"/>
                  <a:pt x="3675" y="1200"/>
                  <a:pt x="3650" y="1225"/>
                </a:cubicBezTo>
                <a:cubicBezTo>
                  <a:pt x="3650" y="1250"/>
                  <a:pt x="3601" y="1250"/>
                  <a:pt x="3601" y="1275"/>
                </a:cubicBezTo>
                <a:cubicBezTo>
                  <a:pt x="3601" y="1300"/>
                  <a:pt x="3526" y="1325"/>
                  <a:pt x="3501" y="1300"/>
                </a:cubicBezTo>
                <a:cubicBezTo>
                  <a:pt x="3475" y="1275"/>
                  <a:pt x="3450" y="1325"/>
                  <a:pt x="3475" y="1375"/>
                </a:cubicBezTo>
                <a:cubicBezTo>
                  <a:pt x="3526" y="1401"/>
                  <a:pt x="3426" y="1401"/>
                  <a:pt x="3426" y="1425"/>
                </a:cubicBezTo>
                <a:cubicBezTo>
                  <a:pt x="3450" y="1450"/>
                  <a:pt x="3401" y="1475"/>
                  <a:pt x="3401" y="1501"/>
                </a:cubicBezTo>
                <a:cubicBezTo>
                  <a:pt x="3426" y="1525"/>
                  <a:pt x="3375" y="1525"/>
                  <a:pt x="3326" y="1525"/>
                </a:cubicBezTo>
                <a:cubicBezTo>
                  <a:pt x="3275" y="1550"/>
                  <a:pt x="3250" y="1601"/>
                  <a:pt x="3326" y="1601"/>
                </a:cubicBezTo>
                <a:cubicBezTo>
                  <a:pt x="3375" y="1601"/>
                  <a:pt x="3275" y="1601"/>
                  <a:pt x="3301" y="1650"/>
                </a:cubicBezTo>
                <a:cubicBezTo>
                  <a:pt x="3301" y="1701"/>
                  <a:pt x="3201" y="1675"/>
                  <a:pt x="3201" y="1701"/>
                </a:cubicBezTo>
                <a:close/>
                <a:moveTo>
                  <a:pt x="3575" y="250"/>
                </a:moveTo>
                <a:lnTo>
                  <a:pt x="3575" y="250"/>
                </a:lnTo>
                <a:cubicBezTo>
                  <a:pt x="3601" y="275"/>
                  <a:pt x="3575" y="275"/>
                  <a:pt x="3526" y="275"/>
                </a:cubicBezTo>
                <a:cubicBezTo>
                  <a:pt x="3450" y="275"/>
                  <a:pt x="3426" y="300"/>
                  <a:pt x="3450" y="325"/>
                </a:cubicBezTo>
                <a:cubicBezTo>
                  <a:pt x="3501" y="350"/>
                  <a:pt x="3650" y="350"/>
                  <a:pt x="3675" y="325"/>
                </a:cubicBezTo>
                <a:cubicBezTo>
                  <a:pt x="3701" y="275"/>
                  <a:pt x="3750" y="300"/>
                  <a:pt x="3775" y="275"/>
                </a:cubicBezTo>
                <a:cubicBezTo>
                  <a:pt x="3775" y="250"/>
                  <a:pt x="3575" y="225"/>
                  <a:pt x="3575" y="250"/>
                </a:cubicBezTo>
                <a:close/>
                <a:moveTo>
                  <a:pt x="3575" y="100"/>
                </a:moveTo>
                <a:lnTo>
                  <a:pt x="3575" y="100"/>
                </a:lnTo>
                <a:cubicBezTo>
                  <a:pt x="3650" y="100"/>
                  <a:pt x="3626" y="50"/>
                  <a:pt x="3675" y="75"/>
                </a:cubicBezTo>
                <a:cubicBezTo>
                  <a:pt x="3701" y="75"/>
                  <a:pt x="3775" y="75"/>
                  <a:pt x="3750" y="50"/>
                </a:cubicBezTo>
                <a:cubicBezTo>
                  <a:pt x="3726" y="0"/>
                  <a:pt x="3550" y="25"/>
                  <a:pt x="3575" y="50"/>
                </a:cubicBezTo>
                <a:cubicBezTo>
                  <a:pt x="3601" y="75"/>
                  <a:pt x="3450" y="50"/>
                  <a:pt x="3450" y="75"/>
                </a:cubicBezTo>
                <a:cubicBezTo>
                  <a:pt x="3450" y="75"/>
                  <a:pt x="3501" y="100"/>
                  <a:pt x="3575" y="100"/>
                </a:cubicBezTo>
                <a:close/>
                <a:moveTo>
                  <a:pt x="4050" y="200"/>
                </a:moveTo>
                <a:lnTo>
                  <a:pt x="4050" y="200"/>
                </a:lnTo>
                <a:cubicBezTo>
                  <a:pt x="4075" y="175"/>
                  <a:pt x="4026" y="175"/>
                  <a:pt x="4026" y="150"/>
                </a:cubicBezTo>
                <a:cubicBezTo>
                  <a:pt x="4026" y="125"/>
                  <a:pt x="3850" y="125"/>
                  <a:pt x="3875" y="150"/>
                </a:cubicBezTo>
                <a:cubicBezTo>
                  <a:pt x="3875" y="175"/>
                  <a:pt x="3750" y="200"/>
                  <a:pt x="3800" y="225"/>
                </a:cubicBezTo>
                <a:cubicBezTo>
                  <a:pt x="3850" y="275"/>
                  <a:pt x="4050" y="225"/>
                  <a:pt x="4050" y="200"/>
                </a:cubicBezTo>
                <a:close/>
                <a:moveTo>
                  <a:pt x="3225" y="275"/>
                </a:moveTo>
                <a:lnTo>
                  <a:pt x="3225" y="275"/>
                </a:lnTo>
                <a:cubicBezTo>
                  <a:pt x="3225" y="250"/>
                  <a:pt x="3075" y="300"/>
                  <a:pt x="3101" y="300"/>
                </a:cubicBezTo>
                <a:cubicBezTo>
                  <a:pt x="3125" y="300"/>
                  <a:pt x="3225" y="325"/>
                  <a:pt x="3225" y="275"/>
                </a:cubicBezTo>
                <a:close/>
                <a:moveTo>
                  <a:pt x="3626" y="150"/>
                </a:moveTo>
                <a:lnTo>
                  <a:pt x="3626" y="150"/>
                </a:lnTo>
                <a:cubicBezTo>
                  <a:pt x="3626" y="100"/>
                  <a:pt x="3526" y="150"/>
                  <a:pt x="3450" y="100"/>
                </a:cubicBezTo>
                <a:cubicBezTo>
                  <a:pt x="3375" y="75"/>
                  <a:pt x="3350" y="75"/>
                  <a:pt x="3401" y="125"/>
                </a:cubicBezTo>
                <a:cubicBezTo>
                  <a:pt x="3426" y="150"/>
                  <a:pt x="3275" y="150"/>
                  <a:pt x="3301" y="175"/>
                </a:cubicBezTo>
                <a:cubicBezTo>
                  <a:pt x="3350" y="225"/>
                  <a:pt x="3601" y="200"/>
                  <a:pt x="3626" y="15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1" name="Freeform 158">
            <a:extLst>
              <a:ext uri="{FF2B5EF4-FFF2-40B4-BE49-F238E27FC236}">
                <a16:creationId xmlns:a16="http://schemas.microsoft.com/office/drawing/2014/main" id="{F1057B41-11A7-77E1-98B3-5475DC442284}"/>
              </a:ext>
            </a:extLst>
          </p:cNvPr>
          <p:cNvSpPr>
            <a:spLocks noChangeArrowheads="1"/>
          </p:cNvSpPr>
          <p:nvPr/>
        </p:nvSpPr>
        <p:spPr bwMode="auto">
          <a:xfrm>
            <a:off x="3251722" y="1392091"/>
            <a:ext cx="5120124" cy="1970144"/>
          </a:xfrm>
          <a:custGeom>
            <a:avLst/>
            <a:gdLst>
              <a:gd name="T0" fmla="*/ 7676 w 16054"/>
              <a:gd name="T1" fmla="*/ 750 h 6177"/>
              <a:gd name="T2" fmla="*/ 7426 w 16054"/>
              <a:gd name="T3" fmla="*/ 550 h 6177"/>
              <a:gd name="T4" fmla="*/ 6902 w 16054"/>
              <a:gd name="T5" fmla="*/ 175 h 6177"/>
              <a:gd name="T6" fmla="*/ 12052 w 16054"/>
              <a:gd name="T7" fmla="*/ 1300 h 6177"/>
              <a:gd name="T8" fmla="*/ 11027 w 16054"/>
              <a:gd name="T9" fmla="*/ 1350 h 6177"/>
              <a:gd name="T10" fmla="*/ 11477 w 16054"/>
              <a:gd name="T11" fmla="*/ 1601 h 6177"/>
              <a:gd name="T12" fmla="*/ 2425 w 16054"/>
              <a:gd name="T13" fmla="*/ 225 h 6177"/>
              <a:gd name="T14" fmla="*/ 11652 w 16054"/>
              <a:gd name="T15" fmla="*/ 5276 h 6177"/>
              <a:gd name="T16" fmla="*/ 15553 w 16054"/>
              <a:gd name="T17" fmla="*/ 2826 h 6177"/>
              <a:gd name="T18" fmla="*/ 14003 w 16054"/>
              <a:gd name="T19" fmla="*/ 2350 h 6177"/>
              <a:gd name="T20" fmla="*/ 12252 w 16054"/>
              <a:gd name="T21" fmla="*/ 2025 h 6177"/>
              <a:gd name="T22" fmla="*/ 11177 w 16054"/>
              <a:gd name="T23" fmla="*/ 1901 h 6177"/>
              <a:gd name="T24" fmla="*/ 10227 w 16054"/>
              <a:gd name="T25" fmla="*/ 2001 h 6177"/>
              <a:gd name="T26" fmla="*/ 9627 w 16054"/>
              <a:gd name="T27" fmla="*/ 1750 h 6177"/>
              <a:gd name="T28" fmla="*/ 8327 w 16054"/>
              <a:gd name="T29" fmla="*/ 1650 h 6177"/>
              <a:gd name="T30" fmla="*/ 8676 w 16054"/>
              <a:gd name="T31" fmla="*/ 1150 h 6177"/>
              <a:gd name="T32" fmla="*/ 7727 w 16054"/>
              <a:gd name="T33" fmla="*/ 850 h 6177"/>
              <a:gd name="T34" fmla="*/ 6951 w 16054"/>
              <a:gd name="T35" fmla="*/ 1200 h 6177"/>
              <a:gd name="T36" fmla="*/ 6376 w 16054"/>
              <a:gd name="T37" fmla="*/ 1550 h 6177"/>
              <a:gd name="T38" fmla="*/ 5551 w 16054"/>
              <a:gd name="T39" fmla="*/ 1901 h 6177"/>
              <a:gd name="T40" fmla="*/ 5151 w 16054"/>
              <a:gd name="T41" fmla="*/ 2301 h 6177"/>
              <a:gd name="T42" fmla="*/ 5100 w 16054"/>
              <a:gd name="T43" fmla="*/ 2775 h 6177"/>
              <a:gd name="T44" fmla="*/ 5100 w 16054"/>
              <a:gd name="T45" fmla="*/ 2526 h 6177"/>
              <a:gd name="T46" fmla="*/ 4526 w 16054"/>
              <a:gd name="T47" fmla="*/ 2201 h 6177"/>
              <a:gd name="T48" fmla="*/ 3875 w 16054"/>
              <a:gd name="T49" fmla="*/ 2350 h 6177"/>
              <a:gd name="T50" fmla="*/ 3075 w 16054"/>
              <a:gd name="T51" fmla="*/ 2500 h 6177"/>
              <a:gd name="T52" fmla="*/ 2300 w 16054"/>
              <a:gd name="T53" fmla="*/ 2726 h 6177"/>
              <a:gd name="T54" fmla="*/ 1700 w 16054"/>
              <a:gd name="T55" fmla="*/ 3150 h 6177"/>
              <a:gd name="T56" fmla="*/ 1750 w 16054"/>
              <a:gd name="T57" fmla="*/ 2875 h 6177"/>
              <a:gd name="T58" fmla="*/ 1075 w 16054"/>
              <a:gd name="T59" fmla="*/ 2275 h 6177"/>
              <a:gd name="T60" fmla="*/ 975 w 16054"/>
              <a:gd name="T61" fmla="*/ 3126 h 6177"/>
              <a:gd name="T62" fmla="*/ 725 w 16054"/>
              <a:gd name="T63" fmla="*/ 4026 h 6177"/>
              <a:gd name="T64" fmla="*/ 1175 w 16054"/>
              <a:gd name="T65" fmla="*/ 4726 h 6177"/>
              <a:gd name="T66" fmla="*/ 1775 w 16054"/>
              <a:gd name="T67" fmla="*/ 5126 h 6177"/>
              <a:gd name="T68" fmla="*/ 1600 w 16054"/>
              <a:gd name="T69" fmla="*/ 5701 h 6177"/>
              <a:gd name="T70" fmla="*/ 2601 w 16054"/>
              <a:gd name="T71" fmla="*/ 5951 h 6177"/>
              <a:gd name="T72" fmla="*/ 2725 w 16054"/>
              <a:gd name="T73" fmla="*/ 5151 h 6177"/>
              <a:gd name="T74" fmla="*/ 3750 w 16054"/>
              <a:gd name="T75" fmla="*/ 5026 h 6177"/>
              <a:gd name="T76" fmla="*/ 4351 w 16054"/>
              <a:gd name="T77" fmla="*/ 4551 h 6177"/>
              <a:gd name="T78" fmla="*/ 5351 w 16054"/>
              <a:gd name="T79" fmla="*/ 4575 h 6177"/>
              <a:gd name="T80" fmla="*/ 6426 w 16054"/>
              <a:gd name="T81" fmla="*/ 5226 h 6177"/>
              <a:gd name="T82" fmla="*/ 7351 w 16054"/>
              <a:gd name="T83" fmla="*/ 4901 h 6177"/>
              <a:gd name="T84" fmla="*/ 8502 w 16054"/>
              <a:gd name="T85" fmla="*/ 5226 h 6177"/>
              <a:gd name="T86" fmla="*/ 9652 w 16054"/>
              <a:gd name="T87" fmla="*/ 4701 h 6177"/>
              <a:gd name="T88" fmla="*/ 10727 w 16054"/>
              <a:gd name="T89" fmla="*/ 5476 h 6177"/>
              <a:gd name="T90" fmla="*/ 11327 w 16054"/>
              <a:gd name="T91" fmla="*/ 5051 h 6177"/>
              <a:gd name="T92" fmla="*/ 10952 w 16054"/>
              <a:gd name="T93" fmla="*/ 4551 h 6177"/>
              <a:gd name="T94" fmla="*/ 12328 w 16054"/>
              <a:gd name="T95" fmla="*/ 3875 h 6177"/>
              <a:gd name="T96" fmla="*/ 13153 w 16054"/>
              <a:gd name="T97" fmla="*/ 3650 h 6177"/>
              <a:gd name="T98" fmla="*/ 12877 w 16054"/>
              <a:gd name="T99" fmla="*/ 4126 h 6177"/>
              <a:gd name="T100" fmla="*/ 13477 w 16054"/>
              <a:gd name="T101" fmla="*/ 4351 h 6177"/>
              <a:gd name="T102" fmla="*/ 14328 w 16054"/>
              <a:gd name="T103" fmla="*/ 3701 h 6177"/>
              <a:gd name="T104" fmla="*/ 14978 w 16054"/>
              <a:gd name="T105" fmla="*/ 3126 h 6177"/>
              <a:gd name="T106" fmla="*/ 15753 w 16054"/>
              <a:gd name="T107" fmla="*/ 3126 h 6177"/>
              <a:gd name="T108" fmla="*/ 8251 w 16054"/>
              <a:gd name="T109" fmla="*/ 4601 h 6177"/>
              <a:gd name="T110" fmla="*/ 2825 w 16054"/>
              <a:gd name="T111" fmla="*/ 200 h 6177"/>
              <a:gd name="T112" fmla="*/ 3575 w 16054"/>
              <a:gd name="T113" fmla="*/ 1625 h 6177"/>
              <a:gd name="T114" fmla="*/ 3426 w 16054"/>
              <a:gd name="T115" fmla="*/ 1425 h 6177"/>
              <a:gd name="T116" fmla="*/ 3750 w 16054"/>
              <a:gd name="T117" fmla="*/ 50 h 6177"/>
              <a:gd name="T118" fmla="*/ 3450 w 16054"/>
              <a:gd name="T119" fmla="*/ 100 h 6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54" h="6177">
                <a:moveTo>
                  <a:pt x="250" y="4451"/>
                </a:moveTo>
                <a:lnTo>
                  <a:pt x="250" y="4451"/>
                </a:lnTo>
                <a:cubicBezTo>
                  <a:pt x="225" y="4475"/>
                  <a:pt x="200" y="4451"/>
                  <a:pt x="200" y="4451"/>
                </a:cubicBezTo>
                <a:cubicBezTo>
                  <a:pt x="174" y="4426"/>
                  <a:pt x="150" y="4426"/>
                  <a:pt x="125" y="4426"/>
                </a:cubicBezTo>
                <a:cubicBezTo>
                  <a:pt x="125" y="4451"/>
                  <a:pt x="150" y="4451"/>
                  <a:pt x="150" y="4451"/>
                </a:cubicBezTo>
                <a:cubicBezTo>
                  <a:pt x="150" y="4475"/>
                  <a:pt x="100" y="4475"/>
                  <a:pt x="125" y="4501"/>
                </a:cubicBezTo>
                <a:cubicBezTo>
                  <a:pt x="125" y="4526"/>
                  <a:pt x="74" y="4526"/>
                  <a:pt x="74" y="4501"/>
                </a:cubicBezTo>
                <a:cubicBezTo>
                  <a:pt x="74" y="4475"/>
                  <a:pt x="0" y="4475"/>
                  <a:pt x="0" y="4501"/>
                </a:cubicBezTo>
                <a:lnTo>
                  <a:pt x="0" y="4526"/>
                </a:lnTo>
                <a:cubicBezTo>
                  <a:pt x="25" y="4526"/>
                  <a:pt x="50" y="4551"/>
                  <a:pt x="50" y="4551"/>
                </a:cubicBezTo>
                <a:cubicBezTo>
                  <a:pt x="50" y="4551"/>
                  <a:pt x="225" y="4575"/>
                  <a:pt x="300" y="4551"/>
                </a:cubicBezTo>
                <a:lnTo>
                  <a:pt x="300" y="4501"/>
                </a:lnTo>
                <a:cubicBezTo>
                  <a:pt x="300" y="4475"/>
                  <a:pt x="250" y="4451"/>
                  <a:pt x="250" y="4451"/>
                </a:cubicBezTo>
                <a:close/>
                <a:moveTo>
                  <a:pt x="7426" y="775"/>
                </a:moveTo>
                <a:lnTo>
                  <a:pt x="7426" y="775"/>
                </a:lnTo>
                <a:cubicBezTo>
                  <a:pt x="7476" y="800"/>
                  <a:pt x="7602" y="750"/>
                  <a:pt x="7676" y="750"/>
                </a:cubicBezTo>
                <a:cubicBezTo>
                  <a:pt x="7751" y="750"/>
                  <a:pt x="8002" y="700"/>
                  <a:pt x="8002" y="650"/>
                </a:cubicBezTo>
                <a:cubicBezTo>
                  <a:pt x="8002" y="600"/>
                  <a:pt x="7927" y="600"/>
                  <a:pt x="7876" y="575"/>
                </a:cubicBezTo>
                <a:cubicBezTo>
                  <a:pt x="7851" y="525"/>
                  <a:pt x="7776" y="550"/>
                  <a:pt x="7751" y="600"/>
                </a:cubicBezTo>
                <a:cubicBezTo>
                  <a:pt x="7727" y="625"/>
                  <a:pt x="7702" y="600"/>
                  <a:pt x="7751" y="550"/>
                </a:cubicBezTo>
                <a:cubicBezTo>
                  <a:pt x="7802" y="500"/>
                  <a:pt x="7702" y="450"/>
                  <a:pt x="7702" y="475"/>
                </a:cubicBezTo>
                <a:cubicBezTo>
                  <a:pt x="7702" y="525"/>
                  <a:pt x="7602" y="475"/>
                  <a:pt x="7602" y="525"/>
                </a:cubicBezTo>
                <a:cubicBezTo>
                  <a:pt x="7602" y="550"/>
                  <a:pt x="7576" y="550"/>
                  <a:pt x="7576" y="600"/>
                </a:cubicBezTo>
                <a:cubicBezTo>
                  <a:pt x="7576" y="625"/>
                  <a:pt x="7502" y="575"/>
                  <a:pt x="7502" y="650"/>
                </a:cubicBezTo>
                <a:cubicBezTo>
                  <a:pt x="7502" y="725"/>
                  <a:pt x="7402" y="750"/>
                  <a:pt x="7426" y="775"/>
                </a:cubicBezTo>
                <a:close/>
                <a:moveTo>
                  <a:pt x="7002" y="375"/>
                </a:moveTo>
                <a:lnTo>
                  <a:pt x="7002" y="375"/>
                </a:lnTo>
                <a:cubicBezTo>
                  <a:pt x="7002" y="425"/>
                  <a:pt x="6902" y="450"/>
                  <a:pt x="6926" y="475"/>
                </a:cubicBezTo>
                <a:cubicBezTo>
                  <a:pt x="6951" y="500"/>
                  <a:pt x="6976" y="475"/>
                  <a:pt x="7002" y="500"/>
                </a:cubicBezTo>
                <a:cubicBezTo>
                  <a:pt x="7026" y="500"/>
                  <a:pt x="7051" y="575"/>
                  <a:pt x="7102" y="550"/>
                </a:cubicBezTo>
                <a:cubicBezTo>
                  <a:pt x="7151" y="550"/>
                  <a:pt x="7276" y="600"/>
                  <a:pt x="7376" y="600"/>
                </a:cubicBezTo>
                <a:cubicBezTo>
                  <a:pt x="7451" y="600"/>
                  <a:pt x="7451" y="550"/>
                  <a:pt x="7426" y="550"/>
                </a:cubicBezTo>
                <a:cubicBezTo>
                  <a:pt x="7402" y="525"/>
                  <a:pt x="7426" y="500"/>
                  <a:pt x="7476" y="425"/>
                </a:cubicBezTo>
                <a:cubicBezTo>
                  <a:pt x="7526" y="375"/>
                  <a:pt x="7326" y="325"/>
                  <a:pt x="7326" y="375"/>
                </a:cubicBezTo>
                <a:cubicBezTo>
                  <a:pt x="7326" y="425"/>
                  <a:pt x="7276" y="350"/>
                  <a:pt x="7251" y="325"/>
                </a:cubicBezTo>
                <a:cubicBezTo>
                  <a:pt x="7251" y="300"/>
                  <a:pt x="7002" y="350"/>
                  <a:pt x="7002" y="375"/>
                </a:cubicBezTo>
                <a:close/>
                <a:moveTo>
                  <a:pt x="6851" y="300"/>
                </a:moveTo>
                <a:lnTo>
                  <a:pt x="6851" y="300"/>
                </a:lnTo>
                <a:cubicBezTo>
                  <a:pt x="6902" y="325"/>
                  <a:pt x="6876" y="350"/>
                  <a:pt x="6826" y="350"/>
                </a:cubicBezTo>
                <a:cubicBezTo>
                  <a:pt x="6776" y="350"/>
                  <a:pt x="6726" y="350"/>
                  <a:pt x="6776" y="375"/>
                </a:cubicBezTo>
                <a:cubicBezTo>
                  <a:pt x="6801" y="400"/>
                  <a:pt x="6801" y="425"/>
                  <a:pt x="6851" y="425"/>
                </a:cubicBezTo>
                <a:cubicBezTo>
                  <a:pt x="6902" y="450"/>
                  <a:pt x="6976" y="400"/>
                  <a:pt x="6951" y="375"/>
                </a:cubicBezTo>
                <a:cubicBezTo>
                  <a:pt x="6951" y="325"/>
                  <a:pt x="7151" y="300"/>
                  <a:pt x="7226" y="300"/>
                </a:cubicBezTo>
                <a:cubicBezTo>
                  <a:pt x="7276" y="275"/>
                  <a:pt x="7176" y="225"/>
                  <a:pt x="7251" y="200"/>
                </a:cubicBezTo>
                <a:cubicBezTo>
                  <a:pt x="7302" y="200"/>
                  <a:pt x="7276" y="175"/>
                  <a:pt x="7202" y="175"/>
                </a:cubicBezTo>
                <a:cubicBezTo>
                  <a:pt x="7126" y="150"/>
                  <a:pt x="7151" y="100"/>
                  <a:pt x="7126" y="75"/>
                </a:cubicBezTo>
                <a:cubicBezTo>
                  <a:pt x="7102" y="50"/>
                  <a:pt x="7102" y="100"/>
                  <a:pt x="7002" y="125"/>
                </a:cubicBezTo>
                <a:cubicBezTo>
                  <a:pt x="6902" y="125"/>
                  <a:pt x="6851" y="150"/>
                  <a:pt x="6902" y="175"/>
                </a:cubicBezTo>
                <a:cubicBezTo>
                  <a:pt x="6926" y="200"/>
                  <a:pt x="6902" y="250"/>
                  <a:pt x="6851" y="250"/>
                </a:cubicBezTo>
                <a:cubicBezTo>
                  <a:pt x="6801" y="250"/>
                  <a:pt x="6801" y="275"/>
                  <a:pt x="6851" y="300"/>
                </a:cubicBezTo>
                <a:close/>
                <a:moveTo>
                  <a:pt x="5601" y="1775"/>
                </a:moveTo>
                <a:lnTo>
                  <a:pt x="5601" y="1775"/>
                </a:lnTo>
                <a:cubicBezTo>
                  <a:pt x="5651" y="1801"/>
                  <a:pt x="5701" y="1775"/>
                  <a:pt x="5676" y="1750"/>
                </a:cubicBezTo>
                <a:cubicBezTo>
                  <a:pt x="5676" y="1701"/>
                  <a:pt x="5576" y="1750"/>
                  <a:pt x="5601" y="1775"/>
                </a:cubicBezTo>
                <a:close/>
                <a:moveTo>
                  <a:pt x="6776" y="100"/>
                </a:moveTo>
                <a:lnTo>
                  <a:pt x="6776" y="100"/>
                </a:lnTo>
                <a:cubicBezTo>
                  <a:pt x="6801" y="75"/>
                  <a:pt x="6601" y="75"/>
                  <a:pt x="6651" y="125"/>
                </a:cubicBezTo>
                <a:cubicBezTo>
                  <a:pt x="6676" y="150"/>
                  <a:pt x="6776" y="150"/>
                  <a:pt x="6776" y="100"/>
                </a:cubicBezTo>
                <a:close/>
                <a:moveTo>
                  <a:pt x="11852" y="1350"/>
                </a:moveTo>
                <a:lnTo>
                  <a:pt x="11852" y="1350"/>
                </a:lnTo>
                <a:cubicBezTo>
                  <a:pt x="11927" y="1350"/>
                  <a:pt x="11952" y="1425"/>
                  <a:pt x="12077" y="1425"/>
                </a:cubicBezTo>
                <a:cubicBezTo>
                  <a:pt x="12203" y="1425"/>
                  <a:pt x="12303" y="1401"/>
                  <a:pt x="12303" y="1375"/>
                </a:cubicBezTo>
                <a:cubicBezTo>
                  <a:pt x="12303" y="1350"/>
                  <a:pt x="12203" y="1300"/>
                  <a:pt x="12152" y="1325"/>
                </a:cubicBezTo>
                <a:cubicBezTo>
                  <a:pt x="12127" y="1350"/>
                  <a:pt x="12103" y="1300"/>
                  <a:pt x="12052" y="1300"/>
                </a:cubicBezTo>
                <a:cubicBezTo>
                  <a:pt x="12003" y="1325"/>
                  <a:pt x="11952" y="1325"/>
                  <a:pt x="11927" y="1275"/>
                </a:cubicBezTo>
                <a:cubicBezTo>
                  <a:pt x="11903" y="1250"/>
                  <a:pt x="11827" y="1350"/>
                  <a:pt x="11852" y="1350"/>
                </a:cubicBezTo>
                <a:close/>
                <a:moveTo>
                  <a:pt x="14953" y="2125"/>
                </a:moveTo>
                <a:lnTo>
                  <a:pt x="14953" y="2125"/>
                </a:lnTo>
                <a:cubicBezTo>
                  <a:pt x="15003" y="2150"/>
                  <a:pt x="15053" y="2101"/>
                  <a:pt x="15103" y="2125"/>
                </a:cubicBezTo>
                <a:cubicBezTo>
                  <a:pt x="15128" y="2150"/>
                  <a:pt x="15253" y="2101"/>
                  <a:pt x="15278" y="2101"/>
                </a:cubicBezTo>
                <a:cubicBezTo>
                  <a:pt x="15328" y="2101"/>
                  <a:pt x="15303" y="2025"/>
                  <a:pt x="15178" y="2025"/>
                </a:cubicBezTo>
                <a:cubicBezTo>
                  <a:pt x="15053" y="2001"/>
                  <a:pt x="14903" y="2101"/>
                  <a:pt x="14953" y="2125"/>
                </a:cubicBezTo>
                <a:close/>
                <a:moveTo>
                  <a:pt x="4275" y="175"/>
                </a:moveTo>
                <a:lnTo>
                  <a:pt x="4275" y="175"/>
                </a:lnTo>
                <a:cubicBezTo>
                  <a:pt x="4375" y="175"/>
                  <a:pt x="4375" y="125"/>
                  <a:pt x="4301" y="100"/>
                </a:cubicBezTo>
                <a:cubicBezTo>
                  <a:pt x="4251" y="100"/>
                  <a:pt x="4251" y="125"/>
                  <a:pt x="4226" y="125"/>
                </a:cubicBezTo>
                <a:cubicBezTo>
                  <a:pt x="4201" y="125"/>
                  <a:pt x="4075" y="150"/>
                  <a:pt x="4101" y="175"/>
                </a:cubicBezTo>
                <a:cubicBezTo>
                  <a:pt x="4126" y="200"/>
                  <a:pt x="4201" y="200"/>
                  <a:pt x="4275" y="175"/>
                </a:cubicBezTo>
                <a:close/>
                <a:moveTo>
                  <a:pt x="11027" y="1350"/>
                </a:moveTo>
                <a:lnTo>
                  <a:pt x="11027" y="1350"/>
                </a:lnTo>
                <a:cubicBezTo>
                  <a:pt x="11052" y="1375"/>
                  <a:pt x="11077" y="1401"/>
                  <a:pt x="11102" y="1401"/>
                </a:cubicBezTo>
                <a:cubicBezTo>
                  <a:pt x="11102" y="1425"/>
                  <a:pt x="11202" y="1401"/>
                  <a:pt x="11227" y="1401"/>
                </a:cubicBezTo>
                <a:cubicBezTo>
                  <a:pt x="11252" y="1375"/>
                  <a:pt x="11277" y="1450"/>
                  <a:pt x="11327" y="1401"/>
                </a:cubicBezTo>
                <a:cubicBezTo>
                  <a:pt x="11377" y="1375"/>
                  <a:pt x="11427" y="1401"/>
                  <a:pt x="11477" y="1401"/>
                </a:cubicBezTo>
                <a:cubicBezTo>
                  <a:pt x="11552" y="1401"/>
                  <a:pt x="11477" y="1325"/>
                  <a:pt x="11477" y="1275"/>
                </a:cubicBezTo>
                <a:cubicBezTo>
                  <a:pt x="11477" y="1250"/>
                  <a:pt x="11552" y="1275"/>
                  <a:pt x="11527" y="1300"/>
                </a:cubicBezTo>
                <a:cubicBezTo>
                  <a:pt x="11503" y="1325"/>
                  <a:pt x="11552" y="1401"/>
                  <a:pt x="11652" y="1375"/>
                </a:cubicBezTo>
                <a:cubicBezTo>
                  <a:pt x="11727" y="1375"/>
                  <a:pt x="11677" y="1325"/>
                  <a:pt x="11727" y="1300"/>
                </a:cubicBezTo>
                <a:cubicBezTo>
                  <a:pt x="11752" y="1275"/>
                  <a:pt x="11752" y="1250"/>
                  <a:pt x="11703" y="1225"/>
                </a:cubicBezTo>
                <a:cubicBezTo>
                  <a:pt x="11627" y="1175"/>
                  <a:pt x="11552" y="1200"/>
                  <a:pt x="11477" y="1175"/>
                </a:cubicBezTo>
                <a:cubicBezTo>
                  <a:pt x="11427" y="1150"/>
                  <a:pt x="11352" y="1150"/>
                  <a:pt x="11352" y="1225"/>
                </a:cubicBezTo>
                <a:cubicBezTo>
                  <a:pt x="11352" y="1275"/>
                  <a:pt x="11227" y="1150"/>
                  <a:pt x="11177" y="1125"/>
                </a:cubicBezTo>
                <a:cubicBezTo>
                  <a:pt x="11102" y="1100"/>
                  <a:pt x="10927" y="1300"/>
                  <a:pt x="11027" y="1350"/>
                </a:cubicBezTo>
                <a:close/>
                <a:moveTo>
                  <a:pt x="11603" y="1701"/>
                </a:moveTo>
                <a:lnTo>
                  <a:pt x="11603" y="1701"/>
                </a:lnTo>
                <a:cubicBezTo>
                  <a:pt x="11652" y="1701"/>
                  <a:pt x="11552" y="1601"/>
                  <a:pt x="11477" y="1601"/>
                </a:cubicBezTo>
                <a:cubicBezTo>
                  <a:pt x="11377" y="1575"/>
                  <a:pt x="11303" y="1650"/>
                  <a:pt x="11327" y="1650"/>
                </a:cubicBezTo>
                <a:cubicBezTo>
                  <a:pt x="11352" y="1701"/>
                  <a:pt x="11552" y="1725"/>
                  <a:pt x="11603" y="1701"/>
                </a:cubicBezTo>
                <a:close/>
                <a:moveTo>
                  <a:pt x="11377" y="1525"/>
                </a:moveTo>
                <a:lnTo>
                  <a:pt x="11377" y="1525"/>
                </a:lnTo>
                <a:cubicBezTo>
                  <a:pt x="11377" y="1475"/>
                  <a:pt x="11227" y="1525"/>
                  <a:pt x="11277" y="1550"/>
                </a:cubicBezTo>
                <a:cubicBezTo>
                  <a:pt x="11327" y="1575"/>
                  <a:pt x="11377" y="1575"/>
                  <a:pt x="11377" y="1525"/>
                </a:cubicBezTo>
                <a:close/>
                <a:moveTo>
                  <a:pt x="4801" y="1725"/>
                </a:moveTo>
                <a:lnTo>
                  <a:pt x="4801" y="1725"/>
                </a:lnTo>
                <a:cubicBezTo>
                  <a:pt x="4826" y="1725"/>
                  <a:pt x="4926" y="1725"/>
                  <a:pt x="4951" y="1701"/>
                </a:cubicBezTo>
                <a:cubicBezTo>
                  <a:pt x="4951" y="1675"/>
                  <a:pt x="4901" y="1650"/>
                  <a:pt x="4851" y="1650"/>
                </a:cubicBezTo>
                <a:cubicBezTo>
                  <a:pt x="4775" y="1650"/>
                  <a:pt x="4775" y="1725"/>
                  <a:pt x="4801" y="1725"/>
                </a:cubicBezTo>
                <a:close/>
                <a:moveTo>
                  <a:pt x="2575" y="225"/>
                </a:moveTo>
                <a:lnTo>
                  <a:pt x="2575" y="225"/>
                </a:lnTo>
                <a:cubicBezTo>
                  <a:pt x="2650" y="150"/>
                  <a:pt x="2725" y="225"/>
                  <a:pt x="2725" y="200"/>
                </a:cubicBezTo>
                <a:cubicBezTo>
                  <a:pt x="2750" y="150"/>
                  <a:pt x="2625" y="150"/>
                  <a:pt x="2575" y="175"/>
                </a:cubicBezTo>
                <a:cubicBezTo>
                  <a:pt x="2525" y="200"/>
                  <a:pt x="2401" y="175"/>
                  <a:pt x="2425" y="225"/>
                </a:cubicBezTo>
                <a:cubicBezTo>
                  <a:pt x="2425" y="225"/>
                  <a:pt x="2500" y="275"/>
                  <a:pt x="2575" y="225"/>
                </a:cubicBezTo>
                <a:close/>
                <a:moveTo>
                  <a:pt x="11577" y="4926"/>
                </a:moveTo>
                <a:lnTo>
                  <a:pt x="11577" y="4926"/>
                </a:lnTo>
                <a:cubicBezTo>
                  <a:pt x="11552" y="4826"/>
                  <a:pt x="11627" y="4751"/>
                  <a:pt x="11552" y="4726"/>
                </a:cubicBezTo>
                <a:cubicBezTo>
                  <a:pt x="11503" y="4675"/>
                  <a:pt x="11527" y="4575"/>
                  <a:pt x="11503" y="4601"/>
                </a:cubicBezTo>
                <a:cubicBezTo>
                  <a:pt x="11477" y="4626"/>
                  <a:pt x="11503" y="4701"/>
                  <a:pt x="11452" y="4701"/>
                </a:cubicBezTo>
                <a:cubicBezTo>
                  <a:pt x="11403" y="4701"/>
                  <a:pt x="11452" y="4751"/>
                  <a:pt x="11427" y="4801"/>
                </a:cubicBezTo>
                <a:cubicBezTo>
                  <a:pt x="11427" y="4851"/>
                  <a:pt x="11452" y="4951"/>
                  <a:pt x="11477" y="5001"/>
                </a:cubicBezTo>
                <a:cubicBezTo>
                  <a:pt x="11503" y="5051"/>
                  <a:pt x="11427" y="5301"/>
                  <a:pt x="11452" y="5351"/>
                </a:cubicBezTo>
                <a:cubicBezTo>
                  <a:pt x="11477" y="5401"/>
                  <a:pt x="11427" y="5601"/>
                  <a:pt x="11452" y="5626"/>
                </a:cubicBezTo>
                <a:cubicBezTo>
                  <a:pt x="11477" y="5651"/>
                  <a:pt x="11452" y="5551"/>
                  <a:pt x="11503" y="5551"/>
                </a:cubicBezTo>
                <a:cubicBezTo>
                  <a:pt x="11552" y="5551"/>
                  <a:pt x="11552" y="5601"/>
                  <a:pt x="11577" y="5626"/>
                </a:cubicBezTo>
                <a:cubicBezTo>
                  <a:pt x="11627" y="5626"/>
                  <a:pt x="11603" y="5526"/>
                  <a:pt x="11577" y="5551"/>
                </a:cubicBezTo>
                <a:cubicBezTo>
                  <a:pt x="11552" y="5551"/>
                  <a:pt x="11527" y="5476"/>
                  <a:pt x="11503" y="5426"/>
                </a:cubicBezTo>
                <a:cubicBezTo>
                  <a:pt x="11503" y="5376"/>
                  <a:pt x="11527" y="5326"/>
                  <a:pt x="11527" y="5276"/>
                </a:cubicBezTo>
                <a:cubicBezTo>
                  <a:pt x="11527" y="5226"/>
                  <a:pt x="11603" y="5226"/>
                  <a:pt x="11652" y="5276"/>
                </a:cubicBezTo>
                <a:cubicBezTo>
                  <a:pt x="11677" y="5301"/>
                  <a:pt x="11703" y="5276"/>
                  <a:pt x="11677" y="5251"/>
                </a:cubicBezTo>
                <a:cubicBezTo>
                  <a:pt x="11652" y="5226"/>
                  <a:pt x="11603" y="5001"/>
                  <a:pt x="11577" y="4926"/>
                </a:cubicBezTo>
                <a:close/>
                <a:moveTo>
                  <a:pt x="2725" y="2450"/>
                </a:moveTo>
                <a:lnTo>
                  <a:pt x="2725" y="2450"/>
                </a:lnTo>
                <a:cubicBezTo>
                  <a:pt x="2801" y="2500"/>
                  <a:pt x="2850" y="2400"/>
                  <a:pt x="2901" y="2400"/>
                </a:cubicBezTo>
                <a:cubicBezTo>
                  <a:pt x="2925" y="2400"/>
                  <a:pt x="2875" y="2350"/>
                  <a:pt x="2801" y="2350"/>
                </a:cubicBezTo>
                <a:cubicBezTo>
                  <a:pt x="2750" y="2325"/>
                  <a:pt x="2650" y="2375"/>
                  <a:pt x="2725" y="2450"/>
                </a:cubicBezTo>
                <a:close/>
                <a:moveTo>
                  <a:pt x="16028" y="2901"/>
                </a:moveTo>
                <a:lnTo>
                  <a:pt x="16028" y="2901"/>
                </a:lnTo>
                <a:cubicBezTo>
                  <a:pt x="16004" y="2901"/>
                  <a:pt x="15904" y="2850"/>
                  <a:pt x="15878" y="2826"/>
                </a:cubicBezTo>
                <a:cubicBezTo>
                  <a:pt x="15878" y="2775"/>
                  <a:pt x="15753" y="2775"/>
                  <a:pt x="15753" y="2775"/>
                </a:cubicBezTo>
                <a:cubicBezTo>
                  <a:pt x="15753" y="2801"/>
                  <a:pt x="15728" y="2775"/>
                  <a:pt x="15728" y="2750"/>
                </a:cubicBezTo>
                <a:cubicBezTo>
                  <a:pt x="15703" y="2750"/>
                  <a:pt x="15603" y="2750"/>
                  <a:pt x="15603" y="2750"/>
                </a:cubicBezTo>
                <a:cubicBezTo>
                  <a:pt x="15603" y="2775"/>
                  <a:pt x="15628" y="2775"/>
                  <a:pt x="15628" y="2801"/>
                </a:cubicBezTo>
                <a:cubicBezTo>
                  <a:pt x="15653" y="2826"/>
                  <a:pt x="15603" y="2826"/>
                  <a:pt x="15628" y="2850"/>
                </a:cubicBezTo>
                <a:cubicBezTo>
                  <a:pt x="15628" y="2875"/>
                  <a:pt x="15578" y="2850"/>
                  <a:pt x="15553" y="2826"/>
                </a:cubicBezTo>
                <a:cubicBezTo>
                  <a:pt x="15553" y="2826"/>
                  <a:pt x="15553" y="2775"/>
                  <a:pt x="15553" y="2750"/>
                </a:cubicBezTo>
                <a:cubicBezTo>
                  <a:pt x="15553" y="2701"/>
                  <a:pt x="15528" y="2726"/>
                  <a:pt x="15528" y="2701"/>
                </a:cubicBezTo>
                <a:cubicBezTo>
                  <a:pt x="15528" y="2650"/>
                  <a:pt x="15403" y="2601"/>
                  <a:pt x="15353" y="2575"/>
                </a:cubicBezTo>
                <a:cubicBezTo>
                  <a:pt x="15278" y="2550"/>
                  <a:pt x="15228" y="2550"/>
                  <a:pt x="15203" y="2526"/>
                </a:cubicBezTo>
                <a:cubicBezTo>
                  <a:pt x="15178" y="2475"/>
                  <a:pt x="15078" y="2475"/>
                  <a:pt x="15053" y="2450"/>
                </a:cubicBezTo>
                <a:cubicBezTo>
                  <a:pt x="15028" y="2400"/>
                  <a:pt x="14853" y="2350"/>
                  <a:pt x="14803" y="2325"/>
                </a:cubicBezTo>
                <a:cubicBezTo>
                  <a:pt x="14728" y="2325"/>
                  <a:pt x="14728" y="2301"/>
                  <a:pt x="14703" y="2301"/>
                </a:cubicBezTo>
                <a:cubicBezTo>
                  <a:pt x="14678" y="2301"/>
                  <a:pt x="14528" y="2301"/>
                  <a:pt x="14478" y="2301"/>
                </a:cubicBezTo>
                <a:cubicBezTo>
                  <a:pt x="14428" y="2275"/>
                  <a:pt x="14428" y="2325"/>
                  <a:pt x="14403" y="2301"/>
                </a:cubicBezTo>
                <a:cubicBezTo>
                  <a:pt x="14378" y="2301"/>
                  <a:pt x="14203" y="2225"/>
                  <a:pt x="14178" y="2250"/>
                </a:cubicBezTo>
                <a:cubicBezTo>
                  <a:pt x="14153" y="2275"/>
                  <a:pt x="14178" y="2301"/>
                  <a:pt x="14153" y="2325"/>
                </a:cubicBezTo>
                <a:cubicBezTo>
                  <a:pt x="14128" y="2325"/>
                  <a:pt x="14153" y="2350"/>
                  <a:pt x="14203" y="2400"/>
                </a:cubicBezTo>
                <a:cubicBezTo>
                  <a:pt x="14253" y="2425"/>
                  <a:pt x="14203" y="2475"/>
                  <a:pt x="14178" y="2475"/>
                </a:cubicBezTo>
                <a:cubicBezTo>
                  <a:pt x="14128" y="2500"/>
                  <a:pt x="14053" y="2475"/>
                  <a:pt x="14053" y="2425"/>
                </a:cubicBezTo>
                <a:cubicBezTo>
                  <a:pt x="14028" y="2400"/>
                  <a:pt x="13978" y="2425"/>
                  <a:pt x="13953" y="2375"/>
                </a:cubicBezTo>
                <a:cubicBezTo>
                  <a:pt x="13928" y="2325"/>
                  <a:pt x="13978" y="2325"/>
                  <a:pt x="14003" y="2350"/>
                </a:cubicBezTo>
                <a:cubicBezTo>
                  <a:pt x="14028" y="2375"/>
                  <a:pt x="14053" y="2350"/>
                  <a:pt x="14078" y="2325"/>
                </a:cubicBezTo>
                <a:cubicBezTo>
                  <a:pt x="14078" y="2301"/>
                  <a:pt x="14003" y="2275"/>
                  <a:pt x="13953" y="2275"/>
                </a:cubicBezTo>
                <a:cubicBezTo>
                  <a:pt x="13902" y="2275"/>
                  <a:pt x="13877" y="2325"/>
                  <a:pt x="13828" y="2350"/>
                </a:cubicBezTo>
                <a:cubicBezTo>
                  <a:pt x="13803" y="2375"/>
                  <a:pt x="13628" y="2350"/>
                  <a:pt x="13603" y="2325"/>
                </a:cubicBezTo>
                <a:cubicBezTo>
                  <a:pt x="13577" y="2325"/>
                  <a:pt x="13353" y="2325"/>
                  <a:pt x="13328" y="2350"/>
                </a:cubicBezTo>
                <a:cubicBezTo>
                  <a:pt x="13303" y="2375"/>
                  <a:pt x="13303" y="2425"/>
                  <a:pt x="13303" y="2450"/>
                </a:cubicBezTo>
                <a:cubicBezTo>
                  <a:pt x="13277" y="2450"/>
                  <a:pt x="13277" y="2375"/>
                  <a:pt x="13277" y="2350"/>
                </a:cubicBezTo>
                <a:cubicBezTo>
                  <a:pt x="13277" y="2325"/>
                  <a:pt x="13253" y="2325"/>
                  <a:pt x="13203" y="2325"/>
                </a:cubicBezTo>
                <a:cubicBezTo>
                  <a:pt x="13153" y="2325"/>
                  <a:pt x="13128" y="2325"/>
                  <a:pt x="13153" y="2301"/>
                </a:cubicBezTo>
                <a:cubicBezTo>
                  <a:pt x="13177" y="2275"/>
                  <a:pt x="13128" y="2275"/>
                  <a:pt x="13177" y="2250"/>
                </a:cubicBezTo>
                <a:cubicBezTo>
                  <a:pt x="13203" y="2225"/>
                  <a:pt x="13103" y="2150"/>
                  <a:pt x="13028" y="2101"/>
                </a:cubicBezTo>
                <a:cubicBezTo>
                  <a:pt x="12928" y="2075"/>
                  <a:pt x="12728" y="2101"/>
                  <a:pt x="12652" y="2101"/>
                </a:cubicBezTo>
                <a:cubicBezTo>
                  <a:pt x="12602" y="2125"/>
                  <a:pt x="12503" y="2125"/>
                  <a:pt x="12452" y="2125"/>
                </a:cubicBezTo>
                <a:cubicBezTo>
                  <a:pt x="12377" y="2125"/>
                  <a:pt x="12428" y="2101"/>
                  <a:pt x="12428" y="2075"/>
                </a:cubicBezTo>
                <a:cubicBezTo>
                  <a:pt x="12402" y="2050"/>
                  <a:pt x="12303" y="2025"/>
                  <a:pt x="12303" y="2050"/>
                </a:cubicBezTo>
                <a:cubicBezTo>
                  <a:pt x="12277" y="2075"/>
                  <a:pt x="12252" y="2050"/>
                  <a:pt x="12252" y="2025"/>
                </a:cubicBezTo>
                <a:cubicBezTo>
                  <a:pt x="12252" y="2025"/>
                  <a:pt x="12177" y="1975"/>
                  <a:pt x="12152" y="2001"/>
                </a:cubicBezTo>
                <a:cubicBezTo>
                  <a:pt x="12103" y="2001"/>
                  <a:pt x="12103" y="1950"/>
                  <a:pt x="12127" y="1950"/>
                </a:cubicBezTo>
                <a:cubicBezTo>
                  <a:pt x="12177" y="1950"/>
                  <a:pt x="12228" y="1975"/>
                  <a:pt x="12203" y="1925"/>
                </a:cubicBezTo>
                <a:cubicBezTo>
                  <a:pt x="12177" y="1875"/>
                  <a:pt x="11927" y="1875"/>
                  <a:pt x="11903" y="1875"/>
                </a:cubicBezTo>
                <a:cubicBezTo>
                  <a:pt x="11877" y="1875"/>
                  <a:pt x="11903" y="1925"/>
                  <a:pt x="11852" y="1975"/>
                </a:cubicBezTo>
                <a:cubicBezTo>
                  <a:pt x="11803" y="2025"/>
                  <a:pt x="11752" y="1975"/>
                  <a:pt x="11752" y="1950"/>
                </a:cubicBezTo>
                <a:cubicBezTo>
                  <a:pt x="11752" y="1925"/>
                  <a:pt x="11827" y="1925"/>
                  <a:pt x="11827" y="1901"/>
                </a:cubicBezTo>
                <a:cubicBezTo>
                  <a:pt x="11827" y="1875"/>
                  <a:pt x="11727" y="1901"/>
                  <a:pt x="11727" y="1875"/>
                </a:cubicBezTo>
                <a:cubicBezTo>
                  <a:pt x="11703" y="1850"/>
                  <a:pt x="11727" y="1850"/>
                  <a:pt x="11777" y="1850"/>
                </a:cubicBezTo>
                <a:cubicBezTo>
                  <a:pt x="11803" y="1875"/>
                  <a:pt x="11852" y="1875"/>
                  <a:pt x="11877" y="1850"/>
                </a:cubicBezTo>
                <a:cubicBezTo>
                  <a:pt x="11877" y="1850"/>
                  <a:pt x="11827" y="1825"/>
                  <a:pt x="11777" y="1825"/>
                </a:cubicBezTo>
                <a:cubicBezTo>
                  <a:pt x="11727" y="1825"/>
                  <a:pt x="11577" y="1775"/>
                  <a:pt x="11527" y="1801"/>
                </a:cubicBezTo>
                <a:cubicBezTo>
                  <a:pt x="11452" y="1801"/>
                  <a:pt x="11403" y="1775"/>
                  <a:pt x="11377" y="1750"/>
                </a:cubicBezTo>
                <a:cubicBezTo>
                  <a:pt x="11327" y="1750"/>
                  <a:pt x="11327" y="1775"/>
                  <a:pt x="11352" y="1801"/>
                </a:cubicBezTo>
                <a:cubicBezTo>
                  <a:pt x="11377" y="1825"/>
                  <a:pt x="11327" y="1850"/>
                  <a:pt x="11277" y="1825"/>
                </a:cubicBezTo>
                <a:cubicBezTo>
                  <a:pt x="11227" y="1825"/>
                  <a:pt x="11152" y="1850"/>
                  <a:pt x="11177" y="1901"/>
                </a:cubicBezTo>
                <a:cubicBezTo>
                  <a:pt x="11202" y="1925"/>
                  <a:pt x="11227" y="1875"/>
                  <a:pt x="11252" y="1901"/>
                </a:cubicBezTo>
                <a:cubicBezTo>
                  <a:pt x="11277" y="1901"/>
                  <a:pt x="11202" y="1925"/>
                  <a:pt x="11227" y="1950"/>
                </a:cubicBezTo>
                <a:cubicBezTo>
                  <a:pt x="11277" y="1950"/>
                  <a:pt x="11252" y="2001"/>
                  <a:pt x="11252" y="2001"/>
                </a:cubicBezTo>
                <a:cubicBezTo>
                  <a:pt x="11252" y="2025"/>
                  <a:pt x="11202" y="2025"/>
                  <a:pt x="11177" y="2001"/>
                </a:cubicBezTo>
                <a:cubicBezTo>
                  <a:pt x="11177" y="1975"/>
                  <a:pt x="11127" y="2001"/>
                  <a:pt x="11102" y="2001"/>
                </a:cubicBezTo>
                <a:cubicBezTo>
                  <a:pt x="11052" y="2001"/>
                  <a:pt x="11027" y="2025"/>
                  <a:pt x="11077" y="2025"/>
                </a:cubicBezTo>
                <a:cubicBezTo>
                  <a:pt x="11102" y="2025"/>
                  <a:pt x="11127" y="2050"/>
                  <a:pt x="11077" y="2050"/>
                </a:cubicBezTo>
                <a:cubicBezTo>
                  <a:pt x="11027" y="2075"/>
                  <a:pt x="11027" y="2001"/>
                  <a:pt x="11002" y="2025"/>
                </a:cubicBezTo>
                <a:cubicBezTo>
                  <a:pt x="10952" y="2025"/>
                  <a:pt x="10902" y="2001"/>
                  <a:pt x="10852" y="2001"/>
                </a:cubicBezTo>
                <a:cubicBezTo>
                  <a:pt x="10802" y="2001"/>
                  <a:pt x="10802" y="2025"/>
                  <a:pt x="10752" y="2025"/>
                </a:cubicBezTo>
                <a:cubicBezTo>
                  <a:pt x="10702" y="2025"/>
                  <a:pt x="10627" y="2001"/>
                  <a:pt x="10602" y="1975"/>
                </a:cubicBezTo>
                <a:cubicBezTo>
                  <a:pt x="10577" y="1950"/>
                  <a:pt x="10577" y="1925"/>
                  <a:pt x="10552" y="1975"/>
                </a:cubicBezTo>
                <a:cubicBezTo>
                  <a:pt x="10527" y="2001"/>
                  <a:pt x="10527" y="2050"/>
                  <a:pt x="10502" y="2075"/>
                </a:cubicBezTo>
                <a:cubicBezTo>
                  <a:pt x="10477" y="2075"/>
                  <a:pt x="10452" y="2125"/>
                  <a:pt x="10427" y="2150"/>
                </a:cubicBezTo>
                <a:cubicBezTo>
                  <a:pt x="10402" y="2150"/>
                  <a:pt x="10402" y="2125"/>
                  <a:pt x="10377" y="2125"/>
                </a:cubicBezTo>
                <a:cubicBezTo>
                  <a:pt x="10352" y="2125"/>
                  <a:pt x="10252" y="2025"/>
                  <a:pt x="10227" y="2001"/>
                </a:cubicBezTo>
                <a:cubicBezTo>
                  <a:pt x="10227" y="1975"/>
                  <a:pt x="10177" y="1901"/>
                  <a:pt x="10152" y="1901"/>
                </a:cubicBezTo>
                <a:cubicBezTo>
                  <a:pt x="10127" y="1875"/>
                  <a:pt x="10177" y="1875"/>
                  <a:pt x="10202" y="1901"/>
                </a:cubicBezTo>
                <a:cubicBezTo>
                  <a:pt x="10202" y="1925"/>
                  <a:pt x="10227" y="1925"/>
                  <a:pt x="10252" y="1901"/>
                </a:cubicBezTo>
                <a:cubicBezTo>
                  <a:pt x="10277" y="1901"/>
                  <a:pt x="10277" y="1850"/>
                  <a:pt x="10252" y="1850"/>
                </a:cubicBezTo>
                <a:cubicBezTo>
                  <a:pt x="10202" y="1850"/>
                  <a:pt x="10227" y="1801"/>
                  <a:pt x="10227" y="1801"/>
                </a:cubicBezTo>
                <a:cubicBezTo>
                  <a:pt x="10252" y="1801"/>
                  <a:pt x="10202" y="1750"/>
                  <a:pt x="10227" y="1750"/>
                </a:cubicBezTo>
                <a:cubicBezTo>
                  <a:pt x="10227" y="1725"/>
                  <a:pt x="10227" y="1701"/>
                  <a:pt x="10202" y="1701"/>
                </a:cubicBezTo>
                <a:cubicBezTo>
                  <a:pt x="10177" y="1701"/>
                  <a:pt x="10127" y="1675"/>
                  <a:pt x="10127" y="1650"/>
                </a:cubicBezTo>
                <a:cubicBezTo>
                  <a:pt x="10127" y="1650"/>
                  <a:pt x="10002" y="1650"/>
                  <a:pt x="10002" y="1675"/>
                </a:cubicBezTo>
                <a:cubicBezTo>
                  <a:pt x="10027" y="1675"/>
                  <a:pt x="9977" y="1675"/>
                  <a:pt x="9977" y="1650"/>
                </a:cubicBezTo>
                <a:cubicBezTo>
                  <a:pt x="9977" y="1650"/>
                  <a:pt x="9927" y="1650"/>
                  <a:pt x="9877" y="1625"/>
                </a:cubicBezTo>
                <a:cubicBezTo>
                  <a:pt x="9802" y="1625"/>
                  <a:pt x="9802" y="1575"/>
                  <a:pt x="9777" y="1575"/>
                </a:cubicBezTo>
                <a:cubicBezTo>
                  <a:pt x="9752" y="1575"/>
                  <a:pt x="9777" y="1625"/>
                  <a:pt x="9752" y="1625"/>
                </a:cubicBezTo>
                <a:cubicBezTo>
                  <a:pt x="9702" y="1601"/>
                  <a:pt x="9677" y="1625"/>
                  <a:pt x="9702" y="1675"/>
                </a:cubicBezTo>
                <a:cubicBezTo>
                  <a:pt x="9702" y="1701"/>
                  <a:pt x="9702" y="1701"/>
                  <a:pt x="9702" y="1725"/>
                </a:cubicBezTo>
                <a:cubicBezTo>
                  <a:pt x="9677" y="1775"/>
                  <a:pt x="9677" y="1750"/>
                  <a:pt x="9627" y="1750"/>
                </a:cubicBezTo>
                <a:cubicBezTo>
                  <a:pt x="9601" y="1725"/>
                  <a:pt x="9601" y="1775"/>
                  <a:pt x="9527" y="1750"/>
                </a:cubicBezTo>
                <a:cubicBezTo>
                  <a:pt x="9452" y="1725"/>
                  <a:pt x="9401" y="1750"/>
                  <a:pt x="9401" y="1725"/>
                </a:cubicBezTo>
                <a:cubicBezTo>
                  <a:pt x="9376" y="1701"/>
                  <a:pt x="9352" y="1701"/>
                  <a:pt x="9352" y="1725"/>
                </a:cubicBezTo>
                <a:cubicBezTo>
                  <a:pt x="9352" y="1750"/>
                  <a:pt x="9227" y="1725"/>
                  <a:pt x="9227" y="1701"/>
                </a:cubicBezTo>
                <a:cubicBezTo>
                  <a:pt x="9202" y="1675"/>
                  <a:pt x="9252" y="1675"/>
                  <a:pt x="9252" y="1650"/>
                </a:cubicBezTo>
                <a:cubicBezTo>
                  <a:pt x="9276" y="1650"/>
                  <a:pt x="9252" y="1625"/>
                  <a:pt x="9176" y="1650"/>
                </a:cubicBezTo>
                <a:cubicBezTo>
                  <a:pt x="9102" y="1650"/>
                  <a:pt x="9076" y="1601"/>
                  <a:pt x="9002" y="1625"/>
                </a:cubicBezTo>
                <a:cubicBezTo>
                  <a:pt x="8927" y="1625"/>
                  <a:pt x="8776" y="1625"/>
                  <a:pt x="8776" y="1650"/>
                </a:cubicBezTo>
                <a:cubicBezTo>
                  <a:pt x="8752" y="1650"/>
                  <a:pt x="8776" y="1701"/>
                  <a:pt x="8752" y="1701"/>
                </a:cubicBezTo>
                <a:cubicBezTo>
                  <a:pt x="8727" y="1701"/>
                  <a:pt x="8752" y="1625"/>
                  <a:pt x="8752" y="1601"/>
                </a:cubicBezTo>
                <a:cubicBezTo>
                  <a:pt x="8727" y="1575"/>
                  <a:pt x="8676" y="1575"/>
                  <a:pt x="8702" y="1601"/>
                </a:cubicBezTo>
                <a:cubicBezTo>
                  <a:pt x="8702" y="1625"/>
                  <a:pt x="8627" y="1625"/>
                  <a:pt x="8602" y="1601"/>
                </a:cubicBezTo>
                <a:cubicBezTo>
                  <a:pt x="8576" y="1575"/>
                  <a:pt x="8551" y="1575"/>
                  <a:pt x="8476" y="1550"/>
                </a:cubicBezTo>
                <a:cubicBezTo>
                  <a:pt x="8427" y="1525"/>
                  <a:pt x="8376" y="1601"/>
                  <a:pt x="8376" y="1601"/>
                </a:cubicBezTo>
                <a:cubicBezTo>
                  <a:pt x="8402" y="1625"/>
                  <a:pt x="8427" y="1625"/>
                  <a:pt x="8427" y="1625"/>
                </a:cubicBezTo>
                <a:cubicBezTo>
                  <a:pt x="8451" y="1650"/>
                  <a:pt x="8327" y="1650"/>
                  <a:pt x="8327" y="1650"/>
                </a:cubicBezTo>
                <a:cubicBezTo>
                  <a:pt x="8327" y="1675"/>
                  <a:pt x="8202" y="1701"/>
                  <a:pt x="8176" y="1701"/>
                </a:cubicBezTo>
                <a:cubicBezTo>
                  <a:pt x="8076" y="1725"/>
                  <a:pt x="8076" y="1725"/>
                  <a:pt x="8027" y="1750"/>
                </a:cubicBezTo>
                <a:cubicBezTo>
                  <a:pt x="7976" y="1801"/>
                  <a:pt x="8027" y="1725"/>
                  <a:pt x="8051" y="1701"/>
                </a:cubicBezTo>
                <a:cubicBezTo>
                  <a:pt x="8076" y="1650"/>
                  <a:pt x="8127" y="1675"/>
                  <a:pt x="8127" y="1650"/>
                </a:cubicBezTo>
                <a:cubicBezTo>
                  <a:pt x="8151" y="1625"/>
                  <a:pt x="8176" y="1625"/>
                  <a:pt x="8251" y="1625"/>
                </a:cubicBezTo>
                <a:cubicBezTo>
                  <a:pt x="8302" y="1601"/>
                  <a:pt x="8302" y="1575"/>
                  <a:pt x="8327" y="1575"/>
                </a:cubicBezTo>
                <a:cubicBezTo>
                  <a:pt x="8351" y="1550"/>
                  <a:pt x="8402" y="1525"/>
                  <a:pt x="8402" y="1501"/>
                </a:cubicBezTo>
                <a:cubicBezTo>
                  <a:pt x="8427" y="1475"/>
                  <a:pt x="8551" y="1425"/>
                  <a:pt x="8576" y="1450"/>
                </a:cubicBezTo>
                <a:cubicBezTo>
                  <a:pt x="8602" y="1450"/>
                  <a:pt x="8602" y="1401"/>
                  <a:pt x="8627" y="1401"/>
                </a:cubicBezTo>
                <a:cubicBezTo>
                  <a:pt x="8627" y="1401"/>
                  <a:pt x="8702" y="1350"/>
                  <a:pt x="8727" y="1350"/>
                </a:cubicBezTo>
                <a:cubicBezTo>
                  <a:pt x="8752" y="1325"/>
                  <a:pt x="8776" y="1300"/>
                  <a:pt x="8776" y="1275"/>
                </a:cubicBezTo>
                <a:cubicBezTo>
                  <a:pt x="8776" y="1275"/>
                  <a:pt x="8727" y="1275"/>
                  <a:pt x="8727" y="1250"/>
                </a:cubicBezTo>
                <a:cubicBezTo>
                  <a:pt x="8727" y="1250"/>
                  <a:pt x="8752" y="1250"/>
                  <a:pt x="8776" y="1250"/>
                </a:cubicBezTo>
                <a:cubicBezTo>
                  <a:pt x="8802" y="1225"/>
                  <a:pt x="8776" y="1200"/>
                  <a:pt x="8752" y="1200"/>
                </a:cubicBezTo>
                <a:cubicBezTo>
                  <a:pt x="8727" y="1200"/>
                  <a:pt x="8776" y="1175"/>
                  <a:pt x="8752" y="1150"/>
                </a:cubicBezTo>
                <a:cubicBezTo>
                  <a:pt x="8727" y="1125"/>
                  <a:pt x="8676" y="1175"/>
                  <a:pt x="8676" y="1150"/>
                </a:cubicBezTo>
                <a:cubicBezTo>
                  <a:pt x="8676" y="1100"/>
                  <a:pt x="8676" y="1075"/>
                  <a:pt x="8676" y="1050"/>
                </a:cubicBezTo>
                <a:cubicBezTo>
                  <a:pt x="8652" y="1050"/>
                  <a:pt x="8627" y="1100"/>
                  <a:pt x="8576" y="1075"/>
                </a:cubicBezTo>
                <a:cubicBezTo>
                  <a:pt x="8551" y="1050"/>
                  <a:pt x="8451" y="1025"/>
                  <a:pt x="8451" y="1025"/>
                </a:cubicBezTo>
                <a:cubicBezTo>
                  <a:pt x="8451" y="1050"/>
                  <a:pt x="8402" y="1025"/>
                  <a:pt x="8402" y="1025"/>
                </a:cubicBezTo>
                <a:cubicBezTo>
                  <a:pt x="8376" y="1050"/>
                  <a:pt x="8302" y="1025"/>
                  <a:pt x="8276" y="1025"/>
                </a:cubicBezTo>
                <a:cubicBezTo>
                  <a:pt x="8251" y="1025"/>
                  <a:pt x="8227" y="1050"/>
                  <a:pt x="8227" y="1075"/>
                </a:cubicBezTo>
                <a:cubicBezTo>
                  <a:pt x="8202" y="1100"/>
                  <a:pt x="8127" y="1075"/>
                  <a:pt x="8101" y="1075"/>
                </a:cubicBezTo>
                <a:cubicBezTo>
                  <a:pt x="8076" y="1075"/>
                  <a:pt x="8176" y="1000"/>
                  <a:pt x="8176" y="1000"/>
                </a:cubicBezTo>
                <a:cubicBezTo>
                  <a:pt x="8176" y="975"/>
                  <a:pt x="8027" y="1000"/>
                  <a:pt x="8002" y="975"/>
                </a:cubicBezTo>
                <a:cubicBezTo>
                  <a:pt x="8002" y="975"/>
                  <a:pt x="7927" y="950"/>
                  <a:pt x="7902" y="950"/>
                </a:cubicBezTo>
                <a:cubicBezTo>
                  <a:pt x="7876" y="950"/>
                  <a:pt x="7902" y="950"/>
                  <a:pt x="7927" y="950"/>
                </a:cubicBezTo>
                <a:cubicBezTo>
                  <a:pt x="7951" y="950"/>
                  <a:pt x="7976" y="925"/>
                  <a:pt x="8027" y="925"/>
                </a:cubicBezTo>
                <a:cubicBezTo>
                  <a:pt x="8051" y="900"/>
                  <a:pt x="8051" y="900"/>
                  <a:pt x="8027" y="875"/>
                </a:cubicBezTo>
                <a:cubicBezTo>
                  <a:pt x="8002" y="850"/>
                  <a:pt x="7976" y="875"/>
                  <a:pt x="7951" y="850"/>
                </a:cubicBezTo>
                <a:cubicBezTo>
                  <a:pt x="7927" y="850"/>
                  <a:pt x="7876" y="825"/>
                  <a:pt x="7851" y="825"/>
                </a:cubicBezTo>
                <a:cubicBezTo>
                  <a:pt x="7827" y="825"/>
                  <a:pt x="7802" y="850"/>
                  <a:pt x="7727" y="850"/>
                </a:cubicBezTo>
                <a:cubicBezTo>
                  <a:pt x="7651" y="875"/>
                  <a:pt x="7651" y="925"/>
                  <a:pt x="7626" y="950"/>
                </a:cubicBezTo>
                <a:cubicBezTo>
                  <a:pt x="7576" y="950"/>
                  <a:pt x="7526" y="1025"/>
                  <a:pt x="7551" y="1025"/>
                </a:cubicBezTo>
                <a:cubicBezTo>
                  <a:pt x="7576" y="1025"/>
                  <a:pt x="7576" y="1050"/>
                  <a:pt x="7576" y="1050"/>
                </a:cubicBezTo>
                <a:cubicBezTo>
                  <a:pt x="7576" y="1075"/>
                  <a:pt x="7551" y="1075"/>
                  <a:pt x="7526" y="1075"/>
                </a:cubicBezTo>
                <a:cubicBezTo>
                  <a:pt x="7502" y="1075"/>
                  <a:pt x="7376" y="1075"/>
                  <a:pt x="7376" y="1100"/>
                </a:cubicBezTo>
                <a:cubicBezTo>
                  <a:pt x="7376" y="1125"/>
                  <a:pt x="7451" y="1125"/>
                  <a:pt x="7451" y="1150"/>
                </a:cubicBezTo>
                <a:cubicBezTo>
                  <a:pt x="7426" y="1150"/>
                  <a:pt x="7402" y="1150"/>
                  <a:pt x="7376" y="1125"/>
                </a:cubicBezTo>
                <a:cubicBezTo>
                  <a:pt x="7351" y="1125"/>
                  <a:pt x="7302" y="1125"/>
                  <a:pt x="7276" y="1150"/>
                </a:cubicBezTo>
                <a:cubicBezTo>
                  <a:pt x="7276" y="1175"/>
                  <a:pt x="7226" y="1175"/>
                  <a:pt x="7226" y="1150"/>
                </a:cubicBezTo>
                <a:cubicBezTo>
                  <a:pt x="7202" y="1150"/>
                  <a:pt x="7176" y="1175"/>
                  <a:pt x="7176" y="1175"/>
                </a:cubicBezTo>
                <a:cubicBezTo>
                  <a:pt x="7151" y="1150"/>
                  <a:pt x="7202" y="1125"/>
                  <a:pt x="7202" y="1125"/>
                </a:cubicBezTo>
                <a:cubicBezTo>
                  <a:pt x="7176" y="1100"/>
                  <a:pt x="7102" y="1100"/>
                  <a:pt x="7102" y="1125"/>
                </a:cubicBezTo>
                <a:cubicBezTo>
                  <a:pt x="7102" y="1150"/>
                  <a:pt x="7051" y="1125"/>
                  <a:pt x="7051" y="1125"/>
                </a:cubicBezTo>
                <a:cubicBezTo>
                  <a:pt x="7026" y="1125"/>
                  <a:pt x="7002" y="1150"/>
                  <a:pt x="6976" y="1150"/>
                </a:cubicBezTo>
                <a:cubicBezTo>
                  <a:pt x="6951" y="1175"/>
                  <a:pt x="6902" y="1150"/>
                  <a:pt x="6876" y="1175"/>
                </a:cubicBezTo>
                <a:cubicBezTo>
                  <a:pt x="6876" y="1200"/>
                  <a:pt x="6951" y="1200"/>
                  <a:pt x="6951" y="1200"/>
                </a:cubicBezTo>
                <a:cubicBezTo>
                  <a:pt x="6951" y="1225"/>
                  <a:pt x="6801" y="1225"/>
                  <a:pt x="6801" y="1225"/>
                </a:cubicBezTo>
                <a:cubicBezTo>
                  <a:pt x="6776" y="1250"/>
                  <a:pt x="6726" y="1250"/>
                  <a:pt x="6676" y="1250"/>
                </a:cubicBezTo>
                <a:cubicBezTo>
                  <a:pt x="6601" y="1250"/>
                  <a:pt x="6626" y="1275"/>
                  <a:pt x="6576" y="1275"/>
                </a:cubicBezTo>
                <a:cubicBezTo>
                  <a:pt x="6526" y="1300"/>
                  <a:pt x="6501" y="1300"/>
                  <a:pt x="6501" y="1325"/>
                </a:cubicBezTo>
                <a:cubicBezTo>
                  <a:pt x="6476" y="1350"/>
                  <a:pt x="6451" y="1350"/>
                  <a:pt x="6426" y="1325"/>
                </a:cubicBezTo>
                <a:cubicBezTo>
                  <a:pt x="6401" y="1325"/>
                  <a:pt x="6351" y="1350"/>
                  <a:pt x="6376" y="1350"/>
                </a:cubicBezTo>
                <a:cubicBezTo>
                  <a:pt x="6401" y="1350"/>
                  <a:pt x="6376" y="1375"/>
                  <a:pt x="6376" y="1375"/>
                </a:cubicBezTo>
                <a:cubicBezTo>
                  <a:pt x="6351" y="1350"/>
                  <a:pt x="6301" y="1401"/>
                  <a:pt x="6326" y="1401"/>
                </a:cubicBezTo>
                <a:cubicBezTo>
                  <a:pt x="6351" y="1401"/>
                  <a:pt x="6376" y="1401"/>
                  <a:pt x="6351" y="1425"/>
                </a:cubicBezTo>
                <a:cubicBezTo>
                  <a:pt x="6351" y="1450"/>
                  <a:pt x="6301" y="1401"/>
                  <a:pt x="6276" y="1425"/>
                </a:cubicBezTo>
                <a:cubicBezTo>
                  <a:pt x="6276" y="1425"/>
                  <a:pt x="6301" y="1450"/>
                  <a:pt x="6326" y="1450"/>
                </a:cubicBezTo>
                <a:cubicBezTo>
                  <a:pt x="6351" y="1450"/>
                  <a:pt x="6376" y="1475"/>
                  <a:pt x="6376" y="1475"/>
                </a:cubicBezTo>
                <a:cubicBezTo>
                  <a:pt x="6376" y="1501"/>
                  <a:pt x="6326" y="1475"/>
                  <a:pt x="6301" y="1475"/>
                </a:cubicBezTo>
                <a:cubicBezTo>
                  <a:pt x="6301" y="1501"/>
                  <a:pt x="6301" y="1501"/>
                  <a:pt x="6351" y="1501"/>
                </a:cubicBezTo>
                <a:cubicBezTo>
                  <a:pt x="6376" y="1525"/>
                  <a:pt x="6351" y="1525"/>
                  <a:pt x="6376" y="1550"/>
                </a:cubicBezTo>
                <a:lnTo>
                  <a:pt x="6376" y="1550"/>
                </a:lnTo>
                <a:cubicBezTo>
                  <a:pt x="6376" y="1575"/>
                  <a:pt x="6351" y="1575"/>
                  <a:pt x="6376" y="1601"/>
                </a:cubicBezTo>
                <a:cubicBezTo>
                  <a:pt x="6376" y="1601"/>
                  <a:pt x="6326" y="1625"/>
                  <a:pt x="6326" y="1601"/>
                </a:cubicBezTo>
                <a:cubicBezTo>
                  <a:pt x="6326" y="1575"/>
                  <a:pt x="6276" y="1575"/>
                  <a:pt x="6251" y="1601"/>
                </a:cubicBezTo>
                <a:cubicBezTo>
                  <a:pt x="6226" y="1601"/>
                  <a:pt x="6226" y="1625"/>
                  <a:pt x="6201" y="1601"/>
                </a:cubicBezTo>
                <a:cubicBezTo>
                  <a:pt x="6176" y="1601"/>
                  <a:pt x="6126" y="1601"/>
                  <a:pt x="6076" y="1625"/>
                </a:cubicBezTo>
                <a:cubicBezTo>
                  <a:pt x="6001" y="1625"/>
                  <a:pt x="5851" y="1625"/>
                  <a:pt x="5826" y="1625"/>
                </a:cubicBezTo>
                <a:cubicBezTo>
                  <a:pt x="5776" y="1650"/>
                  <a:pt x="5751" y="1701"/>
                  <a:pt x="5801" y="1725"/>
                </a:cubicBezTo>
                <a:cubicBezTo>
                  <a:pt x="5826" y="1750"/>
                  <a:pt x="5801" y="1775"/>
                  <a:pt x="5801" y="1801"/>
                </a:cubicBezTo>
                <a:cubicBezTo>
                  <a:pt x="5801" y="1825"/>
                  <a:pt x="5876" y="1850"/>
                  <a:pt x="5926" y="1875"/>
                </a:cubicBezTo>
                <a:cubicBezTo>
                  <a:pt x="5976" y="1875"/>
                  <a:pt x="6001" y="1925"/>
                  <a:pt x="5976" y="1950"/>
                </a:cubicBezTo>
                <a:cubicBezTo>
                  <a:pt x="5951" y="2001"/>
                  <a:pt x="5876" y="1950"/>
                  <a:pt x="5826" y="1901"/>
                </a:cubicBezTo>
                <a:cubicBezTo>
                  <a:pt x="5751" y="1850"/>
                  <a:pt x="5651" y="1850"/>
                  <a:pt x="5601" y="1850"/>
                </a:cubicBezTo>
                <a:cubicBezTo>
                  <a:pt x="5551" y="1850"/>
                  <a:pt x="5576" y="1801"/>
                  <a:pt x="5526" y="1825"/>
                </a:cubicBezTo>
                <a:cubicBezTo>
                  <a:pt x="5476" y="1825"/>
                  <a:pt x="5426" y="1850"/>
                  <a:pt x="5476" y="1850"/>
                </a:cubicBezTo>
                <a:cubicBezTo>
                  <a:pt x="5501" y="1850"/>
                  <a:pt x="5526" y="1850"/>
                  <a:pt x="5501" y="1875"/>
                </a:cubicBezTo>
                <a:cubicBezTo>
                  <a:pt x="5501" y="1901"/>
                  <a:pt x="5526" y="1875"/>
                  <a:pt x="5551" y="1901"/>
                </a:cubicBezTo>
                <a:cubicBezTo>
                  <a:pt x="5601" y="1925"/>
                  <a:pt x="5526" y="1950"/>
                  <a:pt x="5476" y="1925"/>
                </a:cubicBezTo>
                <a:cubicBezTo>
                  <a:pt x="5451" y="1901"/>
                  <a:pt x="5401" y="1925"/>
                  <a:pt x="5376" y="1950"/>
                </a:cubicBezTo>
                <a:cubicBezTo>
                  <a:pt x="5376" y="1950"/>
                  <a:pt x="5426" y="2025"/>
                  <a:pt x="5501" y="2025"/>
                </a:cubicBezTo>
                <a:cubicBezTo>
                  <a:pt x="5576" y="2050"/>
                  <a:pt x="5551" y="2075"/>
                  <a:pt x="5601" y="2075"/>
                </a:cubicBezTo>
                <a:cubicBezTo>
                  <a:pt x="5626" y="2101"/>
                  <a:pt x="5601" y="2101"/>
                  <a:pt x="5576" y="2101"/>
                </a:cubicBezTo>
                <a:cubicBezTo>
                  <a:pt x="5551" y="2125"/>
                  <a:pt x="5501" y="2075"/>
                  <a:pt x="5476" y="2050"/>
                </a:cubicBezTo>
                <a:cubicBezTo>
                  <a:pt x="5426" y="2025"/>
                  <a:pt x="5326" y="2075"/>
                  <a:pt x="5300" y="2050"/>
                </a:cubicBezTo>
                <a:cubicBezTo>
                  <a:pt x="5300" y="2025"/>
                  <a:pt x="5326" y="2001"/>
                  <a:pt x="5300" y="1975"/>
                </a:cubicBezTo>
                <a:cubicBezTo>
                  <a:pt x="5276" y="1975"/>
                  <a:pt x="5300" y="1925"/>
                  <a:pt x="5326" y="1901"/>
                </a:cubicBezTo>
                <a:cubicBezTo>
                  <a:pt x="5351" y="1850"/>
                  <a:pt x="5326" y="1775"/>
                  <a:pt x="5276" y="1775"/>
                </a:cubicBezTo>
                <a:cubicBezTo>
                  <a:pt x="5251" y="1750"/>
                  <a:pt x="5251" y="1801"/>
                  <a:pt x="5251" y="1801"/>
                </a:cubicBezTo>
                <a:cubicBezTo>
                  <a:pt x="5276" y="1825"/>
                  <a:pt x="5276" y="1875"/>
                  <a:pt x="5226" y="1901"/>
                </a:cubicBezTo>
                <a:cubicBezTo>
                  <a:pt x="5201" y="1950"/>
                  <a:pt x="5126" y="1950"/>
                  <a:pt x="5126" y="1975"/>
                </a:cubicBezTo>
                <a:cubicBezTo>
                  <a:pt x="5126" y="2001"/>
                  <a:pt x="5076" y="2001"/>
                  <a:pt x="5076" y="2025"/>
                </a:cubicBezTo>
                <a:cubicBezTo>
                  <a:pt x="5100" y="2050"/>
                  <a:pt x="5176" y="2125"/>
                  <a:pt x="5201" y="2150"/>
                </a:cubicBezTo>
                <a:cubicBezTo>
                  <a:pt x="5201" y="2175"/>
                  <a:pt x="5126" y="2275"/>
                  <a:pt x="5151" y="2301"/>
                </a:cubicBezTo>
                <a:cubicBezTo>
                  <a:pt x="5151" y="2350"/>
                  <a:pt x="5126" y="2375"/>
                  <a:pt x="5151" y="2400"/>
                </a:cubicBezTo>
                <a:cubicBezTo>
                  <a:pt x="5151" y="2425"/>
                  <a:pt x="5201" y="2400"/>
                  <a:pt x="5226" y="2425"/>
                </a:cubicBezTo>
                <a:cubicBezTo>
                  <a:pt x="5226" y="2425"/>
                  <a:pt x="5276" y="2400"/>
                  <a:pt x="5326" y="2400"/>
                </a:cubicBezTo>
                <a:cubicBezTo>
                  <a:pt x="5376" y="2375"/>
                  <a:pt x="5476" y="2450"/>
                  <a:pt x="5501" y="2450"/>
                </a:cubicBezTo>
                <a:cubicBezTo>
                  <a:pt x="5551" y="2475"/>
                  <a:pt x="5526" y="2500"/>
                  <a:pt x="5551" y="2526"/>
                </a:cubicBezTo>
                <a:cubicBezTo>
                  <a:pt x="5551" y="2550"/>
                  <a:pt x="5501" y="2550"/>
                  <a:pt x="5501" y="2601"/>
                </a:cubicBezTo>
                <a:cubicBezTo>
                  <a:pt x="5501" y="2650"/>
                  <a:pt x="5601" y="2650"/>
                  <a:pt x="5601" y="2675"/>
                </a:cubicBezTo>
                <a:cubicBezTo>
                  <a:pt x="5601" y="2675"/>
                  <a:pt x="5526" y="2675"/>
                  <a:pt x="5501" y="2650"/>
                </a:cubicBezTo>
                <a:cubicBezTo>
                  <a:pt x="5476" y="2650"/>
                  <a:pt x="5476" y="2601"/>
                  <a:pt x="5451" y="2601"/>
                </a:cubicBezTo>
                <a:cubicBezTo>
                  <a:pt x="5451" y="2601"/>
                  <a:pt x="5476" y="2550"/>
                  <a:pt x="5476" y="2526"/>
                </a:cubicBezTo>
                <a:cubicBezTo>
                  <a:pt x="5476" y="2500"/>
                  <a:pt x="5451" y="2500"/>
                  <a:pt x="5426" y="2475"/>
                </a:cubicBezTo>
                <a:cubicBezTo>
                  <a:pt x="5426" y="2450"/>
                  <a:pt x="5401" y="2425"/>
                  <a:pt x="5376" y="2425"/>
                </a:cubicBezTo>
                <a:cubicBezTo>
                  <a:pt x="5351" y="2450"/>
                  <a:pt x="5251" y="2450"/>
                  <a:pt x="5226" y="2475"/>
                </a:cubicBezTo>
                <a:cubicBezTo>
                  <a:pt x="5201" y="2500"/>
                  <a:pt x="5226" y="2575"/>
                  <a:pt x="5251" y="2601"/>
                </a:cubicBezTo>
                <a:cubicBezTo>
                  <a:pt x="5276" y="2650"/>
                  <a:pt x="5176" y="2701"/>
                  <a:pt x="5176" y="2726"/>
                </a:cubicBezTo>
                <a:cubicBezTo>
                  <a:pt x="5176" y="2750"/>
                  <a:pt x="5151" y="2750"/>
                  <a:pt x="5100" y="2775"/>
                </a:cubicBezTo>
                <a:cubicBezTo>
                  <a:pt x="5051" y="2801"/>
                  <a:pt x="5001" y="2826"/>
                  <a:pt x="5026" y="2850"/>
                </a:cubicBezTo>
                <a:cubicBezTo>
                  <a:pt x="5026" y="2901"/>
                  <a:pt x="4951" y="2875"/>
                  <a:pt x="4926" y="2850"/>
                </a:cubicBezTo>
                <a:cubicBezTo>
                  <a:pt x="4901" y="2826"/>
                  <a:pt x="4851" y="2875"/>
                  <a:pt x="4826" y="2850"/>
                </a:cubicBezTo>
                <a:cubicBezTo>
                  <a:pt x="4775" y="2850"/>
                  <a:pt x="4775" y="2826"/>
                  <a:pt x="4751" y="2850"/>
                </a:cubicBezTo>
                <a:cubicBezTo>
                  <a:pt x="4701" y="2850"/>
                  <a:pt x="4701" y="2826"/>
                  <a:pt x="4701" y="2801"/>
                </a:cubicBezTo>
                <a:cubicBezTo>
                  <a:pt x="4701" y="2775"/>
                  <a:pt x="4751" y="2801"/>
                  <a:pt x="4751" y="2801"/>
                </a:cubicBezTo>
                <a:cubicBezTo>
                  <a:pt x="4751" y="2826"/>
                  <a:pt x="4775" y="2826"/>
                  <a:pt x="4801" y="2801"/>
                </a:cubicBezTo>
                <a:cubicBezTo>
                  <a:pt x="4826" y="2801"/>
                  <a:pt x="4826" y="2826"/>
                  <a:pt x="4851" y="2826"/>
                </a:cubicBezTo>
                <a:cubicBezTo>
                  <a:pt x="4901" y="2826"/>
                  <a:pt x="4875" y="2801"/>
                  <a:pt x="4901" y="2801"/>
                </a:cubicBezTo>
                <a:cubicBezTo>
                  <a:pt x="4926" y="2801"/>
                  <a:pt x="4951" y="2801"/>
                  <a:pt x="4926" y="2775"/>
                </a:cubicBezTo>
                <a:cubicBezTo>
                  <a:pt x="4926" y="2775"/>
                  <a:pt x="4951" y="2750"/>
                  <a:pt x="4975" y="2750"/>
                </a:cubicBezTo>
                <a:cubicBezTo>
                  <a:pt x="5001" y="2750"/>
                  <a:pt x="4975" y="2701"/>
                  <a:pt x="5001" y="2701"/>
                </a:cubicBezTo>
                <a:cubicBezTo>
                  <a:pt x="5026" y="2701"/>
                  <a:pt x="5001" y="2675"/>
                  <a:pt x="5026" y="2675"/>
                </a:cubicBezTo>
                <a:cubicBezTo>
                  <a:pt x="5051" y="2675"/>
                  <a:pt x="5051" y="2650"/>
                  <a:pt x="5076" y="2650"/>
                </a:cubicBezTo>
                <a:cubicBezTo>
                  <a:pt x="5100" y="2650"/>
                  <a:pt x="5100" y="2601"/>
                  <a:pt x="5076" y="2601"/>
                </a:cubicBezTo>
                <a:cubicBezTo>
                  <a:pt x="5076" y="2575"/>
                  <a:pt x="5100" y="2550"/>
                  <a:pt x="5100" y="2526"/>
                </a:cubicBezTo>
                <a:cubicBezTo>
                  <a:pt x="5126" y="2526"/>
                  <a:pt x="5126" y="2500"/>
                  <a:pt x="5126" y="2500"/>
                </a:cubicBezTo>
                <a:cubicBezTo>
                  <a:pt x="5100" y="2475"/>
                  <a:pt x="5026" y="2450"/>
                  <a:pt x="5051" y="2425"/>
                </a:cubicBezTo>
                <a:cubicBezTo>
                  <a:pt x="5051" y="2400"/>
                  <a:pt x="5026" y="2350"/>
                  <a:pt x="5051" y="2325"/>
                </a:cubicBezTo>
                <a:cubicBezTo>
                  <a:pt x="5051" y="2301"/>
                  <a:pt x="5051" y="2250"/>
                  <a:pt x="5026" y="2225"/>
                </a:cubicBezTo>
                <a:cubicBezTo>
                  <a:pt x="5026" y="2201"/>
                  <a:pt x="5051" y="2175"/>
                  <a:pt x="5051" y="2125"/>
                </a:cubicBezTo>
                <a:cubicBezTo>
                  <a:pt x="5076" y="2101"/>
                  <a:pt x="5001" y="2050"/>
                  <a:pt x="4975" y="2025"/>
                </a:cubicBezTo>
                <a:cubicBezTo>
                  <a:pt x="4951" y="2025"/>
                  <a:pt x="4975" y="2001"/>
                  <a:pt x="5026" y="1950"/>
                </a:cubicBezTo>
                <a:cubicBezTo>
                  <a:pt x="5051" y="1925"/>
                  <a:pt x="5051" y="1825"/>
                  <a:pt x="5051" y="1801"/>
                </a:cubicBezTo>
                <a:cubicBezTo>
                  <a:pt x="5051" y="1775"/>
                  <a:pt x="4975" y="1750"/>
                  <a:pt x="4951" y="1750"/>
                </a:cubicBezTo>
                <a:cubicBezTo>
                  <a:pt x="4901" y="1750"/>
                  <a:pt x="4801" y="1750"/>
                  <a:pt x="4751" y="1750"/>
                </a:cubicBezTo>
                <a:cubicBezTo>
                  <a:pt x="4726" y="1750"/>
                  <a:pt x="4726" y="1775"/>
                  <a:pt x="4701" y="1801"/>
                </a:cubicBezTo>
                <a:cubicBezTo>
                  <a:pt x="4701" y="1825"/>
                  <a:pt x="4651" y="1875"/>
                  <a:pt x="4651" y="1925"/>
                </a:cubicBezTo>
                <a:cubicBezTo>
                  <a:pt x="4626" y="2001"/>
                  <a:pt x="4551" y="2025"/>
                  <a:pt x="4526" y="2025"/>
                </a:cubicBezTo>
                <a:cubicBezTo>
                  <a:pt x="4475" y="2050"/>
                  <a:pt x="4475" y="2101"/>
                  <a:pt x="4475" y="2125"/>
                </a:cubicBezTo>
                <a:cubicBezTo>
                  <a:pt x="4501" y="2125"/>
                  <a:pt x="4526" y="2125"/>
                  <a:pt x="4526" y="2125"/>
                </a:cubicBezTo>
                <a:cubicBezTo>
                  <a:pt x="4551" y="2125"/>
                  <a:pt x="4526" y="2201"/>
                  <a:pt x="4526" y="2201"/>
                </a:cubicBezTo>
                <a:cubicBezTo>
                  <a:pt x="4501" y="2201"/>
                  <a:pt x="4551" y="2225"/>
                  <a:pt x="4526" y="2250"/>
                </a:cubicBezTo>
                <a:cubicBezTo>
                  <a:pt x="4501" y="2250"/>
                  <a:pt x="4475" y="2301"/>
                  <a:pt x="4475" y="2301"/>
                </a:cubicBezTo>
                <a:cubicBezTo>
                  <a:pt x="4501" y="2325"/>
                  <a:pt x="4575" y="2325"/>
                  <a:pt x="4601" y="2350"/>
                </a:cubicBezTo>
                <a:cubicBezTo>
                  <a:pt x="4626" y="2375"/>
                  <a:pt x="4626" y="2400"/>
                  <a:pt x="4626" y="2425"/>
                </a:cubicBezTo>
                <a:cubicBezTo>
                  <a:pt x="4651" y="2450"/>
                  <a:pt x="4675" y="2450"/>
                  <a:pt x="4701" y="2450"/>
                </a:cubicBezTo>
                <a:cubicBezTo>
                  <a:pt x="4701" y="2475"/>
                  <a:pt x="4651" y="2550"/>
                  <a:pt x="4626" y="2550"/>
                </a:cubicBezTo>
                <a:cubicBezTo>
                  <a:pt x="4626" y="2550"/>
                  <a:pt x="4551" y="2475"/>
                  <a:pt x="4526" y="2450"/>
                </a:cubicBezTo>
                <a:cubicBezTo>
                  <a:pt x="4501" y="2450"/>
                  <a:pt x="4401" y="2425"/>
                  <a:pt x="4375" y="2400"/>
                </a:cubicBezTo>
                <a:cubicBezTo>
                  <a:pt x="4326" y="2375"/>
                  <a:pt x="4301" y="2375"/>
                  <a:pt x="4251" y="2350"/>
                </a:cubicBezTo>
                <a:cubicBezTo>
                  <a:pt x="4201" y="2301"/>
                  <a:pt x="4151" y="2301"/>
                  <a:pt x="4075" y="2301"/>
                </a:cubicBezTo>
                <a:cubicBezTo>
                  <a:pt x="3975" y="2301"/>
                  <a:pt x="3926" y="2275"/>
                  <a:pt x="3901" y="2275"/>
                </a:cubicBezTo>
                <a:cubicBezTo>
                  <a:pt x="3875" y="2275"/>
                  <a:pt x="3875" y="2250"/>
                  <a:pt x="3826" y="2225"/>
                </a:cubicBezTo>
                <a:cubicBezTo>
                  <a:pt x="3775" y="2201"/>
                  <a:pt x="3750" y="2175"/>
                  <a:pt x="3726" y="2201"/>
                </a:cubicBezTo>
                <a:cubicBezTo>
                  <a:pt x="3675" y="2201"/>
                  <a:pt x="3701" y="2275"/>
                  <a:pt x="3750" y="2275"/>
                </a:cubicBezTo>
                <a:cubicBezTo>
                  <a:pt x="3775" y="2275"/>
                  <a:pt x="3775" y="2301"/>
                  <a:pt x="3800" y="2301"/>
                </a:cubicBezTo>
                <a:cubicBezTo>
                  <a:pt x="3850" y="2301"/>
                  <a:pt x="3875" y="2325"/>
                  <a:pt x="3875" y="2350"/>
                </a:cubicBezTo>
                <a:cubicBezTo>
                  <a:pt x="3875" y="2375"/>
                  <a:pt x="3901" y="2400"/>
                  <a:pt x="3926" y="2425"/>
                </a:cubicBezTo>
                <a:cubicBezTo>
                  <a:pt x="3926" y="2450"/>
                  <a:pt x="3926" y="2475"/>
                  <a:pt x="3875" y="2475"/>
                </a:cubicBezTo>
                <a:cubicBezTo>
                  <a:pt x="3850" y="2475"/>
                  <a:pt x="3800" y="2475"/>
                  <a:pt x="3826" y="2500"/>
                </a:cubicBezTo>
                <a:cubicBezTo>
                  <a:pt x="3850" y="2526"/>
                  <a:pt x="3800" y="2526"/>
                  <a:pt x="3775" y="2526"/>
                </a:cubicBezTo>
                <a:cubicBezTo>
                  <a:pt x="3726" y="2500"/>
                  <a:pt x="3750" y="2475"/>
                  <a:pt x="3775" y="2475"/>
                </a:cubicBezTo>
                <a:cubicBezTo>
                  <a:pt x="3800" y="2450"/>
                  <a:pt x="3750" y="2425"/>
                  <a:pt x="3726" y="2425"/>
                </a:cubicBezTo>
                <a:cubicBezTo>
                  <a:pt x="3701" y="2425"/>
                  <a:pt x="3601" y="2475"/>
                  <a:pt x="3575" y="2500"/>
                </a:cubicBezTo>
                <a:cubicBezTo>
                  <a:pt x="3550" y="2500"/>
                  <a:pt x="3475" y="2475"/>
                  <a:pt x="3426" y="2500"/>
                </a:cubicBezTo>
                <a:cubicBezTo>
                  <a:pt x="3350" y="2526"/>
                  <a:pt x="3350" y="2575"/>
                  <a:pt x="3326" y="2550"/>
                </a:cubicBezTo>
                <a:cubicBezTo>
                  <a:pt x="3301" y="2550"/>
                  <a:pt x="3225" y="2575"/>
                  <a:pt x="3201" y="2550"/>
                </a:cubicBezTo>
                <a:cubicBezTo>
                  <a:pt x="3175" y="2526"/>
                  <a:pt x="3201" y="2526"/>
                  <a:pt x="3225" y="2526"/>
                </a:cubicBezTo>
                <a:cubicBezTo>
                  <a:pt x="3250" y="2526"/>
                  <a:pt x="3250" y="2526"/>
                  <a:pt x="3250" y="2500"/>
                </a:cubicBezTo>
                <a:cubicBezTo>
                  <a:pt x="3225" y="2475"/>
                  <a:pt x="3275" y="2450"/>
                  <a:pt x="3275" y="2425"/>
                </a:cubicBezTo>
                <a:cubicBezTo>
                  <a:pt x="3275" y="2425"/>
                  <a:pt x="3150" y="2450"/>
                  <a:pt x="3150" y="2475"/>
                </a:cubicBezTo>
                <a:cubicBezTo>
                  <a:pt x="3125" y="2475"/>
                  <a:pt x="3150" y="2526"/>
                  <a:pt x="3125" y="2526"/>
                </a:cubicBezTo>
                <a:cubicBezTo>
                  <a:pt x="3101" y="2526"/>
                  <a:pt x="3101" y="2500"/>
                  <a:pt x="3075" y="2500"/>
                </a:cubicBezTo>
                <a:cubicBezTo>
                  <a:pt x="3050" y="2500"/>
                  <a:pt x="2901" y="2526"/>
                  <a:pt x="2875" y="2575"/>
                </a:cubicBezTo>
                <a:cubicBezTo>
                  <a:pt x="2825" y="2601"/>
                  <a:pt x="2775" y="2601"/>
                  <a:pt x="2775" y="2626"/>
                </a:cubicBezTo>
                <a:cubicBezTo>
                  <a:pt x="2775" y="2650"/>
                  <a:pt x="2701" y="2626"/>
                  <a:pt x="2675" y="2650"/>
                </a:cubicBezTo>
                <a:cubicBezTo>
                  <a:pt x="2650" y="2675"/>
                  <a:pt x="2650" y="2726"/>
                  <a:pt x="2650" y="2750"/>
                </a:cubicBezTo>
                <a:cubicBezTo>
                  <a:pt x="2650" y="2775"/>
                  <a:pt x="2525" y="2775"/>
                  <a:pt x="2500" y="2775"/>
                </a:cubicBezTo>
                <a:cubicBezTo>
                  <a:pt x="2450" y="2775"/>
                  <a:pt x="2450" y="2701"/>
                  <a:pt x="2425" y="2701"/>
                </a:cubicBezTo>
                <a:cubicBezTo>
                  <a:pt x="2375" y="2701"/>
                  <a:pt x="2401" y="2650"/>
                  <a:pt x="2401" y="2650"/>
                </a:cubicBezTo>
                <a:cubicBezTo>
                  <a:pt x="2425" y="2626"/>
                  <a:pt x="2450" y="2626"/>
                  <a:pt x="2475" y="2626"/>
                </a:cubicBezTo>
                <a:cubicBezTo>
                  <a:pt x="2500" y="2601"/>
                  <a:pt x="2550" y="2626"/>
                  <a:pt x="2550" y="2601"/>
                </a:cubicBezTo>
                <a:cubicBezTo>
                  <a:pt x="2575" y="2601"/>
                  <a:pt x="2500" y="2550"/>
                  <a:pt x="2500" y="2526"/>
                </a:cubicBezTo>
                <a:cubicBezTo>
                  <a:pt x="2500" y="2475"/>
                  <a:pt x="2425" y="2475"/>
                  <a:pt x="2375" y="2475"/>
                </a:cubicBezTo>
                <a:cubicBezTo>
                  <a:pt x="2350" y="2500"/>
                  <a:pt x="2300" y="2500"/>
                  <a:pt x="2275" y="2475"/>
                </a:cubicBezTo>
                <a:cubicBezTo>
                  <a:pt x="2250" y="2450"/>
                  <a:pt x="2250" y="2500"/>
                  <a:pt x="2275" y="2500"/>
                </a:cubicBezTo>
                <a:cubicBezTo>
                  <a:pt x="2325" y="2526"/>
                  <a:pt x="2300" y="2550"/>
                  <a:pt x="2300" y="2575"/>
                </a:cubicBezTo>
                <a:cubicBezTo>
                  <a:pt x="2325" y="2601"/>
                  <a:pt x="2300" y="2650"/>
                  <a:pt x="2275" y="2675"/>
                </a:cubicBezTo>
                <a:cubicBezTo>
                  <a:pt x="2250" y="2726"/>
                  <a:pt x="2275" y="2726"/>
                  <a:pt x="2300" y="2726"/>
                </a:cubicBezTo>
                <a:cubicBezTo>
                  <a:pt x="2350" y="2701"/>
                  <a:pt x="2350" y="2750"/>
                  <a:pt x="2350" y="2801"/>
                </a:cubicBezTo>
                <a:cubicBezTo>
                  <a:pt x="2350" y="2826"/>
                  <a:pt x="2300" y="2850"/>
                  <a:pt x="2300" y="2875"/>
                </a:cubicBezTo>
                <a:cubicBezTo>
                  <a:pt x="2300" y="2901"/>
                  <a:pt x="2275" y="2850"/>
                  <a:pt x="2275" y="2875"/>
                </a:cubicBezTo>
                <a:cubicBezTo>
                  <a:pt x="2250" y="2875"/>
                  <a:pt x="2250" y="2850"/>
                  <a:pt x="2250" y="2850"/>
                </a:cubicBezTo>
                <a:cubicBezTo>
                  <a:pt x="2250" y="2826"/>
                  <a:pt x="2175" y="2826"/>
                  <a:pt x="2150" y="2826"/>
                </a:cubicBezTo>
                <a:cubicBezTo>
                  <a:pt x="2125" y="2826"/>
                  <a:pt x="2100" y="2826"/>
                  <a:pt x="2100" y="2850"/>
                </a:cubicBezTo>
                <a:cubicBezTo>
                  <a:pt x="2075" y="2875"/>
                  <a:pt x="2025" y="2875"/>
                  <a:pt x="2000" y="2875"/>
                </a:cubicBezTo>
                <a:cubicBezTo>
                  <a:pt x="1975" y="2901"/>
                  <a:pt x="1950" y="2926"/>
                  <a:pt x="1925" y="2950"/>
                </a:cubicBezTo>
                <a:cubicBezTo>
                  <a:pt x="1900" y="2975"/>
                  <a:pt x="1875" y="3001"/>
                  <a:pt x="1925" y="3026"/>
                </a:cubicBezTo>
                <a:cubicBezTo>
                  <a:pt x="1950" y="3075"/>
                  <a:pt x="1975" y="3101"/>
                  <a:pt x="1950" y="3101"/>
                </a:cubicBezTo>
                <a:cubicBezTo>
                  <a:pt x="1950" y="3126"/>
                  <a:pt x="1875" y="3126"/>
                  <a:pt x="1850" y="3101"/>
                </a:cubicBezTo>
                <a:cubicBezTo>
                  <a:pt x="1825" y="3075"/>
                  <a:pt x="1775" y="3075"/>
                  <a:pt x="1750" y="3075"/>
                </a:cubicBezTo>
                <a:cubicBezTo>
                  <a:pt x="1725" y="3075"/>
                  <a:pt x="1675" y="3026"/>
                  <a:pt x="1650" y="3026"/>
                </a:cubicBezTo>
                <a:cubicBezTo>
                  <a:pt x="1625" y="3026"/>
                  <a:pt x="1600" y="3050"/>
                  <a:pt x="1575" y="3075"/>
                </a:cubicBezTo>
                <a:cubicBezTo>
                  <a:pt x="1575" y="3075"/>
                  <a:pt x="1600" y="3101"/>
                  <a:pt x="1625" y="3126"/>
                </a:cubicBezTo>
                <a:cubicBezTo>
                  <a:pt x="1625" y="3150"/>
                  <a:pt x="1675" y="3150"/>
                  <a:pt x="1700" y="3150"/>
                </a:cubicBezTo>
                <a:cubicBezTo>
                  <a:pt x="1725" y="3150"/>
                  <a:pt x="1725" y="3201"/>
                  <a:pt x="1725" y="3201"/>
                </a:cubicBezTo>
                <a:cubicBezTo>
                  <a:pt x="1700" y="3226"/>
                  <a:pt x="1650" y="3250"/>
                  <a:pt x="1650" y="3226"/>
                </a:cubicBezTo>
                <a:cubicBezTo>
                  <a:pt x="1625" y="3201"/>
                  <a:pt x="1575" y="3226"/>
                  <a:pt x="1575" y="3201"/>
                </a:cubicBezTo>
                <a:cubicBezTo>
                  <a:pt x="1575" y="3175"/>
                  <a:pt x="1525" y="3150"/>
                  <a:pt x="1475" y="3150"/>
                </a:cubicBezTo>
                <a:cubicBezTo>
                  <a:pt x="1450" y="3150"/>
                  <a:pt x="1425" y="3126"/>
                  <a:pt x="1425" y="3101"/>
                </a:cubicBezTo>
                <a:cubicBezTo>
                  <a:pt x="1450" y="3075"/>
                  <a:pt x="1400" y="3050"/>
                  <a:pt x="1425" y="3026"/>
                </a:cubicBezTo>
                <a:cubicBezTo>
                  <a:pt x="1425" y="3026"/>
                  <a:pt x="1400" y="2975"/>
                  <a:pt x="1425" y="2975"/>
                </a:cubicBezTo>
                <a:cubicBezTo>
                  <a:pt x="1450" y="2950"/>
                  <a:pt x="1425" y="2926"/>
                  <a:pt x="1425" y="2901"/>
                </a:cubicBezTo>
                <a:cubicBezTo>
                  <a:pt x="1425" y="2875"/>
                  <a:pt x="1375" y="2850"/>
                  <a:pt x="1350" y="2850"/>
                </a:cubicBezTo>
                <a:cubicBezTo>
                  <a:pt x="1325" y="2850"/>
                  <a:pt x="1325" y="2826"/>
                  <a:pt x="1300" y="2826"/>
                </a:cubicBezTo>
                <a:cubicBezTo>
                  <a:pt x="1275" y="2801"/>
                  <a:pt x="1200" y="2750"/>
                  <a:pt x="1200" y="2726"/>
                </a:cubicBezTo>
                <a:cubicBezTo>
                  <a:pt x="1200" y="2726"/>
                  <a:pt x="1150" y="2726"/>
                  <a:pt x="1175" y="2701"/>
                </a:cubicBezTo>
                <a:cubicBezTo>
                  <a:pt x="1175" y="2701"/>
                  <a:pt x="1225" y="2701"/>
                  <a:pt x="1250" y="2726"/>
                </a:cubicBezTo>
                <a:cubicBezTo>
                  <a:pt x="1275" y="2750"/>
                  <a:pt x="1300" y="2775"/>
                  <a:pt x="1375" y="2801"/>
                </a:cubicBezTo>
                <a:cubicBezTo>
                  <a:pt x="1450" y="2801"/>
                  <a:pt x="1475" y="2826"/>
                  <a:pt x="1550" y="2850"/>
                </a:cubicBezTo>
                <a:cubicBezTo>
                  <a:pt x="1600" y="2850"/>
                  <a:pt x="1650" y="2850"/>
                  <a:pt x="1750" y="2875"/>
                </a:cubicBezTo>
                <a:cubicBezTo>
                  <a:pt x="1850" y="2901"/>
                  <a:pt x="2000" y="2775"/>
                  <a:pt x="2025" y="2750"/>
                </a:cubicBezTo>
                <a:cubicBezTo>
                  <a:pt x="2050" y="2726"/>
                  <a:pt x="2025" y="2675"/>
                  <a:pt x="2025" y="2650"/>
                </a:cubicBezTo>
                <a:cubicBezTo>
                  <a:pt x="2025" y="2626"/>
                  <a:pt x="1975" y="2626"/>
                  <a:pt x="1975" y="2601"/>
                </a:cubicBezTo>
                <a:cubicBezTo>
                  <a:pt x="1950" y="2601"/>
                  <a:pt x="1925" y="2550"/>
                  <a:pt x="1900" y="2550"/>
                </a:cubicBezTo>
                <a:cubicBezTo>
                  <a:pt x="1850" y="2550"/>
                  <a:pt x="1850" y="2500"/>
                  <a:pt x="1800" y="2526"/>
                </a:cubicBezTo>
                <a:cubicBezTo>
                  <a:pt x="1775" y="2526"/>
                  <a:pt x="1750" y="2500"/>
                  <a:pt x="1675" y="2450"/>
                </a:cubicBezTo>
                <a:cubicBezTo>
                  <a:pt x="1600" y="2400"/>
                  <a:pt x="1475" y="2350"/>
                  <a:pt x="1450" y="2350"/>
                </a:cubicBezTo>
                <a:cubicBezTo>
                  <a:pt x="1425" y="2375"/>
                  <a:pt x="1425" y="2375"/>
                  <a:pt x="1400" y="2350"/>
                </a:cubicBezTo>
                <a:cubicBezTo>
                  <a:pt x="1400" y="2325"/>
                  <a:pt x="1350" y="2325"/>
                  <a:pt x="1350" y="2350"/>
                </a:cubicBezTo>
                <a:cubicBezTo>
                  <a:pt x="1325" y="2375"/>
                  <a:pt x="1300" y="2325"/>
                  <a:pt x="1250" y="2350"/>
                </a:cubicBezTo>
                <a:cubicBezTo>
                  <a:pt x="1200" y="2350"/>
                  <a:pt x="1200" y="2325"/>
                  <a:pt x="1200" y="2325"/>
                </a:cubicBezTo>
                <a:cubicBezTo>
                  <a:pt x="1200" y="2301"/>
                  <a:pt x="1275" y="2325"/>
                  <a:pt x="1275" y="2301"/>
                </a:cubicBezTo>
                <a:cubicBezTo>
                  <a:pt x="1275" y="2275"/>
                  <a:pt x="1250" y="2301"/>
                  <a:pt x="1200" y="2275"/>
                </a:cubicBezTo>
                <a:cubicBezTo>
                  <a:pt x="1175" y="2250"/>
                  <a:pt x="1150" y="2250"/>
                  <a:pt x="1150" y="2275"/>
                </a:cubicBezTo>
                <a:cubicBezTo>
                  <a:pt x="1125" y="2301"/>
                  <a:pt x="1100" y="2301"/>
                  <a:pt x="1075" y="2275"/>
                </a:cubicBezTo>
                <a:lnTo>
                  <a:pt x="1075" y="2275"/>
                </a:lnTo>
                <a:cubicBezTo>
                  <a:pt x="1075" y="2301"/>
                  <a:pt x="1050" y="2301"/>
                  <a:pt x="1025" y="2301"/>
                </a:cubicBezTo>
                <a:cubicBezTo>
                  <a:pt x="999" y="2301"/>
                  <a:pt x="975" y="2350"/>
                  <a:pt x="950" y="2350"/>
                </a:cubicBezTo>
                <a:cubicBezTo>
                  <a:pt x="925" y="2350"/>
                  <a:pt x="900" y="2375"/>
                  <a:pt x="875" y="2400"/>
                </a:cubicBezTo>
                <a:cubicBezTo>
                  <a:pt x="875" y="2425"/>
                  <a:pt x="850" y="2400"/>
                  <a:pt x="850" y="2425"/>
                </a:cubicBezTo>
                <a:cubicBezTo>
                  <a:pt x="850" y="2450"/>
                  <a:pt x="850" y="2450"/>
                  <a:pt x="825" y="2475"/>
                </a:cubicBezTo>
                <a:cubicBezTo>
                  <a:pt x="825" y="2500"/>
                  <a:pt x="825" y="2500"/>
                  <a:pt x="850" y="2526"/>
                </a:cubicBezTo>
                <a:cubicBezTo>
                  <a:pt x="875" y="2550"/>
                  <a:pt x="900" y="2550"/>
                  <a:pt x="900" y="2575"/>
                </a:cubicBezTo>
                <a:cubicBezTo>
                  <a:pt x="925" y="2575"/>
                  <a:pt x="975" y="2626"/>
                  <a:pt x="975" y="2626"/>
                </a:cubicBezTo>
                <a:cubicBezTo>
                  <a:pt x="975" y="2650"/>
                  <a:pt x="925" y="2701"/>
                  <a:pt x="925" y="2701"/>
                </a:cubicBezTo>
                <a:cubicBezTo>
                  <a:pt x="900" y="2726"/>
                  <a:pt x="875" y="2750"/>
                  <a:pt x="900" y="2750"/>
                </a:cubicBezTo>
                <a:cubicBezTo>
                  <a:pt x="900" y="2775"/>
                  <a:pt x="950" y="2850"/>
                  <a:pt x="975" y="2901"/>
                </a:cubicBezTo>
                <a:cubicBezTo>
                  <a:pt x="999" y="2950"/>
                  <a:pt x="975" y="2926"/>
                  <a:pt x="950" y="2950"/>
                </a:cubicBezTo>
                <a:cubicBezTo>
                  <a:pt x="925" y="2975"/>
                  <a:pt x="950" y="3001"/>
                  <a:pt x="950" y="3026"/>
                </a:cubicBezTo>
                <a:cubicBezTo>
                  <a:pt x="975" y="3050"/>
                  <a:pt x="925" y="3050"/>
                  <a:pt x="950" y="3050"/>
                </a:cubicBezTo>
                <a:cubicBezTo>
                  <a:pt x="950" y="3075"/>
                  <a:pt x="975" y="3075"/>
                  <a:pt x="975" y="3075"/>
                </a:cubicBezTo>
                <a:cubicBezTo>
                  <a:pt x="999" y="3101"/>
                  <a:pt x="950" y="3101"/>
                  <a:pt x="975" y="3126"/>
                </a:cubicBezTo>
                <a:cubicBezTo>
                  <a:pt x="975" y="3150"/>
                  <a:pt x="1025" y="3150"/>
                  <a:pt x="1025" y="3175"/>
                </a:cubicBezTo>
                <a:cubicBezTo>
                  <a:pt x="1025" y="3201"/>
                  <a:pt x="950" y="3226"/>
                  <a:pt x="975" y="3226"/>
                </a:cubicBezTo>
                <a:cubicBezTo>
                  <a:pt x="975" y="3250"/>
                  <a:pt x="1050" y="3275"/>
                  <a:pt x="1075" y="3326"/>
                </a:cubicBezTo>
                <a:cubicBezTo>
                  <a:pt x="1125" y="3375"/>
                  <a:pt x="1125" y="3375"/>
                  <a:pt x="1100" y="3401"/>
                </a:cubicBezTo>
                <a:cubicBezTo>
                  <a:pt x="1100" y="3450"/>
                  <a:pt x="999" y="3475"/>
                  <a:pt x="975" y="3526"/>
                </a:cubicBezTo>
                <a:cubicBezTo>
                  <a:pt x="950" y="3575"/>
                  <a:pt x="875" y="3626"/>
                  <a:pt x="825" y="3650"/>
                </a:cubicBezTo>
                <a:cubicBezTo>
                  <a:pt x="799" y="3675"/>
                  <a:pt x="799" y="3701"/>
                  <a:pt x="775" y="3701"/>
                </a:cubicBezTo>
                <a:cubicBezTo>
                  <a:pt x="799" y="3701"/>
                  <a:pt x="799" y="3701"/>
                  <a:pt x="825" y="3701"/>
                </a:cubicBezTo>
                <a:cubicBezTo>
                  <a:pt x="850" y="3675"/>
                  <a:pt x="850" y="3751"/>
                  <a:pt x="875" y="3751"/>
                </a:cubicBezTo>
                <a:cubicBezTo>
                  <a:pt x="900" y="3775"/>
                  <a:pt x="950" y="3751"/>
                  <a:pt x="950" y="3775"/>
                </a:cubicBezTo>
                <a:cubicBezTo>
                  <a:pt x="975" y="3800"/>
                  <a:pt x="950" y="3800"/>
                  <a:pt x="925" y="3775"/>
                </a:cubicBezTo>
                <a:cubicBezTo>
                  <a:pt x="875" y="3775"/>
                  <a:pt x="875" y="3800"/>
                  <a:pt x="825" y="3826"/>
                </a:cubicBezTo>
                <a:cubicBezTo>
                  <a:pt x="799" y="3826"/>
                  <a:pt x="799" y="3851"/>
                  <a:pt x="775" y="3851"/>
                </a:cubicBezTo>
                <a:cubicBezTo>
                  <a:pt x="799" y="3875"/>
                  <a:pt x="775" y="3901"/>
                  <a:pt x="750" y="3926"/>
                </a:cubicBezTo>
                <a:cubicBezTo>
                  <a:pt x="750" y="3951"/>
                  <a:pt x="725" y="3951"/>
                  <a:pt x="725" y="3975"/>
                </a:cubicBezTo>
                <a:cubicBezTo>
                  <a:pt x="725" y="3975"/>
                  <a:pt x="725" y="4001"/>
                  <a:pt x="725" y="4026"/>
                </a:cubicBezTo>
                <a:cubicBezTo>
                  <a:pt x="750" y="4051"/>
                  <a:pt x="750" y="4051"/>
                  <a:pt x="750" y="4075"/>
                </a:cubicBezTo>
                <a:cubicBezTo>
                  <a:pt x="775" y="4101"/>
                  <a:pt x="750" y="4101"/>
                  <a:pt x="725" y="4101"/>
                </a:cubicBezTo>
                <a:cubicBezTo>
                  <a:pt x="725" y="4101"/>
                  <a:pt x="725" y="4126"/>
                  <a:pt x="750" y="4151"/>
                </a:cubicBezTo>
                <a:cubicBezTo>
                  <a:pt x="750" y="4175"/>
                  <a:pt x="750" y="4175"/>
                  <a:pt x="750" y="4201"/>
                </a:cubicBezTo>
                <a:cubicBezTo>
                  <a:pt x="750" y="4226"/>
                  <a:pt x="775" y="4251"/>
                  <a:pt x="775" y="4251"/>
                </a:cubicBezTo>
                <a:cubicBezTo>
                  <a:pt x="799" y="4275"/>
                  <a:pt x="799" y="4301"/>
                  <a:pt x="799" y="4326"/>
                </a:cubicBezTo>
                <a:cubicBezTo>
                  <a:pt x="825" y="4326"/>
                  <a:pt x="825" y="4351"/>
                  <a:pt x="850" y="4326"/>
                </a:cubicBezTo>
                <a:cubicBezTo>
                  <a:pt x="875" y="4326"/>
                  <a:pt x="900" y="4351"/>
                  <a:pt x="900" y="4351"/>
                </a:cubicBezTo>
                <a:cubicBezTo>
                  <a:pt x="925" y="4375"/>
                  <a:pt x="925" y="4375"/>
                  <a:pt x="950" y="4351"/>
                </a:cubicBezTo>
                <a:cubicBezTo>
                  <a:pt x="975" y="4351"/>
                  <a:pt x="1025" y="4375"/>
                  <a:pt x="1050" y="4375"/>
                </a:cubicBezTo>
                <a:cubicBezTo>
                  <a:pt x="1050" y="4401"/>
                  <a:pt x="1050" y="4426"/>
                  <a:pt x="1050" y="4451"/>
                </a:cubicBezTo>
                <a:cubicBezTo>
                  <a:pt x="1050" y="4475"/>
                  <a:pt x="1050" y="4501"/>
                  <a:pt x="1075" y="4526"/>
                </a:cubicBezTo>
                <a:cubicBezTo>
                  <a:pt x="1075" y="4526"/>
                  <a:pt x="1075" y="4551"/>
                  <a:pt x="1100" y="4575"/>
                </a:cubicBezTo>
                <a:cubicBezTo>
                  <a:pt x="1125" y="4575"/>
                  <a:pt x="1150" y="4626"/>
                  <a:pt x="1150" y="4626"/>
                </a:cubicBezTo>
                <a:cubicBezTo>
                  <a:pt x="1175" y="4626"/>
                  <a:pt x="1200" y="4651"/>
                  <a:pt x="1225" y="4675"/>
                </a:cubicBezTo>
                <a:cubicBezTo>
                  <a:pt x="1225" y="4701"/>
                  <a:pt x="1175" y="4701"/>
                  <a:pt x="1175" y="4726"/>
                </a:cubicBezTo>
                <a:cubicBezTo>
                  <a:pt x="1150" y="4726"/>
                  <a:pt x="1100" y="4701"/>
                  <a:pt x="1100" y="4701"/>
                </a:cubicBezTo>
                <a:cubicBezTo>
                  <a:pt x="1075" y="4726"/>
                  <a:pt x="1100" y="4751"/>
                  <a:pt x="1125" y="4801"/>
                </a:cubicBezTo>
                <a:cubicBezTo>
                  <a:pt x="1125" y="4851"/>
                  <a:pt x="1125" y="4851"/>
                  <a:pt x="1150" y="4851"/>
                </a:cubicBezTo>
                <a:cubicBezTo>
                  <a:pt x="1175" y="4851"/>
                  <a:pt x="1175" y="4826"/>
                  <a:pt x="1200" y="4826"/>
                </a:cubicBezTo>
                <a:cubicBezTo>
                  <a:pt x="1200" y="4801"/>
                  <a:pt x="1250" y="4826"/>
                  <a:pt x="1250" y="4826"/>
                </a:cubicBezTo>
                <a:cubicBezTo>
                  <a:pt x="1275" y="4801"/>
                  <a:pt x="1325" y="4801"/>
                  <a:pt x="1325" y="4826"/>
                </a:cubicBezTo>
                <a:cubicBezTo>
                  <a:pt x="1350" y="4851"/>
                  <a:pt x="1350" y="4875"/>
                  <a:pt x="1350" y="4901"/>
                </a:cubicBezTo>
                <a:cubicBezTo>
                  <a:pt x="1350" y="4901"/>
                  <a:pt x="1350" y="4926"/>
                  <a:pt x="1375" y="4951"/>
                </a:cubicBezTo>
                <a:cubicBezTo>
                  <a:pt x="1375" y="4976"/>
                  <a:pt x="1425" y="4951"/>
                  <a:pt x="1450" y="4976"/>
                </a:cubicBezTo>
                <a:cubicBezTo>
                  <a:pt x="1450" y="4976"/>
                  <a:pt x="1475" y="5026"/>
                  <a:pt x="1475" y="5051"/>
                </a:cubicBezTo>
                <a:cubicBezTo>
                  <a:pt x="1475" y="5051"/>
                  <a:pt x="1500" y="5076"/>
                  <a:pt x="1525" y="5051"/>
                </a:cubicBezTo>
                <a:lnTo>
                  <a:pt x="1550" y="5076"/>
                </a:lnTo>
                <a:cubicBezTo>
                  <a:pt x="1575" y="5100"/>
                  <a:pt x="1600" y="5076"/>
                  <a:pt x="1600" y="5076"/>
                </a:cubicBezTo>
                <a:cubicBezTo>
                  <a:pt x="1625" y="5076"/>
                  <a:pt x="1650" y="5051"/>
                  <a:pt x="1650" y="5076"/>
                </a:cubicBezTo>
                <a:cubicBezTo>
                  <a:pt x="1675" y="5076"/>
                  <a:pt x="1700" y="5100"/>
                  <a:pt x="1700" y="5126"/>
                </a:cubicBezTo>
                <a:cubicBezTo>
                  <a:pt x="1700" y="5126"/>
                  <a:pt x="1750" y="5126"/>
                  <a:pt x="1775" y="5126"/>
                </a:cubicBezTo>
                <a:cubicBezTo>
                  <a:pt x="1800" y="5151"/>
                  <a:pt x="1825" y="5151"/>
                  <a:pt x="1850" y="5151"/>
                </a:cubicBezTo>
                <a:cubicBezTo>
                  <a:pt x="1875" y="5176"/>
                  <a:pt x="1900" y="5176"/>
                  <a:pt x="1925" y="5176"/>
                </a:cubicBezTo>
                <a:cubicBezTo>
                  <a:pt x="1925" y="5200"/>
                  <a:pt x="1875" y="5226"/>
                  <a:pt x="1875" y="5226"/>
                </a:cubicBezTo>
                <a:lnTo>
                  <a:pt x="1900" y="5251"/>
                </a:lnTo>
                <a:cubicBezTo>
                  <a:pt x="1900" y="5276"/>
                  <a:pt x="1875" y="5276"/>
                  <a:pt x="1875" y="5276"/>
                </a:cubicBezTo>
                <a:lnTo>
                  <a:pt x="1900" y="5301"/>
                </a:lnTo>
                <a:cubicBezTo>
                  <a:pt x="1900" y="5326"/>
                  <a:pt x="1875" y="5351"/>
                  <a:pt x="1875" y="5376"/>
                </a:cubicBezTo>
                <a:cubicBezTo>
                  <a:pt x="1875" y="5376"/>
                  <a:pt x="1825" y="5376"/>
                  <a:pt x="1800" y="5376"/>
                </a:cubicBezTo>
                <a:cubicBezTo>
                  <a:pt x="1800" y="5376"/>
                  <a:pt x="1750" y="5426"/>
                  <a:pt x="1725" y="5426"/>
                </a:cubicBezTo>
                <a:lnTo>
                  <a:pt x="1725" y="5451"/>
                </a:lnTo>
                <a:cubicBezTo>
                  <a:pt x="1775" y="5451"/>
                  <a:pt x="1825" y="5451"/>
                  <a:pt x="1825" y="5451"/>
                </a:cubicBezTo>
                <a:cubicBezTo>
                  <a:pt x="1825" y="5476"/>
                  <a:pt x="1725" y="5526"/>
                  <a:pt x="1700" y="5526"/>
                </a:cubicBezTo>
                <a:cubicBezTo>
                  <a:pt x="1700" y="5526"/>
                  <a:pt x="1750" y="5551"/>
                  <a:pt x="1750" y="5576"/>
                </a:cubicBezTo>
                <a:cubicBezTo>
                  <a:pt x="1750" y="5601"/>
                  <a:pt x="1675" y="5601"/>
                  <a:pt x="1700" y="5626"/>
                </a:cubicBezTo>
                <a:cubicBezTo>
                  <a:pt x="1700" y="5676"/>
                  <a:pt x="1675" y="5676"/>
                  <a:pt x="1625" y="5676"/>
                </a:cubicBezTo>
                <a:cubicBezTo>
                  <a:pt x="1600" y="5676"/>
                  <a:pt x="1600" y="5701"/>
                  <a:pt x="1600" y="5701"/>
                </a:cubicBezTo>
                <a:cubicBezTo>
                  <a:pt x="1625" y="5701"/>
                  <a:pt x="1625" y="5751"/>
                  <a:pt x="1675" y="5751"/>
                </a:cubicBezTo>
                <a:cubicBezTo>
                  <a:pt x="1750" y="5776"/>
                  <a:pt x="1800" y="5826"/>
                  <a:pt x="1850" y="5876"/>
                </a:cubicBezTo>
                <a:cubicBezTo>
                  <a:pt x="1875" y="5901"/>
                  <a:pt x="1875" y="5901"/>
                  <a:pt x="1875" y="5901"/>
                </a:cubicBezTo>
                <a:cubicBezTo>
                  <a:pt x="1900" y="5901"/>
                  <a:pt x="1900" y="5876"/>
                  <a:pt x="1925" y="5876"/>
                </a:cubicBezTo>
                <a:cubicBezTo>
                  <a:pt x="1950" y="5876"/>
                  <a:pt x="2000" y="5901"/>
                  <a:pt x="2025" y="5926"/>
                </a:cubicBezTo>
                <a:cubicBezTo>
                  <a:pt x="2050" y="5951"/>
                  <a:pt x="2175" y="5926"/>
                  <a:pt x="2175" y="5926"/>
                </a:cubicBezTo>
                <a:cubicBezTo>
                  <a:pt x="2200" y="5951"/>
                  <a:pt x="2225" y="5976"/>
                  <a:pt x="2225" y="5976"/>
                </a:cubicBezTo>
                <a:cubicBezTo>
                  <a:pt x="2250" y="5976"/>
                  <a:pt x="2275" y="6001"/>
                  <a:pt x="2300" y="6001"/>
                </a:cubicBezTo>
                <a:cubicBezTo>
                  <a:pt x="2300" y="5976"/>
                  <a:pt x="2375" y="5976"/>
                  <a:pt x="2401" y="5976"/>
                </a:cubicBezTo>
                <a:cubicBezTo>
                  <a:pt x="2401" y="5976"/>
                  <a:pt x="2401" y="6001"/>
                  <a:pt x="2425" y="6001"/>
                </a:cubicBezTo>
                <a:cubicBezTo>
                  <a:pt x="2450" y="6001"/>
                  <a:pt x="2450" y="6051"/>
                  <a:pt x="2450" y="6051"/>
                </a:cubicBezTo>
                <a:cubicBezTo>
                  <a:pt x="2475" y="6051"/>
                  <a:pt x="2500" y="6101"/>
                  <a:pt x="2550" y="6101"/>
                </a:cubicBezTo>
                <a:cubicBezTo>
                  <a:pt x="2575" y="6101"/>
                  <a:pt x="2601" y="6151"/>
                  <a:pt x="2601" y="6151"/>
                </a:cubicBezTo>
                <a:cubicBezTo>
                  <a:pt x="2625" y="6151"/>
                  <a:pt x="2650" y="6176"/>
                  <a:pt x="2650" y="6151"/>
                </a:cubicBezTo>
                <a:cubicBezTo>
                  <a:pt x="2650" y="6126"/>
                  <a:pt x="2701" y="6126"/>
                  <a:pt x="2725" y="6101"/>
                </a:cubicBezTo>
                <a:cubicBezTo>
                  <a:pt x="2650" y="6026"/>
                  <a:pt x="2601" y="5976"/>
                  <a:pt x="2601" y="5951"/>
                </a:cubicBezTo>
                <a:cubicBezTo>
                  <a:pt x="2601" y="5901"/>
                  <a:pt x="2625" y="5851"/>
                  <a:pt x="2575" y="5801"/>
                </a:cubicBezTo>
                <a:cubicBezTo>
                  <a:pt x="2500" y="5751"/>
                  <a:pt x="2575" y="5726"/>
                  <a:pt x="2625" y="5676"/>
                </a:cubicBezTo>
                <a:cubicBezTo>
                  <a:pt x="2650" y="5626"/>
                  <a:pt x="2725" y="5601"/>
                  <a:pt x="2775" y="5576"/>
                </a:cubicBezTo>
                <a:cubicBezTo>
                  <a:pt x="2775" y="5576"/>
                  <a:pt x="2775" y="5551"/>
                  <a:pt x="2750" y="5551"/>
                </a:cubicBezTo>
                <a:cubicBezTo>
                  <a:pt x="2725" y="5551"/>
                  <a:pt x="2701" y="5526"/>
                  <a:pt x="2725" y="5526"/>
                </a:cubicBezTo>
                <a:cubicBezTo>
                  <a:pt x="2750" y="5501"/>
                  <a:pt x="2750" y="5501"/>
                  <a:pt x="2725" y="5451"/>
                </a:cubicBezTo>
                <a:cubicBezTo>
                  <a:pt x="2701" y="5426"/>
                  <a:pt x="2675" y="5401"/>
                  <a:pt x="2650" y="5401"/>
                </a:cubicBezTo>
                <a:cubicBezTo>
                  <a:pt x="2650" y="5401"/>
                  <a:pt x="2625" y="5376"/>
                  <a:pt x="2601" y="5401"/>
                </a:cubicBezTo>
                <a:cubicBezTo>
                  <a:pt x="2575" y="5401"/>
                  <a:pt x="2575" y="5376"/>
                  <a:pt x="2575" y="5351"/>
                </a:cubicBezTo>
                <a:cubicBezTo>
                  <a:pt x="2575" y="5326"/>
                  <a:pt x="2525" y="5326"/>
                  <a:pt x="2525" y="5301"/>
                </a:cubicBezTo>
                <a:cubicBezTo>
                  <a:pt x="2525" y="5301"/>
                  <a:pt x="2525" y="5251"/>
                  <a:pt x="2550" y="5251"/>
                </a:cubicBezTo>
                <a:lnTo>
                  <a:pt x="2575" y="5226"/>
                </a:lnTo>
                <a:cubicBezTo>
                  <a:pt x="2575" y="5200"/>
                  <a:pt x="2525" y="5200"/>
                  <a:pt x="2550" y="5176"/>
                </a:cubicBezTo>
                <a:cubicBezTo>
                  <a:pt x="2575" y="5151"/>
                  <a:pt x="2601" y="5151"/>
                  <a:pt x="2601" y="5126"/>
                </a:cubicBezTo>
                <a:cubicBezTo>
                  <a:pt x="2601" y="5076"/>
                  <a:pt x="2625" y="5051"/>
                  <a:pt x="2650" y="5076"/>
                </a:cubicBezTo>
                <a:cubicBezTo>
                  <a:pt x="2675" y="5100"/>
                  <a:pt x="2701" y="5151"/>
                  <a:pt x="2725" y="5151"/>
                </a:cubicBezTo>
                <a:cubicBezTo>
                  <a:pt x="2750" y="5126"/>
                  <a:pt x="2750" y="5100"/>
                  <a:pt x="2725" y="5076"/>
                </a:cubicBezTo>
                <a:cubicBezTo>
                  <a:pt x="2725" y="5076"/>
                  <a:pt x="2725" y="5051"/>
                  <a:pt x="2750" y="5026"/>
                </a:cubicBezTo>
                <a:cubicBezTo>
                  <a:pt x="2801" y="5026"/>
                  <a:pt x="2775" y="5001"/>
                  <a:pt x="2801" y="5001"/>
                </a:cubicBezTo>
                <a:cubicBezTo>
                  <a:pt x="2850" y="5001"/>
                  <a:pt x="2901" y="4951"/>
                  <a:pt x="2901" y="4951"/>
                </a:cubicBezTo>
                <a:cubicBezTo>
                  <a:pt x="2925" y="4926"/>
                  <a:pt x="2975" y="4926"/>
                  <a:pt x="2975" y="4926"/>
                </a:cubicBezTo>
                <a:cubicBezTo>
                  <a:pt x="3001" y="4926"/>
                  <a:pt x="3025" y="4951"/>
                  <a:pt x="3025" y="4926"/>
                </a:cubicBezTo>
                <a:cubicBezTo>
                  <a:pt x="3050" y="4901"/>
                  <a:pt x="3101" y="4901"/>
                  <a:pt x="3101" y="4926"/>
                </a:cubicBezTo>
                <a:cubicBezTo>
                  <a:pt x="3101" y="4951"/>
                  <a:pt x="3175" y="4951"/>
                  <a:pt x="3201" y="4951"/>
                </a:cubicBezTo>
                <a:cubicBezTo>
                  <a:pt x="3225" y="4976"/>
                  <a:pt x="3275" y="5001"/>
                  <a:pt x="3275" y="5026"/>
                </a:cubicBezTo>
                <a:cubicBezTo>
                  <a:pt x="3275" y="5051"/>
                  <a:pt x="3301" y="5076"/>
                  <a:pt x="3301" y="5026"/>
                </a:cubicBezTo>
                <a:cubicBezTo>
                  <a:pt x="3301" y="5001"/>
                  <a:pt x="3326" y="5026"/>
                  <a:pt x="3375" y="5026"/>
                </a:cubicBezTo>
                <a:cubicBezTo>
                  <a:pt x="3401" y="5051"/>
                  <a:pt x="3450" y="5051"/>
                  <a:pt x="3450" y="5026"/>
                </a:cubicBezTo>
                <a:cubicBezTo>
                  <a:pt x="3450" y="5001"/>
                  <a:pt x="3526" y="4976"/>
                  <a:pt x="3550" y="5001"/>
                </a:cubicBezTo>
                <a:cubicBezTo>
                  <a:pt x="3575" y="5026"/>
                  <a:pt x="3575" y="5026"/>
                  <a:pt x="3601" y="5001"/>
                </a:cubicBezTo>
                <a:cubicBezTo>
                  <a:pt x="3626" y="4976"/>
                  <a:pt x="3675" y="4976"/>
                  <a:pt x="3701" y="5001"/>
                </a:cubicBezTo>
                <a:cubicBezTo>
                  <a:pt x="3701" y="5026"/>
                  <a:pt x="3726" y="5026"/>
                  <a:pt x="3750" y="5026"/>
                </a:cubicBezTo>
                <a:cubicBezTo>
                  <a:pt x="3775" y="5026"/>
                  <a:pt x="3775" y="5076"/>
                  <a:pt x="3800" y="5076"/>
                </a:cubicBezTo>
                <a:cubicBezTo>
                  <a:pt x="3826" y="5051"/>
                  <a:pt x="3800" y="5026"/>
                  <a:pt x="3826" y="5026"/>
                </a:cubicBezTo>
                <a:cubicBezTo>
                  <a:pt x="3850" y="5026"/>
                  <a:pt x="3875" y="5051"/>
                  <a:pt x="3901" y="5051"/>
                </a:cubicBezTo>
                <a:cubicBezTo>
                  <a:pt x="3926" y="5051"/>
                  <a:pt x="3950" y="5051"/>
                  <a:pt x="3950" y="5026"/>
                </a:cubicBezTo>
                <a:cubicBezTo>
                  <a:pt x="3950" y="5001"/>
                  <a:pt x="3950" y="4951"/>
                  <a:pt x="3926" y="4951"/>
                </a:cubicBezTo>
                <a:cubicBezTo>
                  <a:pt x="3926" y="4951"/>
                  <a:pt x="3901" y="4926"/>
                  <a:pt x="3875" y="4926"/>
                </a:cubicBezTo>
                <a:cubicBezTo>
                  <a:pt x="3850" y="4926"/>
                  <a:pt x="3826" y="4875"/>
                  <a:pt x="3850" y="4875"/>
                </a:cubicBezTo>
                <a:cubicBezTo>
                  <a:pt x="3875" y="4875"/>
                  <a:pt x="3901" y="4851"/>
                  <a:pt x="3901" y="4826"/>
                </a:cubicBezTo>
                <a:cubicBezTo>
                  <a:pt x="3901" y="4801"/>
                  <a:pt x="3875" y="4775"/>
                  <a:pt x="3926" y="4751"/>
                </a:cubicBezTo>
                <a:cubicBezTo>
                  <a:pt x="3950" y="4751"/>
                  <a:pt x="4026" y="4751"/>
                  <a:pt x="4026" y="4751"/>
                </a:cubicBezTo>
                <a:cubicBezTo>
                  <a:pt x="4026" y="4726"/>
                  <a:pt x="3950" y="4726"/>
                  <a:pt x="3926" y="4701"/>
                </a:cubicBezTo>
                <a:cubicBezTo>
                  <a:pt x="3926" y="4675"/>
                  <a:pt x="3926" y="4626"/>
                  <a:pt x="3926" y="4626"/>
                </a:cubicBezTo>
                <a:cubicBezTo>
                  <a:pt x="3950" y="4626"/>
                  <a:pt x="3975" y="4626"/>
                  <a:pt x="4001" y="4626"/>
                </a:cubicBezTo>
                <a:cubicBezTo>
                  <a:pt x="4026" y="4601"/>
                  <a:pt x="4101" y="4626"/>
                  <a:pt x="4126" y="4601"/>
                </a:cubicBezTo>
                <a:cubicBezTo>
                  <a:pt x="4151" y="4575"/>
                  <a:pt x="4226" y="4575"/>
                  <a:pt x="4275" y="4575"/>
                </a:cubicBezTo>
                <a:cubicBezTo>
                  <a:pt x="4301" y="4575"/>
                  <a:pt x="4326" y="4551"/>
                  <a:pt x="4351" y="4551"/>
                </a:cubicBezTo>
                <a:cubicBezTo>
                  <a:pt x="4401" y="4551"/>
                  <a:pt x="4475" y="4526"/>
                  <a:pt x="4501" y="4526"/>
                </a:cubicBezTo>
                <a:cubicBezTo>
                  <a:pt x="4526" y="4526"/>
                  <a:pt x="4626" y="4501"/>
                  <a:pt x="4626" y="4475"/>
                </a:cubicBezTo>
                <a:cubicBezTo>
                  <a:pt x="4626" y="4451"/>
                  <a:pt x="4726" y="4451"/>
                  <a:pt x="4751" y="4451"/>
                </a:cubicBezTo>
                <a:cubicBezTo>
                  <a:pt x="4775" y="4451"/>
                  <a:pt x="4801" y="4475"/>
                  <a:pt x="4826" y="4451"/>
                </a:cubicBezTo>
                <a:cubicBezTo>
                  <a:pt x="4851" y="4451"/>
                  <a:pt x="4875" y="4475"/>
                  <a:pt x="4875" y="4501"/>
                </a:cubicBezTo>
                <a:cubicBezTo>
                  <a:pt x="4875" y="4526"/>
                  <a:pt x="4901" y="4551"/>
                  <a:pt x="4901" y="4575"/>
                </a:cubicBezTo>
                <a:cubicBezTo>
                  <a:pt x="4901" y="4575"/>
                  <a:pt x="4875" y="4601"/>
                  <a:pt x="4901" y="4601"/>
                </a:cubicBezTo>
                <a:cubicBezTo>
                  <a:pt x="4901" y="4626"/>
                  <a:pt x="4951" y="4601"/>
                  <a:pt x="4975" y="4601"/>
                </a:cubicBezTo>
                <a:cubicBezTo>
                  <a:pt x="5001" y="4575"/>
                  <a:pt x="5001" y="4601"/>
                  <a:pt x="5001" y="4601"/>
                </a:cubicBezTo>
                <a:cubicBezTo>
                  <a:pt x="5001" y="4626"/>
                  <a:pt x="5026" y="4626"/>
                  <a:pt x="5026" y="4626"/>
                </a:cubicBezTo>
                <a:cubicBezTo>
                  <a:pt x="5026" y="4601"/>
                  <a:pt x="5076" y="4601"/>
                  <a:pt x="5076" y="4626"/>
                </a:cubicBezTo>
                <a:cubicBezTo>
                  <a:pt x="5100" y="4626"/>
                  <a:pt x="5126" y="4601"/>
                  <a:pt x="5126" y="4626"/>
                </a:cubicBezTo>
                <a:cubicBezTo>
                  <a:pt x="5126" y="4651"/>
                  <a:pt x="5076" y="4675"/>
                  <a:pt x="5100" y="4701"/>
                </a:cubicBezTo>
                <a:cubicBezTo>
                  <a:pt x="5126" y="4726"/>
                  <a:pt x="5126" y="4675"/>
                  <a:pt x="5176" y="4675"/>
                </a:cubicBezTo>
                <a:cubicBezTo>
                  <a:pt x="5201" y="4675"/>
                  <a:pt x="5251" y="4651"/>
                  <a:pt x="5276" y="4626"/>
                </a:cubicBezTo>
                <a:cubicBezTo>
                  <a:pt x="5300" y="4626"/>
                  <a:pt x="5326" y="4601"/>
                  <a:pt x="5351" y="4575"/>
                </a:cubicBezTo>
                <a:cubicBezTo>
                  <a:pt x="5376" y="4575"/>
                  <a:pt x="5426" y="4575"/>
                  <a:pt x="5426" y="4601"/>
                </a:cubicBezTo>
                <a:cubicBezTo>
                  <a:pt x="5401" y="4601"/>
                  <a:pt x="5376" y="4651"/>
                  <a:pt x="5451" y="4651"/>
                </a:cubicBezTo>
                <a:cubicBezTo>
                  <a:pt x="5501" y="4675"/>
                  <a:pt x="5576" y="4801"/>
                  <a:pt x="5626" y="4875"/>
                </a:cubicBezTo>
                <a:cubicBezTo>
                  <a:pt x="5651" y="4926"/>
                  <a:pt x="5701" y="5026"/>
                  <a:pt x="5726" y="5026"/>
                </a:cubicBezTo>
                <a:cubicBezTo>
                  <a:pt x="5726" y="5026"/>
                  <a:pt x="5751" y="4976"/>
                  <a:pt x="5776" y="4976"/>
                </a:cubicBezTo>
                <a:cubicBezTo>
                  <a:pt x="5801" y="4976"/>
                  <a:pt x="5826" y="5026"/>
                  <a:pt x="5851" y="5026"/>
                </a:cubicBezTo>
                <a:cubicBezTo>
                  <a:pt x="5876" y="5026"/>
                  <a:pt x="5901" y="5051"/>
                  <a:pt x="5926" y="5051"/>
                </a:cubicBezTo>
                <a:cubicBezTo>
                  <a:pt x="5951" y="5026"/>
                  <a:pt x="6001" y="5001"/>
                  <a:pt x="6026" y="5026"/>
                </a:cubicBezTo>
                <a:cubicBezTo>
                  <a:pt x="6051" y="5026"/>
                  <a:pt x="6076" y="5026"/>
                  <a:pt x="6101" y="5076"/>
                </a:cubicBezTo>
                <a:cubicBezTo>
                  <a:pt x="6101" y="5100"/>
                  <a:pt x="6126" y="5100"/>
                  <a:pt x="6151" y="5100"/>
                </a:cubicBezTo>
                <a:cubicBezTo>
                  <a:pt x="6176" y="5100"/>
                  <a:pt x="6176" y="5126"/>
                  <a:pt x="6176" y="5151"/>
                </a:cubicBezTo>
                <a:cubicBezTo>
                  <a:pt x="6176" y="5176"/>
                  <a:pt x="6201" y="5176"/>
                  <a:pt x="6226" y="5176"/>
                </a:cubicBezTo>
                <a:cubicBezTo>
                  <a:pt x="6226" y="5176"/>
                  <a:pt x="6276" y="5176"/>
                  <a:pt x="6301" y="5176"/>
                </a:cubicBezTo>
                <a:cubicBezTo>
                  <a:pt x="6301" y="5176"/>
                  <a:pt x="6326" y="5151"/>
                  <a:pt x="6326" y="5176"/>
                </a:cubicBezTo>
                <a:cubicBezTo>
                  <a:pt x="6326" y="5200"/>
                  <a:pt x="6351" y="5226"/>
                  <a:pt x="6376" y="5226"/>
                </a:cubicBezTo>
                <a:cubicBezTo>
                  <a:pt x="6376" y="5226"/>
                  <a:pt x="6426" y="5251"/>
                  <a:pt x="6426" y="5226"/>
                </a:cubicBezTo>
                <a:cubicBezTo>
                  <a:pt x="6426" y="5200"/>
                  <a:pt x="6476" y="5200"/>
                  <a:pt x="6476" y="5200"/>
                </a:cubicBezTo>
                <a:cubicBezTo>
                  <a:pt x="6501" y="5200"/>
                  <a:pt x="6551" y="5176"/>
                  <a:pt x="6576" y="5151"/>
                </a:cubicBezTo>
                <a:cubicBezTo>
                  <a:pt x="6576" y="5126"/>
                  <a:pt x="6626" y="5126"/>
                  <a:pt x="6651" y="5126"/>
                </a:cubicBezTo>
                <a:cubicBezTo>
                  <a:pt x="6651" y="5100"/>
                  <a:pt x="6701" y="5100"/>
                  <a:pt x="6701" y="5076"/>
                </a:cubicBezTo>
                <a:cubicBezTo>
                  <a:pt x="6701" y="5051"/>
                  <a:pt x="6751" y="5076"/>
                  <a:pt x="6776" y="5051"/>
                </a:cubicBezTo>
                <a:cubicBezTo>
                  <a:pt x="6776" y="5026"/>
                  <a:pt x="6826" y="5026"/>
                  <a:pt x="6826" y="5051"/>
                </a:cubicBezTo>
                <a:cubicBezTo>
                  <a:pt x="6851" y="5051"/>
                  <a:pt x="6951" y="5076"/>
                  <a:pt x="6976" y="5051"/>
                </a:cubicBezTo>
                <a:cubicBezTo>
                  <a:pt x="6976" y="5051"/>
                  <a:pt x="6976" y="5100"/>
                  <a:pt x="7002" y="5126"/>
                </a:cubicBezTo>
                <a:cubicBezTo>
                  <a:pt x="7002" y="5126"/>
                  <a:pt x="7051" y="5151"/>
                  <a:pt x="7076" y="5151"/>
                </a:cubicBezTo>
                <a:cubicBezTo>
                  <a:pt x="7076" y="5126"/>
                  <a:pt x="7126" y="5126"/>
                  <a:pt x="7151" y="5151"/>
                </a:cubicBezTo>
                <a:cubicBezTo>
                  <a:pt x="7176" y="5151"/>
                  <a:pt x="7202" y="5176"/>
                  <a:pt x="7226" y="5151"/>
                </a:cubicBezTo>
                <a:cubicBezTo>
                  <a:pt x="7226" y="5151"/>
                  <a:pt x="7276" y="5126"/>
                  <a:pt x="7302" y="5126"/>
                </a:cubicBezTo>
                <a:cubicBezTo>
                  <a:pt x="7302" y="5100"/>
                  <a:pt x="7302" y="5076"/>
                  <a:pt x="7302" y="5076"/>
                </a:cubicBezTo>
                <a:cubicBezTo>
                  <a:pt x="7276" y="5051"/>
                  <a:pt x="7276" y="5001"/>
                  <a:pt x="7251" y="4976"/>
                </a:cubicBezTo>
                <a:lnTo>
                  <a:pt x="7302" y="4951"/>
                </a:lnTo>
                <a:cubicBezTo>
                  <a:pt x="7302" y="4926"/>
                  <a:pt x="7351" y="4926"/>
                  <a:pt x="7351" y="4901"/>
                </a:cubicBezTo>
                <a:lnTo>
                  <a:pt x="7376" y="4875"/>
                </a:lnTo>
                <a:cubicBezTo>
                  <a:pt x="7402" y="4875"/>
                  <a:pt x="7451" y="4901"/>
                  <a:pt x="7451" y="4901"/>
                </a:cubicBezTo>
                <a:lnTo>
                  <a:pt x="7502" y="4926"/>
                </a:lnTo>
                <a:cubicBezTo>
                  <a:pt x="7526" y="4926"/>
                  <a:pt x="7551" y="4926"/>
                  <a:pt x="7576" y="4951"/>
                </a:cubicBezTo>
                <a:cubicBezTo>
                  <a:pt x="7602" y="4951"/>
                  <a:pt x="7651" y="4951"/>
                  <a:pt x="7676" y="4976"/>
                </a:cubicBezTo>
                <a:cubicBezTo>
                  <a:pt x="7676" y="5001"/>
                  <a:pt x="7676" y="5026"/>
                  <a:pt x="7676" y="5051"/>
                </a:cubicBezTo>
                <a:cubicBezTo>
                  <a:pt x="7702" y="5076"/>
                  <a:pt x="7727" y="5100"/>
                  <a:pt x="7751" y="5100"/>
                </a:cubicBezTo>
                <a:cubicBezTo>
                  <a:pt x="7751" y="5100"/>
                  <a:pt x="7802" y="5126"/>
                  <a:pt x="7827" y="5126"/>
                </a:cubicBezTo>
                <a:cubicBezTo>
                  <a:pt x="7851" y="5126"/>
                  <a:pt x="7876" y="5100"/>
                  <a:pt x="7902" y="5100"/>
                </a:cubicBezTo>
                <a:cubicBezTo>
                  <a:pt x="7902" y="5100"/>
                  <a:pt x="7951" y="5076"/>
                  <a:pt x="7976" y="5076"/>
                </a:cubicBezTo>
                <a:cubicBezTo>
                  <a:pt x="8002" y="5076"/>
                  <a:pt x="8051" y="5100"/>
                  <a:pt x="8076" y="5100"/>
                </a:cubicBezTo>
                <a:cubicBezTo>
                  <a:pt x="8076" y="5100"/>
                  <a:pt x="8127" y="5100"/>
                  <a:pt x="8127" y="5126"/>
                </a:cubicBezTo>
                <a:cubicBezTo>
                  <a:pt x="8151" y="5126"/>
                  <a:pt x="8227" y="5126"/>
                  <a:pt x="8227" y="5151"/>
                </a:cubicBezTo>
                <a:cubicBezTo>
                  <a:pt x="8227" y="5176"/>
                  <a:pt x="8251" y="5176"/>
                  <a:pt x="8276" y="5200"/>
                </a:cubicBezTo>
                <a:cubicBezTo>
                  <a:pt x="8276" y="5226"/>
                  <a:pt x="8376" y="5226"/>
                  <a:pt x="8376" y="5226"/>
                </a:cubicBezTo>
                <a:cubicBezTo>
                  <a:pt x="8402" y="5251"/>
                  <a:pt x="8502" y="5251"/>
                  <a:pt x="8502" y="5226"/>
                </a:cubicBezTo>
                <a:cubicBezTo>
                  <a:pt x="8502" y="5226"/>
                  <a:pt x="8602" y="5200"/>
                  <a:pt x="8627" y="5200"/>
                </a:cubicBezTo>
                <a:cubicBezTo>
                  <a:pt x="8652" y="5176"/>
                  <a:pt x="8702" y="5200"/>
                  <a:pt x="8702" y="5176"/>
                </a:cubicBezTo>
                <a:cubicBezTo>
                  <a:pt x="8702" y="5151"/>
                  <a:pt x="8752" y="5126"/>
                  <a:pt x="8776" y="5126"/>
                </a:cubicBezTo>
                <a:cubicBezTo>
                  <a:pt x="8802" y="5100"/>
                  <a:pt x="8902" y="5100"/>
                  <a:pt x="8902" y="5126"/>
                </a:cubicBezTo>
                <a:cubicBezTo>
                  <a:pt x="8902" y="5151"/>
                  <a:pt x="8952" y="5151"/>
                  <a:pt x="8976" y="5151"/>
                </a:cubicBezTo>
                <a:cubicBezTo>
                  <a:pt x="9002" y="5126"/>
                  <a:pt x="9052" y="5151"/>
                  <a:pt x="9076" y="5176"/>
                </a:cubicBezTo>
                <a:lnTo>
                  <a:pt x="9152" y="5200"/>
                </a:lnTo>
                <a:cubicBezTo>
                  <a:pt x="9176" y="5176"/>
                  <a:pt x="9227" y="5151"/>
                  <a:pt x="9252" y="5151"/>
                </a:cubicBezTo>
                <a:cubicBezTo>
                  <a:pt x="9276" y="5151"/>
                  <a:pt x="9302" y="5126"/>
                  <a:pt x="9302" y="5100"/>
                </a:cubicBezTo>
                <a:cubicBezTo>
                  <a:pt x="9276" y="5076"/>
                  <a:pt x="9327" y="5026"/>
                  <a:pt x="9327" y="5001"/>
                </a:cubicBezTo>
                <a:cubicBezTo>
                  <a:pt x="9352" y="4976"/>
                  <a:pt x="9376" y="4926"/>
                  <a:pt x="9401" y="4926"/>
                </a:cubicBezTo>
                <a:cubicBezTo>
                  <a:pt x="9401" y="4901"/>
                  <a:pt x="9427" y="4875"/>
                  <a:pt x="9427" y="4875"/>
                </a:cubicBezTo>
                <a:cubicBezTo>
                  <a:pt x="9427" y="4851"/>
                  <a:pt x="9427" y="4801"/>
                  <a:pt x="9401" y="4801"/>
                </a:cubicBezTo>
                <a:cubicBezTo>
                  <a:pt x="9401" y="4801"/>
                  <a:pt x="9352" y="4801"/>
                  <a:pt x="9401" y="4751"/>
                </a:cubicBezTo>
                <a:cubicBezTo>
                  <a:pt x="9427" y="4701"/>
                  <a:pt x="9502" y="4701"/>
                  <a:pt x="9527" y="4701"/>
                </a:cubicBezTo>
                <a:cubicBezTo>
                  <a:pt x="9527" y="4701"/>
                  <a:pt x="9627" y="4701"/>
                  <a:pt x="9652" y="4701"/>
                </a:cubicBezTo>
                <a:cubicBezTo>
                  <a:pt x="9702" y="4701"/>
                  <a:pt x="9727" y="4701"/>
                  <a:pt x="9752" y="4726"/>
                </a:cubicBezTo>
                <a:cubicBezTo>
                  <a:pt x="9802" y="4751"/>
                  <a:pt x="9852" y="4726"/>
                  <a:pt x="9877" y="4751"/>
                </a:cubicBezTo>
                <a:cubicBezTo>
                  <a:pt x="9902" y="4775"/>
                  <a:pt x="9952" y="4775"/>
                  <a:pt x="9927" y="4826"/>
                </a:cubicBezTo>
                <a:cubicBezTo>
                  <a:pt x="9927" y="4851"/>
                  <a:pt x="9977" y="4826"/>
                  <a:pt x="9977" y="4901"/>
                </a:cubicBezTo>
                <a:cubicBezTo>
                  <a:pt x="10002" y="4976"/>
                  <a:pt x="10027" y="4976"/>
                  <a:pt x="10027" y="5026"/>
                </a:cubicBezTo>
                <a:cubicBezTo>
                  <a:pt x="10052" y="5051"/>
                  <a:pt x="10102" y="5100"/>
                  <a:pt x="10077" y="5126"/>
                </a:cubicBezTo>
                <a:cubicBezTo>
                  <a:pt x="10077" y="5151"/>
                  <a:pt x="10077" y="5176"/>
                  <a:pt x="10127" y="5176"/>
                </a:cubicBezTo>
                <a:cubicBezTo>
                  <a:pt x="10177" y="5176"/>
                  <a:pt x="10202" y="5226"/>
                  <a:pt x="10202" y="5226"/>
                </a:cubicBezTo>
                <a:cubicBezTo>
                  <a:pt x="10227" y="5200"/>
                  <a:pt x="10277" y="5226"/>
                  <a:pt x="10302" y="5251"/>
                </a:cubicBezTo>
                <a:cubicBezTo>
                  <a:pt x="10327" y="5276"/>
                  <a:pt x="10377" y="5276"/>
                  <a:pt x="10377" y="5301"/>
                </a:cubicBezTo>
                <a:cubicBezTo>
                  <a:pt x="10377" y="5326"/>
                  <a:pt x="10402" y="5351"/>
                  <a:pt x="10402" y="5376"/>
                </a:cubicBezTo>
                <a:cubicBezTo>
                  <a:pt x="10402" y="5401"/>
                  <a:pt x="10452" y="5426"/>
                  <a:pt x="10477" y="5426"/>
                </a:cubicBezTo>
                <a:cubicBezTo>
                  <a:pt x="10527" y="5426"/>
                  <a:pt x="10552" y="5426"/>
                  <a:pt x="10577" y="5401"/>
                </a:cubicBezTo>
                <a:cubicBezTo>
                  <a:pt x="10577" y="5376"/>
                  <a:pt x="10652" y="5376"/>
                  <a:pt x="10652" y="5376"/>
                </a:cubicBezTo>
                <a:cubicBezTo>
                  <a:pt x="10677" y="5351"/>
                  <a:pt x="10727" y="5326"/>
                  <a:pt x="10727" y="5376"/>
                </a:cubicBezTo>
                <a:cubicBezTo>
                  <a:pt x="10727" y="5426"/>
                  <a:pt x="10777" y="5451"/>
                  <a:pt x="10727" y="5476"/>
                </a:cubicBezTo>
                <a:cubicBezTo>
                  <a:pt x="10702" y="5476"/>
                  <a:pt x="10702" y="5551"/>
                  <a:pt x="10677" y="5576"/>
                </a:cubicBezTo>
                <a:cubicBezTo>
                  <a:pt x="10677" y="5626"/>
                  <a:pt x="10627" y="5626"/>
                  <a:pt x="10627" y="5651"/>
                </a:cubicBezTo>
                <a:cubicBezTo>
                  <a:pt x="10627" y="5701"/>
                  <a:pt x="10577" y="5701"/>
                  <a:pt x="10577" y="5726"/>
                </a:cubicBezTo>
                <a:cubicBezTo>
                  <a:pt x="10577" y="5751"/>
                  <a:pt x="10527" y="5726"/>
                  <a:pt x="10502" y="5726"/>
                </a:cubicBezTo>
                <a:cubicBezTo>
                  <a:pt x="10477" y="5701"/>
                  <a:pt x="10452" y="5751"/>
                  <a:pt x="10427" y="5751"/>
                </a:cubicBezTo>
                <a:cubicBezTo>
                  <a:pt x="10402" y="5751"/>
                  <a:pt x="10402" y="5801"/>
                  <a:pt x="10402" y="5826"/>
                </a:cubicBezTo>
                <a:cubicBezTo>
                  <a:pt x="10427" y="5851"/>
                  <a:pt x="10402" y="5876"/>
                  <a:pt x="10427" y="5901"/>
                </a:cubicBezTo>
                <a:cubicBezTo>
                  <a:pt x="10427" y="5926"/>
                  <a:pt x="10427" y="5951"/>
                  <a:pt x="10427" y="5976"/>
                </a:cubicBezTo>
                <a:cubicBezTo>
                  <a:pt x="10452" y="5951"/>
                  <a:pt x="10502" y="5951"/>
                  <a:pt x="10502" y="5951"/>
                </a:cubicBezTo>
                <a:cubicBezTo>
                  <a:pt x="10527" y="5951"/>
                  <a:pt x="10577" y="6001"/>
                  <a:pt x="10602" y="6001"/>
                </a:cubicBezTo>
                <a:cubicBezTo>
                  <a:pt x="10652" y="6001"/>
                  <a:pt x="10827" y="5901"/>
                  <a:pt x="10827" y="5876"/>
                </a:cubicBezTo>
                <a:cubicBezTo>
                  <a:pt x="10827" y="5851"/>
                  <a:pt x="10927" y="5751"/>
                  <a:pt x="10977" y="5701"/>
                </a:cubicBezTo>
                <a:cubicBezTo>
                  <a:pt x="11027" y="5651"/>
                  <a:pt x="11102" y="5576"/>
                  <a:pt x="11127" y="5526"/>
                </a:cubicBezTo>
                <a:cubicBezTo>
                  <a:pt x="11127" y="5476"/>
                  <a:pt x="11202" y="5401"/>
                  <a:pt x="11227" y="5376"/>
                </a:cubicBezTo>
                <a:cubicBezTo>
                  <a:pt x="11227" y="5351"/>
                  <a:pt x="11252" y="5351"/>
                  <a:pt x="11277" y="5276"/>
                </a:cubicBezTo>
                <a:cubicBezTo>
                  <a:pt x="11303" y="5226"/>
                  <a:pt x="11303" y="5051"/>
                  <a:pt x="11327" y="5051"/>
                </a:cubicBezTo>
                <a:cubicBezTo>
                  <a:pt x="11327" y="5026"/>
                  <a:pt x="11327" y="5001"/>
                  <a:pt x="11327" y="4976"/>
                </a:cubicBezTo>
                <a:cubicBezTo>
                  <a:pt x="11352" y="4951"/>
                  <a:pt x="11352" y="4926"/>
                  <a:pt x="11377" y="4926"/>
                </a:cubicBezTo>
                <a:cubicBezTo>
                  <a:pt x="11403" y="4901"/>
                  <a:pt x="11403" y="4875"/>
                  <a:pt x="11377" y="4851"/>
                </a:cubicBezTo>
                <a:cubicBezTo>
                  <a:pt x="11377" y="4826"/>
                  <a:pt x="11377" y="4801"/>
                  <a:pt x="11377" y="4775"/>
                </a:cubicBezTo>
                <a:cubicBezTo>
                  <a:pt x="11377" y="4775"/>
                  <a:pt x="11377" y="4751"/>
                  <a:pt x="11403" y="4751"/>
                </a:cubicBezTo>
                <a:cubicBezTo>
                  <a:pt x="11403" y="4751"/>
                  <a:pt x="11377" y="4726"/>
                  <a:pt x="11352" y="4701"/>
                </a:cubicBezTo>
                <a:cubicBezTo>
                  <a:pt x="11327" y="4701"/>
                  <a:pt x="11303" y="4675"/>
                  <a:pt x="11303" y="4651"/>
                </a:cubicBezTo>
                <a:cubicBezTo>
                  <a:pt x="11303" y="4626"/>
                  <a:pt x="11252" y="4601"/>
                  <a:pt x="11227" y="4601"/>
                </a:cubicBezTo>
                <a:cubicBezTo>
                  <a:pt x="11202" y="4601"/>
                  <a:pt x="11127" y="4575"/>
                  <a:pt x="11152" y="4601"/>
                </a:cubicBezTo>
                <a:cubicBezTo>
                  <a:pt x="11152" y="4626"/>
                  <a:pt x="11152" y="4651"/>
                  <a:pt x="11127" y="4651"/>
                </a:cubicBezTo>
                <a:cubicBezTo>
                  <a:pt x="11102" y="4626"/>
                  <a:pt x="11102" y="4651"/>
                  <a:pt x="11077" y="4675"/>
                </a:cubicBezTo>
                <a:cubicBezTo>
                  <a:pt x="11077" y="4701"/>
                  <a:pt x="11002" y="4701"/>
                  <a:pt x="11027" y="4675"/>
                </a:cubicBezTo>
                <a:cubicBezTo>
                  <a:pt x="11052" y="4651"/>
                  <a:pt x="11027" y="4651"/>
                  <a:pt x="11027" y="4626"/>
                </a:cubicBezTo>
                <a:cubicBezTo>
                  <a:pt x="11027" y="4601"/>
                  <a:pt x="11052" y="4575"/>
                  <a:pt x="11027" y="4575"/>
                </a:cubicBezTo>
                <a:cubicBezTo>
                  <a:pt x="11002" y="4601"/>
                  <a:pt x="11002" y="4651"/>
                  <a:pt x="10977" y="4651"/>
                </a:cubicBezTo>
                <a:cubicBezTo>
                  <a:pt x="10952" y="4651"/>
                  <a:pt x="10952" y="4575"/>
                  <a:pt x="10952" y="4551"/>
                </a:cubicBezTo>
                <a:cubicBezTo>
                  <a:pt x="10977" y="4526"/>
                  <a:pt x="10902" y="4551"/>
                  <a:pt x="10852" y="4551"/>
                </a:cubicBezTo>
                <a:cubicBezTo>
                  <a:pt x="10802" y="4551"/>
                  <a:pt x="10802" y="4501"/>
                  <a:pt x="10852" y="4475"/>
                </a:cubicBezTo>
                <a:cubicBezTo>
                  <a:pt x="10902" y="4451"/>
                  <a:pt x="10902" y="4426"/>
                  <a:pt x="10927" y="4426"/>
                </a:cubicBezTo>
                <a:cubicBezTo>
                  <a:pt x="10952" y="4426"/>
                  <a:pt x="11002" y="4375"/>
                  <a:pt x="11027" y="4351"/>
                </a:cubicBezTo>
                <a:cubicBezTo>
                  <a:pt x="11077" y="4326"/>
                  <a:pt x="11077" y="4301"/>
                  <a:pt x="11102" y="4275"/>
                </a:cubicBezTo>
                <a:cubicBezTo>
                  <a:pt x="11102" y="4275"/>
                  <a:pt x="11177" y="4226"/>
                  <a:pt x="11227" y="4175"/>
                </a:cubicBezTo>
                <a:cubicBezTo>
                  <a:pt x="11277" y="4126"/>
                  <a:pt x="11303" y="4101"/>
                  <a:pt x="11327" y="4075"/>
                </a:cubicBezTo>
                <a:cubicBezTo>
                  <a:pt x="11352" y="4051"/>
                  <a:pt x="11427" y="4026"/>
                  <a:pt x="11427" y="4001"/>
                </a:cubicBezTo>
                <a:cubicBezTo>
                  <a:pt x="11427" y="3975"/>
                  <a:pt x="11527" y="3926"/>
                  <a:pt x="11603" y="3901"/>
                </a:cubicBezTo>
                <a:cubicBezTo>
                  <a:pt x="11677" y="3875"/>
                  <a:pt x="11803" y="3901"/>
                  <a:pt x="11803" y="3926"/>
                </a:cubicBezTo>
                <a:cubicBezTo>
                  <a:pt x="11827" y="3951"/>
                  <a:pt x="11852" y="3951"/>
                  <a:pt x="11852" y="3926"/>
                </a:cubicBezTo>
                <a:cubicBezTo>
                  <a:pt x="11877" y="3901"/>
                  <a:pt x="11903" y="3926"/>
                  <a:pt x="11952" y="3926"/>
                </a:cubicBezTo>
                <a:cubicBezTo>
                  <a:pt x="12003" y="3926"/>
                  <a:pt x="12003" y="3901"/>
                  <a:pt x="12027" y="3901"/>
                </a:cubicBezTo>
                <a:cubicBezTo>
                  <a:pt x="12077" y="3926"/>
                  <a:pt x="12103" y="3926"/>
                  <a:pt x="12127" y="3901"/>
                </a:cubicBezTo>
                <a:cubicBezTo>
                  <a:pt x="12127" y="3851"/>
                  <a:pt x="12228" y="3851"/>
                  <a:pt x="12252" y="3875"/>
                </a:cubicBezTo>
                <a:cubicBezTo>
                  <a:pt x="12277" y="3901"/>
                  <a:pt x="12277" y="3901"/>
                  <a:pt x="12328" y="3875"/>
                </a:cubicBezTo>
                <a:cubicBezTo>
                  <a:pt x="12352" y="3875"/>
                  <a:pt x="12352" y="3926"/>
                  <a:pt x="12377" y="3926"/>
                </a:cubicBezTo>
                <a:cubicBezTo>
                  <a:pt x="12428" y="3926"/>
                  <a:pt x="12402" y="3951"/>
                  <a:pt x="12377" y="3951"/>
                </a:cubicBezTo>
                <a:cubicBezTo>
                  <a:pt x="12352" y="3951"/>
                  <a:pt x="12303" y="3975"/>
                  <a:pt x="12328" y="3975"/>
                </a:cubicBezTo>
                <a:cubicBezTo>
                  <a:pt x="12377" y="4001"/>
                  <a:pt x="12402" y="3975"/>
                  <a:pt x="12428" y="3975"/>
                </a:cubicBezTo>
                <a:cubicBezTo>
                  <a:pt x="12452" y="3975"/>
                  <a:pt x="12503" y="3975"/>
                  <a:pt x="12528" y="3951"/>
                </a:cubicBezTo>
                <a:cubicBezTo>
                  <a:pt x="12577" y="3926"/>
                  <a:pt x="12577" y="3975"/>
                  <a:pt x="12602" y="3951"/>
                </a:cubicBezTo>
                <a:cubicBezTo>
                  <a:pt x="12628" y="3926"/>
                  <a:pt x="12677" y="3926"/>
                  <a:pt x="12703" y="3926"/>
                </a:cubicBezTo>
                <a:cubicBezTo>
                  <a:pt x="12728" y="3926"/>
                  <a:pt x="12703" y="3901"/>
                  <a:pt x="12652" y="3901"/>
                </a:cubicBezTo>
                <a:cubicBezTo>
                  <a:pt x="12628" y="3901"/>
                  <a:pt x="12628" y="3875"/>
                  <a:pt x="12652" y="3826"/>
                </a:cubicBezTo>
                <a:cubicBezTo>
                  <a:pt x="12677" y="3751"/>
                  <a:pt x="12752" y="3726"/>
                  <a:pt x="12777" y="3701"/>
                </a:cubicBezTo>
                <a:cubicBezTo>
                  <a:pt x="12828" y="3650"/>
                  <a:pt x="12852" y="3675"/>
                  <a:pt x="12852" y="3650"/>
                </a:cubicBezTo>
                <a:cubicBezTo>
                  <a:pt x="12852" y="3626"/>
                  <a:pt x="12877" y="3575"/>
                  <a:pt x="12903" y="3575"/>
                </a:cubicBezTo>
                <a:cubicBezTo>
                  <a:pt x="12928" y="3575"/>
                  <a:pt x="13003" y="3575"/>
                  <a:pt x="13053" y="3550"/>
                </a:cubicBezTo>
                <a:cubicBezTo>
                  <a:pt x="13103" y="3526"/>
                  <a:pt x="13103" y="3575"/>
                  <a:pt x="13128" y="3575"/>
                </a:cubicBezTo>
                <a:cubicBezTo>
                  <a:pt x="13153" y="3601"/>
                  <a:pt x="13177" y="3550"/>
                  <a:pt x="13203" y="3550"/>
                </a:cubicBezTo>
                <a:cubicBezTo>
                  <a:pt x="13203" y="3575"/>
                  <a:pt x="13153" y="3601"/>
                  <a:pt x="13153" y="3650"/>
                </a:cubicBezTo>
                <a:cubicBezTo>
                  <a:pt x="13128" y="3675"/>
                  <a:pt x="13177" y="3675"/>
                  <a:pt x="13203" y="3675"/>
                </a:cubicBezTo>
                <a:cubicBezTo>
                  <a:pt x="13228" y="3701"/>
                  <a:pt x="13177" y="3701"/>
                  <a:pt x="13177" y="3726"/>
                </a:cubicBezTo>
                <a:cubicBezTo>
                  <a:pt x="13177" y="3726"/>
                  <a:pt x="13228" y="3726"/>
                  <a:pt x="13277" y="3675"/>
                </a:cubicBezTo>
                <a:cubicBezTo>
                  <a:pt x="13353" y="3601"/>
                  <a:pt x="13403" y="3601"/>
                  <a:pt x="13453" y="3601"/>
                </a:cubicBezTo>
                <a:cubicBezTo>
                  <a:pt x="13477" y="3601"/>
                  <a:pt x="13453" y="3550"/>
                  <a:pt x="13453" y="3501"/>
                </a:cubicBezTo>
                <a:cubicBezTo>
                  <a:pt x="13477" y="3450"/>
                  <a:pt x="13577" y="3426"/>
                  <a:pt x="13628" y="3450"/>
                </a:cubicBezTo>
                <a:cubicBezTo>
                  <a:pt x="13653" y="3450"/>
                  <a:pt x="13653" y="3475"/>
                  <a:pt x="13628" y="3475"/>
                </a:cubicBezTo>
                <a:cubicBezTo>
                  <a:pt x="13577" y="3450"/>
                  <a:pt x="13553" y="3501"/>
                  <a:pt x="13553" y="3550"/>
                </a:cubicBezTo>
                <a:cubicBezTo>
                  <a:pt x="13553" y="3575"/>
                  <a:pt x="13528" y="3601"/>
                  <a:pt x="13528" y="3626"/>
                </a:cubicBezTo>
                <a:cubicBezTo>
                  <a:pt x="13553" y="3626"/>
                  <a:pt x="13503" y="3650"/>
                  <a:pt x="13503" y="3650"/>
                </a:cubicBezTo>
                <a:cubicBezTo>
                  <a:pt x="13503" y="3675"/>
                  <a:pt x="13503" y="3701"/>
                  <a:pt x="13477" y="3701"/>
                </a:cubicBezTo>
                <a:cubicBezTo>
                  <a:pt x="13453" y="3701"/>
                  <a:pt x="13353" y="3726"/>
                  <a:pt x="13353" y="3751"/>
                </a:cubicBezTo>
                <a:cubicBezTo>
                  <a:pt x="13353" y="3800"/>
                  <a:pt x="13303" y="3800"/>
                  <a:pt x="13277" y="3851"/>
                </a:cubicBezTo>
                <a:cubicBezTo>
                  <a:pt x="13253" y="3875"/>
                  <a:pt x="13177" y="3926"/>
                  <a:pt x="13103" y="4001"/>
                </a:cubicBezTo>
                <a:cubicBezTo>
                  <a:pt x="13053" y="4101"/>
                  <a:pt x="12952" y="4101"/>
                  <a:pt x="12952" y="4101"/>
                </a:cubicBezTo>
                <a:cubicBezTo>
                  <a:pt x="12952" y="4126"/>
                  <a:pt x="12877" y="4126"/>
                  <a:pt x="12877" y="4126"/>
                </a:cubicBezTo>
                <a:cubicBezTo>
                  <a:pt x="12852" y="4126"/>
                  <a:pt x="12877" y="4175"/>
                  <a:pt x="12828" y="4251"/>
                </a:cubicBezTo>
                <a:cubicBezTo>
                  <a:pt x="12777" y="4301"/>
                  <a:pt x="12752" y="4375"/>
                  <a:pt x="12752" y="4451"/>
                </a:cubicBezTo>
                <a:cubicBezTo>
                  <a:pt x="12752" y="4526"/>
                  <a:pt x="12777" y="4751"/>
                  <a:pt x="12803" y="4801"/>
                </a:cubicBezTo>
                <a:cubicBezTo>
                  <a:pt x="12828" y="4851"/>
                  <a:pt x="12803" y="4951"/>
                  <a:pt x="12828" y="4951"/>
                </a:cubicBezTo>
                <a:cubicBezTo>
                  <a:pt x="12852" y="4976"/>
                  <a:pt x="12852" y="5026"/>
                  <a:pt x="12852" y="5026"/>
                </a:cubicBezTo>
                <a:cubicBezTo>
                  <a:pt x="12877" y="5051"/>
                  <a:pt x="12928" y="4976"/>
                  <a:pt x="12952" y="4951"/>
                </a:cubicBezTo>
                <a:cubicBezTo>
                  <a:pt x="12977" y="4926"/>
                  <a:pt x="12977" y="4901"/>
                  <a:pt x="13003" y="4901"/>
                </a:cubicBezTo>
                <a:cubicBezTo>
                  <a:pt x="13028" y="4875"/>
                  <a:pt x="13003" y="4801"/>
                  <a:pt x="13028" y="4801"/>
                </a:cubicBezTo>
                <a:cubicBezTo>
                  <a:pt x="13028" y="4775"/>
                  <a:pt x="13077" y="4775"/>
                  <a:pt x="13077" y="4751"/>
                </a:cubicBezTo>
                <a:cubicBezTo>
                  <a:pt x="13103" y="4726"/>
                  <a:pt x="13128" y="4751"/>
                  <a:pt x="13153" y="4751"/>
                </a:cubicBezTo>
                <a:cubicBezTo>
                  <a:pt x="13177" y="4726"/>
                  <a:pt x="13153" y="4675"/>
                  <a:pt x="13153" y="4651"/>
                </a:cubicBezTo>
                <a:cubicBezTo>
                  <a:pt x="13128" y="4626"/>
                  <a:pt x="13203" y="4601"/>
                  <a:pt x="13228" y="4575"/>
                </a:cubicBezTo>
                <a:cubicBezTo>
                  <a:pt x="13277" y="4551"/>
                  <a:pt x="13303" y="4601"/>
                  <a:pt x="13353" y="4551"/>
                </a:cubicBezTo>
                <a:cubicBezTo>
                  <a:pt x="13377" y="4526"/>
                  <a:pt x="13353" y="4475"/>
                  <a:pt x="13328" y="4451"/>
                </a:cubicBezTo>
                <a:cubicBezTo>
                  <a:pt x="13328" y="4451"/>
                  <a:pt x="13377" y="4351"/>
                  <a:pt x="13403" y="4351"/>
                </a:cubicBezTo>
                <a:cubicBezTo>
                  <a:pt x="13428" y="4351"/>
                  <a:pt x="13453" y="4375"/>
                  <a:pt x="13477" y="4351"/>
                </a:cubicBezTo>
                <a:cubicBezTo>
                  <a:pt x="13503" y="4326"/>
                  <a:pt x="13453" y="4275"/>
                  <a:pt x="13428" y="4275"/>
                </a:cubicBezTo>
                <a:cubicBezTo>
                  <a:pt x="13403" y="4275"/>
                  <a:pt x="13403" y="4201"/>
                  <a:pt x="13453" y="4175"/>
                </a:cubicBezTo>
                <a:cubicBezTo>
                  <a:pt x="13503" y="4151"/>
                  <a:pt x="13477" y="4126"/>
                  <a:pt x="13453" y="4126"/>
                </a:cubicBezTo>
                <a:cubicBezTo>
                  <a:pt x="13403" y="4126"/>
                  <a:pt x="13403" y="4126"/>
                  <a:pt x="13377" y="4126"/>
                </a:cubicBezTo>
                <a:cubicBezTo>
                  <a:pt x="13353" y="4126"/>
                  <a:pt x="13328" y="4075"/>
                  <a:pt x="13377" y="4026"/>
                </a:cubicBezTo>
                <a:cubicBezTo>
                  <a:pt x="13403" y="3975"/>
                  <a:pt x="13453" y="4001"/>
                  <a:pt x="13453" y="3951"/>
                </a:cubicBezTo>
                <a:cubicBezTo>
                  <a:pt x="13453" y="3901"/>
                  <a:pt x="13503" y="3851"/>
                  <a:pt x="13528" y="3826"/>
                </a:cubicBezTo>
                <a:cubicBezTo>
                  <a:pt x="13528" y="3800"/>
                  <a:pt x="13577" y="3826"/>
                  <a:pt x="13603" y="3826"/>
                </a:cubicBezTo>
                <a:cubicBezTo>
                  <a:pt x="13628" y="3826"/>
                  <a:pt x="13628" y="3875"/>
                  <a:pt x="13628" y="3851"/>
                </a:cubicBezTo>
                <a:cubicBezTo>
                  <a:pt x="13653" y="3826"/>
                  <a:pt x="13703" y="3751"/>
                  <a:pt x="13728" y="3751"/>
                </a:cubicBezTo>
                <a:cubicBezTo>
                  <a:pt x="13777" y="3751"/>
                  <a:pt x="13753" y="3800"/>
                  <a:pt x="13753" y="3826"/>
                </a:cubicBezTo>
                <a:cubicBezTo>
                  <a:pt x="13753" y="3875"/>
                  <a:pt x="13777" y="3826"/>
                  <a:pt x="13853" y="3775"/>
                </a:cubicBezTo>
                <a:cubicBezTo>
                  <a:pt x="13902" y="3751"/>
                  <a:pt x="14028" y="3751"/>
                  <a:pt x="14078" y="3775"/>
                </a:cubicBezTo>
                <a:cubicBezTo>
                  <a:pt x="14128" y="3775"/>
                  <a:pt x="14128" y="3826"/>
                  <a:pt x="14153" y="3826"/>
                </a:cubicBezTo>
                <a:cubicBezTo>
                  <a:pt x="14178" y="3826"/>
                  <a:pt x="14153" y="3775"/>
                  <a:pt x="14178" y="3775"/>
                </a:cubicBezTo>
                <a:cubicBezTo>
                  <a:pt x="14228" y="3751"/>
                  <a:pt x="14278" y="3726"/>
                  <a:pt x="14328" y="3701"/>
                </a:cubicBezTo>
                <a:cubicBezTo>
                  <a:pt x="14353" y="3650"/>
                  <a:pt x="14353" y="3675"/>
                  <a:pt x="14378" y="3650"/>
                </a:cubicBezTo>
                <a:cubicBezTo>
                  <a:pt x="14403" y="3626"/>
                  <a:pt x="14428" y="3650"/>
                  <a:pt x="14428" y="3626"/>
                </a:cubicBezTo>
                <a:cubicBezTo>
                  <a:pt x="14428" y="3601"/>
                  <a:pt x="14503" y="3575"/>
                  <a:pt x="14578" y="3550"/>
                </a:cubicBezTo>
                <a:cubicBezTo>
                  <a:pt x="14678" y="3526"/>
                  <a:pt x="14778" y="3475"/>
                  <a:pt x="14778" y="3450"/>
                </a:cubicBezTo>
                <a:cubicBezTo>
                  <a:pt x="14778" y="3426"/>
                  <a:pt x="14828" y="3426"/>
                  <a:pt x="14828" y="3450"/>
                </a:cubicBezTo>
                <a:cubicBezTo>
                  <a:pt x="14828" y="3475"/>
                  <a:pt x="14853" y="3450"/>
                  <a:pt x="14903" y="3475"/>
                </a:cubicBezTo>
                <a:cubicBezTo>
                  <a:pt x="14953" y="3475"/>
                  <a:pt x="14978" y="3501"/>
                  <a:pt x="15003" y="3450"/>
                </a:cubicBezTo>
                <a:cubicBezTo>
                  <a:pt x="15053" y="3426"/>
                  <a:pt x="15003" y="3401"/>
                  <a:pt x="15003" y="3375"/>
                </a:cubicBezTo>
                <a:cubicBezTo>
                  <a:pt x="15003" y="3350"/>
                  <a:pt x="14953" y="3326"/>
                  <a:pt x="14953" y="3301"/>
                </a:cubicBezTo>
                <a:cubicBezTo>
                  <a:pt x="14953" y="3275"/>
                  <a:pt x="14903" y="3201"/>
                  <a:pt x="14878" y="3201"/>
                </a:cubicBezTo>
                <a:cubicBezTo>
                  <a:pt x="14878" y="3226"/>
                  <a:pt x="14828" y="3201"/>
                  <a:pt x="14828" y="3175"/>
                </a:cubicBezTo>
                <a:cubicBezTo>
                  <a:pt x="14828" y="3150"/>
                  <a:pt x="14828" y="3126"/>
                  <a:pt x="14803" y="3126"/>
                </a:cubicBezTo>
                <a:cubicBezTo>
                  <a:pt x="14778" y="3150"/>
                  <a:pt x="14728" y="3150"/>
                  <a:pt x="14728" y="3126"/>
                </a:cubicBezTo>
                <a:cubicBezTo>
                  <a:pt x="14703" y="3101"/>
                  <a:pt x="14778" y="3075"/>
                  <a:pt x="14828" y="3101"/>
                </a:cubicBezTo>
                <a:cubicBezTo>
                  <a:pt x="14853" y="3101"/>
                  <a:pt x="14853" y="3126"/>
                  <a:pt x="14878" y="3150"/>
                </a:cubicBezTo>
                <a:cubicBezTo>
                  <a:pt x="14878" y="3150"/>
                  <a:pt x="14953" y="3150"/>
                  <a:pt x="14978" y="3126"/>
                </a:cubicBezTo>
                <a:cubicBezTo>
                  <a:pt x="15003" y="3126"/>
                  <a:pt x="15078" y="3101"/>
                  <a:pt x="15103" y="3075"/>
                </a:cubicBezTo>
                <a:cubicBezTo>
                  <a:pt x="15103" y="3050"/>
                  <a:pt x="15103" y="3026"/>
                  <a:pt x="15128" y="3026"/>
                </a:cubicBezTo>
                <a:cubicBezTo>
                  <a:pt x="15153" y="3001"/>
                  <a:pt x="15128" y="2975"/>
                  <a:pt x="15103" y="2975"/>
                </a:cubicBezTo>
                <a:cubicBezTo>
                  <a:pt x="15078" y="2950"/>
                  <a:pt x="15078" y="2926"/>
                  <a:pt x="15103" y="2926"/>
                </a:cubicBezTo>
                <a:cubicBezTo>
                  <a:pt x="15128" y="2926"/>
                  <a:pt x="15128" y="2901"/>
                  <a:pt x="15153" y="2901"/>
                </a:cubicBezTo>
                <a:cubicBezTo>
                  <a:pt x="15178" y="2875"/>
                  <a:pt x="15178" y="2901"/>
                  <a:pt x="15203" y="2875"/>
                </a:cubicBezTo>
                <a:cubicBezTo>
                  <a:pt x="15228" y="2875"/>
                  <a:pt x="15203" y="2901"/>
                  <a:pt x="15178" y="2926"/>
                </a:cubicBezTo>
                <a:cubicBezTo>
                  <a:pt x="15178" y="2950"/>
                  <a:pt x="15228" y="2975"/>
                  <a:pt x="15228" y="3001"/>
                </a:cubicBezTo>
                <a:cubicBezTo>
                  <a:pt x="15228" y="3026"/>
                  <a:pt x="15278" y="3026"/>
                  <a:pt x="15328" y="3001"/>
                </a:cubicBezTo>
                <a:cubicBezTo>
                  <a:pt x="15353" y="2975"/>
                  <a:pt x="15453" y="3026"/>
                  <a:pt x="15453" y="3050"/>
                </a:cubicBezTo>
                <a:cubicBezTo>
                  <a:pt x="15478" y="3075"/>
                  <a:pt x="15478" y="3101"/>
                  <a:pt x="15528" y="3126"/>
                </a:cubicBezTo>
                <a:cubicBezTo>
                  <a:pt x="15578" y="3150"/>
                  <a:pt x="15628" y="3150"/>
                  <a:pt x="15628" y="3175"/>
                </a:cubicBezTo>
                <a:cubicBezTo>
                  <a:pt x="15628" y="3175"/>
                  <a:pt x="15653" y="3201"/>
                  <a:pt x="15678" y="3201"/>
                </a:cubicBezTo>
                <a:cubicBezTo>
                  <a:pt x="15703" y="3175"/>
                  <a:pt x="15703" y="3226"/>
                  <a:pt x="15728" y="3201"/>
                </a:cubicBezTo>
                <a:cubicBezTo>
                  <a:pt x="15753" y="3175"/>
                  <a:pt x="15753" y="3201"/>
                  <a:pt x="15778" y="3175"/>
                </a:cubicBezTo>
                <a:cubicBezTo>
                  <a:pt x="15804" y="3175"/>
                  <a:pt x="15728" y="3150"/>
                  <a:pt x="15753" y="3126"/>
                </a:cubicBezTo>
                <a:lnTo>
                  <a:pt x="15778" y="3150"/>
                </a:lnTo>
                <a:cubicBezTo>
                  <a:pt x="15804" y="3150"/>
                  <a:pt x="15778" y="3101"/>
                  <a:pt x="15804" y="3101"/>
                </a:cubicBezTo>
                <a:cubicBezTo>
                  <a:pt x="15804" y="3101"/>
                  <a:pt x="15804" y="3001"/>
                  <a:pt x="15778" y="3001"/>
                </a:cubicBezTo>
                <a:cubicBezTo>
                  <a:pt x="15778" y="3001"/>
                  <a:pt x="15778" y="2975"/>
                  <a:pt x="15804" y="3001"/>
                </a:cubicBezTo>
                <a:cubicBezTo>
                  <a:pt x="15853" y="3026"/>
                  <a:pt x="15904" y="3026"/>
                  <a:pt x="15928" y="3026"/>
                </a:cubicBezTo>
                <a:cubicBezTo>
                  <a:pt x="15953" y="3026"/>
                  <a:pt x="15928" y="3001"/>
                  <a:pt x="15904" y="3001"/>
                </a:cubicBezTo>
                <a:cubicBezTo>
                  <a:pt x="15878" y="2975"/>
                  <a:pt x="15904" y="2975"/>
                  <a:pt x="15928" y="2975"/>
                </a:cubicBezTo>
                <a:cubicBezTo>
                  <a:pt x="15928" y="3001"/>
                  <a:pt x="15953" y="3001"/>
                  <a:pt x="15978" y="3001"/>
                </a:cubicBezTo>
                <a:cubicBezTo>
                  <a:pt x="15978" y="2975"/>
                  <a:pt x="15978" y="2926"/>
                  <a:pt x="16028" y="2926"/>
                </a:cubicBezTo>
                <a:cubicBezTo>
                  <a:pt x="16053" y="2950"/>
                  <a:pt x="16053" y="2926"/>
                  <a:pt x="16028" y="2901"/>
                </a:cubicBezTo>
                <a:close/>
                <a:moveTo>
                  <a:pt x="8276" y="4726"/>
                </a:moveTo>
                <a:lnTo>
                  <a:pt x="8276" y="4726"/>
                </a:lnTo>
                <a:cubicBezTo>
                  <a:pt x="8202" y="4801"/>
                  <a:pt x="8051" y="4826"/>
                  <a:pt x="8051" y="4875"/>
                </a:cubicBezTo>
                <a:cubicBezTo>
                  <a:pt x="8051" y="4951"/>
                  <a:pt x="7851" y="4976"/>
                  <a:pt x="7827" y="4951"/>
                </a:cubicBezTo>
                <a:cubicBezTo>
                  <a:pt x="7827" y="4926"/>
                  <a:pt x="7976" y="4926"/>
                  <a:pt x="8002" y="4826"/>
                </a:cubicBezTo>
                <a:cubicBezTo>
                  <a:pt x="8051" y="4751"/>
                  <a:pt x="8202" y="4701"/>
                  <a:pt x="8251" y="4601"/>
                </a:cubicBezTo>
                <a:cubicBezTo>
                  <a:pt x="8302" y="4526"/>
                  <a:pt x="8351" y="4401"/>
                  <a:pt x="8376" y="4401"/>
                </a:cubicBezTo>
                <a:cubicBezTo>
                  <a:pt x="8402" y="4401"/>
                  <a:pt x="8351" y="4675"/>
                  <a:pt x="8276" y="4726"/>
                </a:cubicBezTo>
                <a:close/>
                <a:moveTo>
                  <a:pt x="8627" y="1475"/>
                </a:moveTo>
                <a:lnTo>
                  <a:pt x="8627" y="1475"/>
                </a:lnTo>
                <a:cubicBezTo>
                  <a:pt x="8627" y="1501"/>
                  <a:pt x="8551" y="1501"/>
                  <a:pt x="8576" y="1525"/>
                </a:cubicBezTo>
                <a:cubicBezTo>
                  <a:pt x="8602" y="1550"/>
                  <a:pt x="8752" y="1525"/>
                  <a:pt x="8752" y="1501"/>
                </a:cubicBezTo>
                <a:cubicBezTo>
                  <a:pt x="8752" y="1450"/>
                  <a:pt x="8652" y="1450"/>
                  <a:pt x="8627" y="1475"/>
                </a:cubicBezTo>
                <a:close/>
                <a:moveTo>
                  <a:pt x="2825" y="200"/>
                </a:moveTo>
                <a:lnTo>
                  <a:pt x="2825" y="200"/>
                </a:lnTo>
                <a:cubicBezTo>
                  <a:pt x="2875" y="225"/>
                  <a:pt x="2725" y="225"/>
                  <a:pt x="2701" y="250"/>
                </a:cubicBezTo>
                <a:cubicBezTo>
                  <a:pt x="2701" y="275"/>
                  <a:pt x="2601" y="250"/>
                  <a:pt x="2625" y="300"/>
                </a:cubicBezTo>
                <a:cubicBezTo>
                  <a:pt x="2625" y="325"/>
                  <a:pt x="2775" y="325"/>
                  <a:pt x="2775" y="300"/>
                </a:cubicBezTo>
                <a:cubicBezTo>
                  <a:pt x="2775" y="275"/>
                  <a:pt x="2850" y="300"/>
                  <a:pt x="2850" y="275"/>
                </a:cubicBezTo>
                <a:cubicBezTo>
                  <a:pt x="2850" y="250"/>
                  <a:pt x="2875" y="225"/>
                  <a:pt x="2950" y="225"/>
                </a:cubicBezTo>
                <a:cubicBezTo>
                  <a:pt x="3050" y="200"/>
                  <a:pt x="3050" y="175"/>
                  <a:pt x="2975" y="150"/>
                </a:cubicBezTo>
                <a:cubicBezTo>
                  <a:pt x="2901" y="125"/>
                  <a:pt x="2801" y="175"/>
                  <a:pt x="2825" y="200"/>
                </a:cubicBezTo>
                <a:close/>
                <a:moveTo>
                  <a:pt x="3201" y="1701"/>
                </a:moveTo>
                <a:lnTo>
                  <a:pt x="3201" y="1701"/>
                </a:lnTo>
                <a:cubicBezTo>
                  <a:pt x="3201" y="1725"/>
                  <a:pt x="3201" y="1750"/>
                  <a:pt x="3150" y="1750"/>
                </a:cubicBezTo>
                <a:cubicBezTo>
                  <a:pt x="3075" y="1750"/>
                  <a:pt x="3175" y="1775"/>
                  <a:pt x="3175" y="1801"/>
                </a:cubicBezTo>
                <a:cubicBezTo>
                  <a:pt x="3175" y="1825"/>
                  <a:pt x="3125" y="1825"/>
                  <a:pt x="3125" y="1850"/>
                </a:cubicBezTo>
                <a:cubicBezTo>
                  <a:pt x="3101" y="1901"/>
                  <a:pt x="3001" y="1850"/>
                  <a:pt x="3001" y="1925"/>
                </a:cubicBezTo>
                <a:cubicBezTo>
                  <a:pt x="2975" y="1975"/>
                  <a:pt x="3050" y="1975"/>
                  <a:pt x="3101" y="1975"/>
                </a:cubicBezTo>
                <a:cubicBezTo>
                  <a:pt x="3125" y="1975"/>
                  <a:pt x="3075" y="2025"/>
                  <a:pt x="3101" y="2050"/>
                </a:cubicBezTo>
                <a:cubicBezTo>
                  <a:pt x="3150" y="2075"/>
                  <a:pt x="3175" y="2075"/>
                  <a:pt x="3150" y="2025"/>
                </a:cubicBezTo>
                <a:cubicBezTo>
                  <a:pt x="3125" y="1975"/>
                  <a:pt x="3250" y="2025"/>
                  <a:pt x="3225" y="2075"/>
                </a:cubicBezTo>
                <a:cubicBezTo>
                  <a:pt x="3175" y="2101"/>
                  <a:pt x="3275" y="2125"/>
                  <a:pt x="3350" y="2125"/>
                </a:cubicBezTo>
                <a:cubicBezTo>
                  <a:pt x="3401" y="2150"/>
                  <a:pt x="3575" y="2175"/>
                  <a:pt x="3575" y="2125"/>
                </a:cubicBezTo>
                <a:cubicBezTo>
                  <a:pt x="3575" y="2101"/>
                  <a:pt x="3526" y="2075"/>
                  <a:pt x="3450" y="2025"/>
                </a:cubicBezTo>
                <a:cubicBezTo>
                  <a:pt x="3401" y="1950"/>
                  <a:pt x="3350" y="1850"/>
                  <a:pt x="3426" y="1825"/>
                </a:cubicBezTo>
                <a:cubicBezTo>
                  <a:pt x="3501" y="1775"/>
                  <a:pt x="3426" y="1750"/>
                  <a:pt x="3501" y="1701"/>
                </a:cubicBezTo>
                <a:cubicBezTo>
                  <a:pt x="3575" y="1675"/>
                  <a:pt x="3526" y="1625"/>
                  <a:pt x="3575" y="1625"/>
                </a:cubicBezTo>
                <a:cubicBezTo>
                  <a:pt x="3626" y="1601"/>
                  <a:pt x="3575" y="1550"/>
                  <a:pt x="3626" y="1550"/>
                </a:cubicBezTo>
                <a:cubicBezTo>
                  <a:pt x="3675" y="1550"/>
                  <a:pt x="3701" y="1475"/>
                  <a:pt x="3701" y="1450"/>
                </a:cubicBezTo>
                <a:cubicBezTo>
                  <a:pt x="3675" y="1425"/>
                  <a:pt x="3750" y="1450"/>
                  <a:pt x="3775" y="1425"/>
                </a:cubicBezTo>
                <a:cubicBezTo>
                  <a:pt x="3800" y="1401"/>
                  <a:pt x="3875" y="1425"/>
                  <a:pt x="3901" y="1375"/>
                </a:cubicBezTo>
                <a:cubicBezTo>
                  <a:pt x="3926" y="1325"/>
                  <a:pt x="4251" y="1225"/>
                  <a:pt x="4426" y="1175"/>
                </a:cubicBezTo>
                <a:cubicBezTo>
                  <a:pt x="4601" y="1125"/>
                  <a:pt x="4726" y="1050"/>
                  <a:pt x="4675" y="1000"/>
                </a:cubicBezTo>
                <a:cubicBezTo>
                  <a:pt x="4601" y="950"/>
                  <a:pt x="4426" y="1025"/>
                  <a:pt x="4375" y="1050"/>
                </a:cubicBezTo>
                <a:cubicBezTo>
                  <a:pt x="4326" y="1100"/>
                  <a:pt x="4275" y="1075"/>
                  <a:pt x="4226" y="1100"/>
                </a:cubicBezTo>
                <a:cubicBezTo>
                  <a:pt x="4175" y="1125"/>
                  <a:pt x="4075" y="1150"/>
                  <a:pt x="4050" y="1125"/>
                </a:cubicBezTo>
                <a:cubicBezTo>
                  <a:pt x="4001" y="1075"/>
                  <a:pt x="3926" y="1150"/>
                  <a:pt x="3901" y="1150"/>
                </a:cubicBezTo>
                <a:cubicBezTo>
                  <a:pt x="3875" y="1150"/>
                  <a:pt x="3826" y="1175"/>
                  <a:pt x="3775" y="1175"/>
                </a:cubicBezTo>
                <a:cubicBezTo>
                  <a:pt x="3750" y="1175"/>
                  <a:pt x="3675" y="1200"/>
                  <a:pt x="3650" y="1225"/>
                </a:cubicBezTo>
                <a:cubicBezTo>
                  <a:pt x="3650" y="1250"/>
                  <a:pt x="3601" y="1250"/>
                  <a:pt x="3601" y="1275"/>
                </a:cubicBezTo>
                <a:cubicBezTo>
                  <a:pt x="3601" y="1300"/>
                  <a:pt x="3526" y="1325"/>
                  <a:pt x="3501" y="1300"/>
                </a:cubicBezTo>
                <a:cubicBezTo>
                  <a:pt x="3475" y="1275"/>
                  <a:pt x="3450" y="1325"/>
                  <a:pt x="3475" y="1375"/>
                </a:cubicBezTo>
                <a:cubicBezTo>
                  <a:pt x="3526" y="1401"/>
                  <a:pt x="3426" y="1401"/>
                  <a:pt x="3426" y="1425"/>
                </a:cubicBezTo>
                <a:cubicBezTo>
                  <a:pt x="3450" y="1450"/>
                  <a:pt x="3401" y="1475"/>
                  <a:pt x="3401" y="1501"/>
                </a:cubicBezTo>
                <a:cubicBezTo>
                  <a:pt x="3426" y="1525"/>
                  <a:pt x="3375" y="1525"/>
                  <a:pt x="3326" y="1525"/>
                </a:cubicBezTo>
                <a:cubicBezTo>
                  <a:pt x="3275" y="1550"/>
                  <a:pt x="3250" y="1601"/>
                  <a:pt x="3326" y="1601"/>
                </a:cubicBezTo>
                <a:cubicBezTo>
                  <a:pt x="3375" y="1601"/>
                  <a:pt x="3275" y="1601"/>
                  <a:pt x="3301" y="1650"/>
                </a:cubicBezTo>
                <a:cubicBezTo>
                  <a:pt x="3301" y="1701"/>
                  <a:pt x="3201" y="1675"/>
                  <a:pt x="3201" y="1701"/>
                </a:cubicBezTo>
                <a:close/>
                <a:moveTo>
                  <a:pt x="3575" y="250"/>
                </a:moveTo>
                <a:lnTo>
                  <a:pt x="3575" y="250"/>
                </a:lnTo>
                <a:cubicBezTo>
                  <a:pt x="3601" y="275"/>
                  <a:pt x="3575" y="275"/>
                  <a:pt x="3526" y="275"/>
                </a:cubicBezTo>
                <a:cubicBezTo>
                  <a:pt x="3450" y="275"/>
                  <a:pt x="3426" y="300"/>
                  <a:pt x="3450" y="325"/>
                </a:cubicBezTo>
                <a:cubicBezTo>
                  <a:pt x="3501" y="350"/>
                  <a:pt x="3650" y="350"/>
                  <a:pt x="3675" y="325"/>
                </a:cubicBezTo>
                <a:cubicBezTo>
                  <a:pt x="3701" y="275"/>
                  <a:pt x="3750" y="300"/>
                  <a:pt x="3775" y="275"/>
                </a:cubicBezTo>
                <a:cubicBezTo>
                  <a:pt x="3775" y="250"/>
                  <a:pt x="3575" y="225"/>
                  <a:pt x="3575" y="250"/>
                </a:cubicBezTo>
                <a:close/>
                <a:moveTo>
                  <a:pt x="3575" y="100"/>
                </a:moveTo>
                <a:lnTo>
                  <a:pt x="3575" y="100"/>
                </a:lnTo>
                <a:cubicBezTo>
                  <a:pt x="3650" y="100"/>
                  <a:pt x="3626" y="50"/>
                  <a:pt x="3675" y="75"/>
                </a:cubicBezTo>
                <a:cubicBezTo>
                  <a:pt x="3701" y="75"/>
                  <a:pt x="3775" y="75"/>
                  <a:pt x="3750" y="50"/>
                </a:cubicBezTo>
                <a:cubicBezTo>
                  <a:pt x="3726" y="0"/>
                  <a:pt x="3550" y="25"/>
                  <a:pt x="3575" y="50"/>
                </a:cubicBezTo>
                <a:cubicBezTo>
                  <a:pt x="3601" y="75"/>
                  <a:pt x="3450" y="50"/>
                  <a:pt x="3450" y="75"/>
                </a:cubicBezTo>
                <a:cubicBezTo>
                  <a:pt x="3450" y="75"/>
                  <a:pt x="3501" y="100"/>
                  <a:pt x="3575" y="100"/>
                </a:cubicBezTo>
                <a:close/>
                <a:moveTo>
                  <a:pt x="4050" y="200"/>
                </a:moveTo>
                <a:lnTo>
                  <a:pt x="4050" y="200"/>
                </a:lnTo>
                <a:cubicBezTo>
                  <a:pt x="4075" y="175"/>
                  <a:pt x="4026" y="175"/>
                  <a:pt x="4026" y="150"/>
                </a:cubicBezTo>
                <a:cubicBezTo>
                  <a:pt x="4026" y="125"/>
                  <a:pt x="3850" y="125"/>
                  <a:pt x="3875" y="150"/>
                </a:cubicBezTo>
                <a:cubicBezTo>
                  <a:pt x="3875" y="175"/>
                  <a:pt x="3750" y="200"/>
                  <a:pt x="3800" y="225"/>
                </a:cubicBezTo>
                <a:cubicBezTo>
                  <a:pt x="3850" y="275"/>
                  <a:pt x="4050" y="225"/>
                  <a:pt x="4050" y="200"/>
                </a:cubicBezTo>
                <a:close/>
                <a:moveTo>
                  <a:pt x="3225" y="275"/>
                </a:moveTo>
                <a:lnTo>
                  <a:pt x="3225" y="275"/>
                </a:lnTo>
                <a:cubicBezTo>
                  <a:pt x="3225" y="250"/>
                  <a:pt x="3075" y="300"/>
                  <a:pt x="3101" y="300"/>
                </a:cubicBezTo>
                <a:cubicBezTo>
                  <a:pt x="3125" y="300"/>
                  <a:pt x="3225" y="325"/>
                  <a:pt x="3225" y="275"/>
                </a:cubicBezTo>
                <a:close/>
                <a:moveTo>
                  <a:pt x="3626" y="150"/>
                </a:moveTo>
                <a:lnTo>
                  <a:pt x="3626" y="150"/>
                </a:lnTo>
                <a:cubicBezTo>
                  <a:pt x="3626" y="100"/>
                  <a:pt x="3526" y="150"/>
                  <a:pt x="3450" y="100"/>
                </a:cubicBezTo>
                <a:cubicBezTo>
                  <a:pt x="3375" y="75"/>
                  <a:pt x="3350" y="75"/>
                  <a:pt x="3401" y="125"/>
                </a:cubicBezTo>
                <a:cubicBezTo>
                  <a:pt x="3426" y="150"/>
                  <a:pt x="3275" y="150"/>
                  <a:pt x="3301" y="175"/>
                </a:cubicBezTo>
                <a:cubicBezTo>
                  <a:pt x="3350" y="225"/>
                  <a:pt x="3601" y="200"/>
                  <a:pt x="3626" y="150"/>
                </a:cubicBezTo>
                <a:close/>
              </a:path>
            </a:pathLst>
          </a:custGeom>
          <a:solidFill>
            <a:srgbClr val="2B7A88"/>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2" name="Freeform 165">
            <a:extLst>
              <a:ext uri="{FF2B5EF4-FFF2-40B4-BE49-F238E27FC236}">
                <a16:creationId xmlns:a16="http://schemas.microsoft.com/office/drawing/2014/main" id="{CBB51F03-236A-18DC-D0E7-57E58A347CED}"/>
              </a:ext>
            </a:extLst>
          </p:cNvPr>
          <p:cNvSpPr>
            <a:spLocks noChangeArrowheads="1"/>
          </p:cNvSpPr>
          <p:nvPr/>
        </p:nvSpPr>
        <p:spPr bwMode="auto">
          <a:xfrm>
            <a:off x="4694525" y="3369265"/>
            <a:ext cx="232031" cy="151875"/>
          </a:xfrm>
          <a:custGeom>
            <a:avLst/>
            <a:gdLst>
              <a:gd name="T0" fmla="*/ 600 w 726"/>
              <a:gd name="T1" fmla="*/ 375 h 476"/>
              <a:gd name="T2" fmla="*/ 600 w 726"/>
              <a:gd name="T3" fmla="*/ 375 h 476"/>
              <a:gd name="T4" fmla="*/ 625 w 726"/>
              <a:gd name="T5" fmla="*/ 425 h 476"/>
              <a:gd name="T6" fmla="*/ 700 w 726"/>
              <a:gd name="T7" fmla="*/ 425 h 476"/>
              <a:gd name="T8" fmla="*/ 725 w 726"/>
              <a:gd name="T9" fmla="*/ 425 h 476"/>
              <a:gd name="T10" fmla="*/ 700 w 726"/>
              <a:gd name="T11" fmla="*/ 300 h 476"/>
              <a:gd name="T12" fmla="*/ 600 w 726"/>
              <a:gd name="T13" fmla="*/ 250 h 476"/>
              <a:gd name="T14" fmla="*/ 600 w 726"/>
              <a:gd name="T15" fmla="*/ 150 h 476"/>
              <a:gd name="T16" fmla="*/ 475 w 726"/>
              <a:gd name="T17" fmla="*/ 175 h 476"/>
              <a:gd name="T18" fmla="*/ 400 w 726"/>
              <a:gd name="T19" fmla="*/ 150 h 476"/>
              <a:gd name="T20" fmla="*/ 300 w 726"/>
              <a:gd name="T21" fmla="*/ 150 h 476"/>
              <a:gd name="T22" fmla="*/ 175 w 726"/>
              <a:gd name="T23" fmla="*/ 150 h 476"/>
              <a:gd name="T24" fmla="*/ 249 w 726"/>
              <a:gd name="T25" fmla="*/ 75 h 476"/>
              <a:gd name="T26" fmla="*/ 275 w 726"/>
              <a:gd name="T27" fmla="*/ 75 h 476"/>
              <a:gd name="T28" fmla="*/ 300 w 726"/>
              <a:gd name="T29" fmla="*/ 0 h 476"/>
              <a:gd name="T30" fmla="*/ 249 w 726"/>
              <a:gd name="T31" fmla="*/ 25 h 476"/>
              <a:gd name="T32" fmla="*/ 175 w 726"/>
              <a:gd name="T33" fmla="*/ 50 h 476"/>
              <a:gd name="T34" fmla="*/ 125 w 726"/>
              <a:gd name="T35" fmla="*/ 100 h 476"/>
              <a:gd name="T36" fmla="*/ 100 w 726"/>
              <a:gd name="T37" fmla="*/ 150 h 476"/>
              <a:gd name="T38" fmla="*/ 0 w 726"/>
              <a:gd name="T39" fmla="*/ 175 h 476"/>
              <a:gd name="T40" fmla="*/ 75 w 726"/>
              <a:gd name="T41" fmla="*/ 250 h 476"/>
              <a:gd name="T42" fmla="*/ 75 w 726"/>
              <a:gd name="T43" fmla="*/ 325 h 476"/>
              <a:gd name="T44" fmla="*/ 25 w 726"/>
              <a:gd name="T45" fmla="*/ 425 h 476"/>
              <a:gd name="T46" fmla="*/ 75 w 726"/>
              <a:gd name="T47" fmla="*/ 425 h 476"/>
              <a:gd name="T48" fmla="*/ 175 w 726"/>
              <a:gd name="T49" fmla="*/ 400 h 476"/>
              <a:gd name="T50" fmla="*/ 275 w 726"/>
              <a:gd name="T51" fmla="*/ 350 h 476"/>
              <a:gd name="T52" fmla="*/ 349 w 726"/>
              <a:gd name="T53" fmla="*/ 275 h 476"/>
              <a:gd name="T54" fmla="*/ 400 w 726"/>
              <a:gd name="T55" fmla="*/ 350 h 476"/>
              <a:gd name="T56" fmla="*/ 400 w 726"/>
              <a:gd name="T57" fmla="*/ 475 h 476"/>
              <a:gd name="T58" fmla="*/ 425 w 726"/>
              <a:gd name="T59" fmla="*/ 475 h 476"/>
              <a:gd name="T60" fmla="*/ 475 w 726"/>
              <a:gd name="T61" fmla="*/ 450 h 476"/>
              <a:gd name="T62" fmla="*/ 600 w 726"/>
              <a:gd name="T63" fmla="*/ 375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6" h="476">
                <a:moveTo>
                  <a:pt x="600" y="375"/>
                </a:moveTo>
                <a:lnTo>
                  <a:pt x="600" y="375"/>
                </a:lnTo>
                <a:cubicBezTo>
                  <a:pt x="600" y="400"/>
                  <a:pt x="600" y="425"/>
                  <a:pt x="625" y="425"/>
                </a:cubicBezTo>
                <a:cubicBezTo>
                  <a:pt x="650" y="400"/>
                  <a:pt x="675" y="425"/>
                  <a:pt x="700" y="425"/>
                </a:cubicBezTo>
                <a:lnTo>
                  <a:pt x="725" y="425"/>
                </a:lnTo>
                <a:cubicBezTo>
                  <a:pt x="725" y="425"/>
                  <a:pt x="700" y="325"/>
                  <a:pt x="700" y="300"/>
                </a:cubicBezTo>
                <a:cubicBezTo>
                  <a:pt x="700" y="275"/>
                  <a:pt x="600" y="250"/>
                  <a:pt x="600" y="250"/>
                </a:cubicBezTo>
                <a:cubicBezTo>
                  <a:pt x="600" y="150"/>
                  <a:pt x="600" y="150"/>
                  <a:pt x="600" y="150"/>
                </a:cubicBezTo>
                <a:cubicBezTo>
                  <a:pt x="600" y="150"/>
                  <a:pt x="500" y="175"/>
                  <a:pt x="475" y="175"/>
                </a:cubicBezTo>
                <a:cubicBezTo>
                  <a:pt x="449" y="150"/>
                  <a:pt x="425" y="175"/>
                  <a:pt x="400" y="150"/>
                </a:cubicBezTo>
                <a:cubicBezTo>
                  <a:pt x="375" y="125"/>
                  <a:pt x="349" y="175"/>
                  <a:pt x="300" y="150"/>
                </a:cubicBezTo>
                <a:cubicBezTo>
                  <a:pt x="275" y="125"/>
                  <a:pt x="175" y="150"/>
                  <a:pt x="175" y="150"/>
                </a:cubicBezTo>
                <a:cubicBezTo>
                  <a:pt x="175" y="125"/>
                  <a:pt x="225" y="75"/>
                  <a:pt x="249" y="75"/>
                </a:cubicBezTo>
                <a:cubicBezTo>
                  <a:pt x="249" y="75"/>
                  <a:pt x="249" y="75"/>
                  <a:pt x="275" y="75"/>
                </a:cubicBezTo>
                <a:cubicBezTo>
                  <a:pt x="275" y="75"/>
                  <a:pt x="325" y="25"/>
                  <a:pt x="300" y="0"/>
                </a:cubicBezTo>
                <a:cubicBezTo>
                  <a:pt x="300" y="0"/>
                  <a:pt x="275" y="0"/>
                  <a:pt x="249" y="25"/>
                </a:cubicBezTo>
                <a:cubicBezTo>
                  <a:pt x="225" y="50"/>
                  <a:pt x="175" y="25"/>
                  <a:pt x="175" y="50"/>
                </a:cubicBezTo>
                <a:cubicBezTo>
                  <a:pt x="149" y="75"/>
                  <a:pt x="149" y="100"/>
                  <a:pt x="125" y="100"/>
                </a:cubicBezTo>
                <a:cubicBezTo>
                  <a:pt x="100" y="100"/>
                  <a:pt x="125" y="125"/>
                  <a:pt x="100" y="150"/>
                </a:cubicBezTo>
                <a:cubicBezTo>
                  <a:pt x="75" y="150"/>
                  <a:pt x="0" y="150"/>
                  <a:pt x="0" y="175"/>
                </a:cubicBezTo>
                <a:cubicBezTo>
                  <a:pt x="0" y="200"/>
                  <a:pt x="75" y="225"/>
                  <a:pt x="75" y="250"/>
                </a:cubicBezTo>
                <a:cubicBezTo>
                  <a:pt x="49" y="275"/>
                  <a:pt x="100" y="300"/>
                  <a:pt x="75" y="325"/>
                </a:cubicBezTo>
                <a:cubicBezTo>
                  <a:pt x="49" y="350"/>
                  <a:pt x="25" y="375"/>
                  <a:pt x="25" y="425"/>
                </a:cubicBezTo>
                <a:cubicBezTo>
                  <a:pt x="49" y="450"/>
                  <a:pt x="75" y="450"/>
                  <a:pt x="75" y="425"/>
                </a:cubicBezTo>
                <a:cubicBezTo>
                  <a:pt x="100" y="400"/>
                  <a:pt x="175" y="425"/>
                  <a:pt x="175" y="400"/>
                </a:cubicBezTo>
                <a:cubicBezTo>
                  <a:pt x="175" y="375"/>
                  <a:pt x="275" y="400"/>
                  <a:pt x="275" y="350"/>
                </a:cubicBezTo>
                <a:cubicBezTo>
                  <a:pt x="275" y="325"/>
                  <a:pt x="325" y="275"/>
                  <a:pt x="349" y="275"/>
                </a:cubicBezTo>
                <a:cubicBezTo>
                  <a:pt x="375" y="275"/>
                  <a:pt x="349" y="350"/>
                  <a:pt x="400" y="350"/>
                </a:cubicBezTo>
                <a:cubicBezTo>
                  <a:pt x="425" y="375"/>
                  <a:pt x="375" y="450"/>
                  <a:pt x="400" y="475"/>
                </a:cubicBezTo>
                <a:lnTo>
                  <a:pt x="425" y="475"/>
                </a:lnTo>
                <a:cubicBezTo>
                  <a:pt x="449" y="475"/>
                  <a:pt x="475" y="450"/>
                  <a:pt x="475" y="450"/>
                </a:cubicBezTo>
                <a:cubicBezTo>
                  <a:pt x="525" y="425"/>
                  <a:pt x="574" y="375"/>
                  <a:pt x="600" y="3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3" name="Freeform 170">
            <a:extLst>
              <a:ext uri="{FF2B5EF4-FFF2-40B4-BE49-F238E27FC236}">
                <a16:creationId xmlns:a16="http://schemas.microsoft.com/office/drawing/2014/main" id="{F9A40193-5A8E-542E-5B0B-727D734D8A54}"/>
              </a:ext>
            </a:extLst>
          </p:cNvPr>
          <p:cNvSpPr>
            <a:spLocks noChangeArrowheads="1"/>
          </p:cNvSpPr>
          <p:nvPr/>
        </p:nvSpPr>
        <p:spPr bwMode="auto">
          <a:xfrm>
            <a:off x="4479370" y="3457860"/>
            <a:ext cx="431716" cy="310779"/>
          </a:xfrm>
          <a:custGeom>
            <a:avLst/>
            <a:gdLst>
              <a:gd name="T0" fmla="*/ 1301 w 1352"/>
              <a:gd name="T1" fmla="*/ 150 h 976"/>
              <a:gd name="T2" fmla="*/ 1301 w 1352"/>
              <a:gd name="T3" fmla="*/ 150 h 976"/>
              <a:gd name="T4" fmla="*/ 1276 w 1352"/>
              <a:gd name="T5" fmla="*/ 100 h 976"/>
              <a:gd name="T6" fmla="*/ 1151 w 1352"/>
              <a:gd name="T7" fmla="*/ 175 h 976"/>
              <a:gd name="T8" fmla="*/ 1125 w 1352"/>
              <a:gd name="T9" fmla="*/ 200 h 976"/>
              <a:gd name="T10" fmla="*/ 1076 w 1352"/>
              <a:gd name="T11" fmla="*/ 200 h 976"/>
              <a:gd name="T12" fmla="*/ 1076 w 1352"/>
              <a:gd name="T13" fmla="*/ 75 h 976"/>
              <a:gd name="T14" fmla="*/ 1025 w 1352"/>
              <a:gd name="T15" fmla="*/ 0 h 976"/>
              <a:gd name="T16" fmla="*/ 951 w 1352"/>
              <a:gd name="T17" fmla="*/ 75 h 976"/>
              <a:gd name="T18" fmla="*/ 851 w 1352"/>
              <a:gd name="T19" fmla="*/ 125 h 976"/>
              <a:gd name="T20" fmla="*/ 751 w 1352"/>
              <a:gd name="T21" fmla="*/ 150 h 976"/>
              <a:gd name="T22" fmla="*/ 676 w 1352"/>
              <a:gd name="T23" fmla="*/ 125 h 976"/>
              <a:gd name="T24" fmla="*/ 601 w 1352"/>
              <a:gd name="T25" fmla="*/ 100 h 976"/>
              <a:gd name="T26" fmla="*/ 525 w 1352"/>
              <a:gd name="T27" fmla="*/ 100 h 976"/>
              <a:gd name="T28" fmla="*/ 451 w 1352"/>
              <a:gd name="T29" fmla="*/ 150 h 976"/>
              <a:gd name="T30" fmla="*/ 401 w 1352"/>
              <a:gd name="T31" fmla="*/ 225 h 976"/>
              <a:gd name="T32" fmla="*/ 251 w 1352"/>
              <a:gd name="T33" fmla="*/ 300 h 976"/>
              <a:gd name="T34" fmla="*/ 176 w 1352"/>
              <a:gd name="T35" fmla="*/ 350 h 976"/>
              <a:gd name="T36" fmla="*/ 100 w 1352"/>
              <a:gd name="T37" fmla="*/ 325 h 976"/>
              <a:gd name="T38" fmla="*/ 76 w 1352"/>
              <a:gd name="T39" fmla="*/ 375 h 976"/>
              <a:gd name="T40" fmla="*/ 25 w 1352"/>
              <a:gd name="T41" fmla="*/ 450 h 976"/>
              <a:gd name="T42" fmla="*/ 25 w 1352"/>
              <a:gd name="T43" fmla="*/ 525 h 976"/>
              <a:gd name="T44" fmla="*/ 25 w 1352"/>
              <a:gd name="T45" fmla="*/ 625 h 976"/>
              <a:gd name="T46" fmla="*/ 25 w 1352"/>
              <a:gd name="T47" fmla="*/ 725 h 976"/>
              <a:gd name="T48" fmla="*/ 125 w 1352"/>
              <a:gd name="T49" fmla="*/ 775 h 976"/>
              <a:gd name="T50" fmla="*/ 25 w 1352"/>
              <a:gd name="T51" fmla="*/ 900 h 976"/>
              <a:gd name="T52" fmla="*/ 51 w 1352"/>
              <a:gd name="T53" fmla="*/ 950 h 976"/>
              <a:gd name="T54" fmla="*/ 200 w 1352"/>
              <a:gd name="T55" fmla="*/ 950 h 976"/>
              <a:gd name="T56" fmla="*/ 576 w 1352"/>
              <a:gd name="T57" fmla="*/ 900 h 976"/>
              <a:gd name="T58" fmla="*/ 551 w 1352"/>
              <a:gd name="T59" fmla="*/ 826 h 976"/>
              <a:gd name="T60" fmla="*/ 625 w 1352"/>
              <a:gd name="T61" fmla="*/ 775 h 976"/>
              <a:gd name="T62" fmla="*/ 701 w 1352"/>
              <a:gd name="T63" fmla="*/ 750 h 976"/>
              <a:gd name="T64" fmla="*/ 801 w 1352"/>
              <a:gd name="T65" fmla="*/ 725 h 976"/>
              <a:gd name="T66" fmla="*/ 851 w 1352"/>
              <a:gd name="T67" fmla="*/ 675 h 976"/>
              <a:gd name="T68" fmla="*/ 876 w 1352"/>
              <a:gd name="T69" fmla="*/ 575 h 976"/>
              <a:gd name="T70" fmla="*/ 951 w 1352"/>
              <a:gd name="T71" fmla="*/ 550 h 976"/>
              <a:gd name="T72" fmla="*/ 901 w 1352"/>
              <a:gd name="T73" fmla="*/ 475 h 976"/>
              <a:gd name="T74" fmla="*/ 1025 w 1352"/>
              <a:gd name="T75" fmla="*/ 475 h 976"/>
              <a:gd name="T76" fmla="*/ 1025 w 1352"/>
              <a:gd name="T77" fmla="*/ 400 h 976"/>
              <a:gd name="T78" fmla="*/ 1076 w 1352"/>
              <a:gd name="T79" fmla="*/ 350 h 976"/>
              <a:gd name="T80" fmla="*/ 1051 w 1352"/>
              <a:gd name="T81" fmla="*/ 275 h 976"/>
              <a:gd name="T82" fmla="*/ 1076 w 1352"/>
              <a:gd name="T83" fmla="*/ 250 h 976"/>
              <a:gd name="T84" fmla="*/ 1076 w 1352"/>
              <a:gd name="T85" fmla="*/ 225 h 976"/>
              <a:gd name="T86" fmla="*/ 1125 w 1352"/>
              <a:gd name="T87" fmla="*/ 225 h 976"/>
              <a:gd name="T88" fmla="*/ 1250 w 1352"/>
              <a:gd name="T89" fmla="*/ 175 h 976"/>
              <a:gd name="T90" fmla="*/ 1351 w 1352"/>
              <a:gd name="T91" fmla="*/ 150 h 976"/>
              <a:gd name="T92" fmla="*/ 1301 w 1352"/>
              <a:gd name="T93" fmla="*/ 15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2" h="976">
                <a:moveTo>
                  <a:pt x="1301" y="150"/>
                </a:moveTo>
                <a:lnTo>
                  <a:pt x="1301" y="150"/>
                </a:lnTo>
                <a:cubicBezTo>
                  <a:pt x="1276" y="150"/>
                  <a:pt x="1276" y="125"/>
                  <a:pt x="1276" y="100"/>
                </a:cubicBezTo>
                <a:cubicBezTo>
                  <a:pt x="1250" y="100"/>
                  <a:pt x="1201" y="150"/>
                  <a:pt x="1151" y="175"/>
                </a:cubicBezTo>
                <a:lnTo>
                  <a:pt x="1125" y="200"/>
                </a:lnTo>
                <a:cubicBezTo>
                  <a:pt x="1101" y="200"/>
                  <a:pt x="1076" y="200"/>
                  <a:pt x="1076" y="200"/>
                </a:cubicBezTo>
                <a:cubicBezTo>
                  <a:pt x="1051" y="175"/>
                  <a:pt x="1101" y="100"/>
                  <a:pt x="1076" y="75"/>
                </a:cubicBezTo>
                <a:cubicBezTo>
                  <a:pt x="1025" y="75"/>
                  <a:pt x="1051" y="0"/>
                  <a:pt x="1025" y="0"/>
                </a:cubicBezTo>
                <a:cubicBezTo>
                  <a:pt x="1001" y="0"/>
                  <a:pt x="951" y="50"/>
                  <a:pt x="951" y="75"/>
                </a:cubicBezTo>
                <a:cubicBezTo>
                  <a:pt x="951" y="125"/>
                  <a:pt x="851" y="100"/>
                  <a:pt x="851" y="125"/>
                </a:cubicBezTo>
                <a:cubicBezTo>
                  <a:pt x="851" y="150"/>
                  <a:pt x="776" y="125"/>
                  <a:pt x="751" y="150"/>
                </a:cubicBezTo>
                <a:cubicBezTo>
                  <a:pt x="751" y="175"/>
                  <a:pt x="701" y="125"/>
                  <a:pt x="676" y="125"/>
                </a:cubicBezTo>
                <a:cubicBezTo>
                  <a:pt x="651" y="125"/>
                  <a:pt x="625" y="100"/>
                  <a:pt x="601" y="100"/>
                </a:cubicBezTo>
                <a:cubicBezTo>
                  <a:pt x="576" y="125"/>
                  <a:pt x="551" y="100"/>
                  <a:pt x="525" y="100"/>
                </a:cubicBezTo>
                <a:cubicBezTo>
                  <a:pt x="501" y="100"/>
                  <a:pt x="476" y="150"/>
                  <a:pt x="451" y="150"/>
                </a:cubicBezTo>
                <a:cubicBezTo>
                  <a:pt x="425" y="125"/>
                  <a:pt x="401" y="200"/>
                  <a:pt x="401" y="225"/>
                </a:cubicBezTo>
                <a:cubicBezTo>
                  <a:pt x="376" y="275"/>
                  <a:pt x="251" y="275"/>
                  <a:pt x="251" y="300"/>
                </a:cubicBezTo>
                <a:cubicBezTo>
                  <a:pt x="251" y="350"/>
                  <a:pt x="176" y="375"/>
                  <a:pt x="176" y="350"/>
                </a:cubicBezTo>
                <a:cubicBezTo>
                  <a:pt x="176" y="325"/>
                  <a:pt x="125" y="325"/>
                  <a:pt x="100" y="325"/>
                </a:cubicBezTo>
                <a:cubicBezTo>
                  <a:pt x="100" y="325"/>
                  <a:pt x="51" y="325"/>
                  <a:pt x="76" y="375"/>
                </a:cubicBezTo>
                <a:cubicBezTo>
                  <a:pt x="76" y="400"/>
                  <a:pt x="25" y="425"/>
                  <a:pt x="25" y="450"/>
                </a:cubicBezTo>
                <a:cubicBezTo>
                  <a:pt x="25" y="450"/>
                  <a:pt x="0" y="500"/>
                  <a:pt x="25" y="525"/>
                </a:cubicBezTo>
                <a:cubicBezTo>
                  <a:pt x="25" y="550"/>
                  <a:pt x="0" y="575"/>
                  <a:pt x="25" y="625"/>
                </a:cubicBezTo>
                <a:cubicBezTo>
                  <a:pt x="25" y="650"/>
                  <a:pt x="25" y="725"/>
                  <a:pt x="25" y="725"/>
                </a:cubicBezTo>
                <a:cubicBezTo>
                  <a:pt x="51" y="750"/>
                  <a:pt x="100" y="725"/>
                  <a:pt x="125" y="775"/>
                </a:cubicBezTo>
                <a:cubicBezTo>
                  <a:pt x="151" y="826"/>
                  <a:pt x="25" y="900"/>
                  <a:pt x="25" y="900"/>
                </a:cubicBezTo>
                <a:cubicBezTo>
                  <a:pt x="25" y="926"/>
                  <a:pt x="25" y="926"/>
                  <a:pt x="51" y="950"/>
                </a:cubicBezTo>
                <a:cubicBezTo>
                  <a:pt x="100" y="950"/>
                  <a:pt x="151" y="950"/>
                  <a:pt x="200" y="950"/>
                </a:cubicBezTo>
                <a:cubicBezTo>
                  <a:pt x="251" y="975"/>
                  <a:pt x="576" y="926"/>
                  <a:pt x="576" y="900"/>
                </a:cubicBezTo>
                <a:lnTo>
                  <a:pt x="551" y="826"/>
                </a:lnTo>
                <a:cubicBezTo>
                  <a:pt x="576" y="800"/>
                  <a:pt x="601" y="775"/>
                  <a:pt x="625" y="775"/>
                </a:cubicBezTo>
                <a:cubicBezTo>
                  <a:pt x="676" y="775"/>
                  <a:pt x="701" y="775"/>
                  <a:pt x="701" y="750"/>
                </a:cubicBezTo>
                <a:cubicBezTo>
                  <a:pt x="701" y="725"/>
                  <a:pt x="801" y="700"/>
                  <a:pt x="801" y="725"/>
                </a:cubicBezTo>
                <a:cubicBezTo>
                  <a:pt x="801" y="750"/>
                  <a:pt x="851" y="725"/>
                  <a:pt x="851" y="675"/>
                </a:cubicBezTo>
                <a:cubicBezTo>
                  <a:pt x="851" y="625"/>
                  <a:pt x="851" y="575"/>
                  <a:pt x="876" y="575"/>
                </a:cubicBezTo>
                <a:cubicBezTo>
                  <a:pt x="901" y="575"/>
                  <a:pt x="951" y="550"/>
                  <a:pt x="951" y="550"/>
                </a:cubicBezTo>
                <a:cubicBezTo>
                  <a:pt x="925" y="525"/>
                  <a:pt x="901" y="500"/>
                  <a:pt x="901" y="475"/>
                </a:cubicBezTo>
                <a:cubicBezTo>
                  <a:pt x="925" y="475"/>
                  <a:pt x="1001" y="500"/>
                  <a:pt x="1025" y="475"/>
                </a:cubicBezTo>
                <a:cubicBezTo>
                  <a:pt x="1025" y="450"/>
                  <a:pt x="1001" y="425"/>
                  <a:pt x="1025" y="400"/>
                </a:cubicBezTo>
                <a:cubicBezTo>
                  <a:pt x="1025" y="375"/>
                  <a:pt x="1076" y="375"/>
                  <a:pt x="1076" y="350"/>
                </a:cubicBezTo>
                <a:cubicBezTo>
                  <a:pt x="1076" y="325"/>
                  <a:pt x="1076" y="300"/>
                  <a:pt x="1051" y="275"/>
                </a:cubicBezTo>
                <a:cubicBezTo>
                  <a:pt x="1025" y="275"/>
                  <a:pt x="1051" y="250"/>
                  <a:pt x="1076" y="250"/>
                </a:cubicBezTo>
                <a:cubicBezTo>
                  <a:pt x="1076" y="225"/>
                  <a:pt x="1076" y="225"/>
                  <a:pt x="1076" y="225"/>
                </a:cubicBezTo>
                <a:cubicBezTo>
                  <a:pt x="1101" y="225"/>
                  <a:pt x="1125" y="225"/>
                  <a:pt x="1125" y="225"/>
                </a:cubicBezTo>
                <a:cubicBezTo>
                  <a:pt x="1151" y="200"/>
                  <a:pt x="1226" y="175"/>
                  <a:pt x="1250" y="175"/>
                </a:cubicBezTo>
                <a:cubicBezTo>
                  <a:pt x="1276" y="175"/>
                  <a:pt x="1326" y="175"/>
                  <a:pt x="1351" y="150"/>
                </a:cubicBezTo>
                <a:cubicBezTo>
                  <a:pt x="1326" y="150"/>
                  <a:pt x="1301" y="125"/>
                  <a:pt x="1301"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4" name="Freeform 171">
            <a:extLst>
              <a:ext uri="{FF2B5EF4-FFF2-40B4-BE49-F238E27FC236}">
                <a16:creationId xmlns:a16="http://schemas.microsoft.com/office/drawing/2014/main" id="{379382DA-3296-8A4E-B66E-84204849220F}"/>
              </a:ext>
            </a:extLst>
          </p:cNvPr>
          <p:cNvSpPr>
            <a:spLocks noChangeArrowheads="1"/>
          </p:cNvSpPr>
          <p:nvPr/>
        </p:nvSpPr>
        <p:spPr bwMode="auto">
          <a:xfrm>
            <a:off x="4496246" y="3505673"/>
            <a:ext cx="494997" cy="445777"/>
          </a:xfrm>
          <a:custGeom>
            <a:avLst/>
            <a:gdLst>
              <a:gd name="T0" fmla="*/ 1475 w 1551"/>
              <a:gd name="T1" fmla="*/ 150 h 1400"/>
              <a:gd name="T2" fmla="*/ 1350 w 1551"/>
              <a:gd name="T3" fmla="*/ 0 h 1400"/>
              <a:gd name="T4" fmla="*/ 1300 w 1551"/>
              <a:gd name="T5" fmla="*/ 0 h 1400"/>
              <a:gd name="T6" fmla="*/ 1074 w 1551"/>
              <a:gd name="T7" fmla="*/ 75 h 1400"/>
              <a:gd name="T8" fmla="*/ 1025 w 1551"/>
              <a:gd name="T9" fmla="*/ 100 h 1400"/>
              <a:gd name="T10" fmla="*/ 1025 w 1551"/>
              <a:gd name="T11" fmla="*/ 200 h 1400"/>
              <a:gd name="T12" fmla="*/ 974 w 1551"/>
              <a:gd name="T13" fmla="*/ 325 h 1400"/>
              <a:gd name="T14" fmla="*/ 900 w 1551"/>
              <a:gd name="T15" fmla="*/ 400 h 1400"/>
              <a:gd name="T16" fmla="*/ 800 w 1551"/>
              <a:gd name="T17" fmla="*/ 525 h 1400"/>
              <a:gd name="T18" fmla="*/ 650 w 1551"/>
              <a:gd name="T19" fmla="*/ 600 h 1400"/>
              <a:gd name="T20" fmla="*/ 500 w 1551"/>
              <a:gd name="T21" fmla="*/ 676 h 1400"/>
              <a:gd name="T22" fmla="*/ 149 w 1551"/>
              <a:gd name="T23" fmla="*/ 800 h 1400"/>
              <a:gd name="T24" fmla="*/ 49 w 1551"/>
              <a:gd name="T25" fmla="*/ 850 h 1400"/>
              <a:gd name="T26" fmla="*/ 174 w 1551"/>
              <a:gd name="T27" fmla="*/ 1025 h 1400"/>
              <a:gd name="T28" fmla="*/ 125 w 1551"/>
              <a:gd name="T29" fmla="*/ 1125 h 1400"/>
              <a:gd name="T30" fmla="*/ 74 w 1551"/>
              <a:gd name="T31" fmla="*/ 1249 h 1400"/>
              <a:gd name="T32" fmla="*/ 300 w 1551"/>
              <a:gd name="T33" fmla="*/ 1225 h 1400"/>
              <a:gd name="T34" fmla="*/ 525 w 1551"/>
              <a:gd name="T35" fmla="*/ 1249 h 1400"/>
              <a:gd name="T36" fmla="*/ 600 w 1551"/>
              <a:gd name="T37" fmla="*/ 1349 h 1400"/>
              <a:gd name="T38" fmla="*/ 700 w 1551"/>
              <a:gd name="T39" fmla="*/ 1399 h 1400"/>
              <a:gd name="T40" fmla="*/ 774 w 1551"/>
              <a:gd name="T41" fmla="*/ 1324 h 1400"/>
              <a:gd name="T42" fmla="*/ 950 w 1551"/>
              <a:gd name="T43" fmla="*/ 1324 h 1400"/>
              <a:gd name="T44" fmla="*/ 874 w 1551"/>
              <a:gd name="T45" fmla="*/ 1125 h 1400"/>
              <a:gd name="T46" fmla="*/ 874 w 1551"/>
              <a:gd name="T47" fmla="*/ 976 h 1400"/>
              <a:gd name="T48" fmla="*/ 1025 w 1551"/>
              <a:gd name="T49" fmla="*/ 976 h 1400"/>
              <a:gd name="T50" fmla="*/ 1150 w 1551"/>
              <a:gd name="T51" fmla="*/ 850 h 1400"/>
              <a:gd name="T52" fmla="*/ 1250 w 1551"/>
              <a:gd name="T53" fmla="*/ 725 h 1400"/>
              <a:gd name="T54" fmla="*/ 1300 w 1551"/>
              <a:gd name="T55" fmla="*/ 600 h 1400"/>
              <a:gd name="T56" fmla="*/ 1300 w 1551"/>
              <a:gd name="T57" fmla="*/ 475 h 1400"/>
              <a:gd name="T58" fmla="*/ 1225 w 1551"/>
              <a:gd name="T59" fmla="*/ 300 h 1400"/>
              <a:gd name="T60" fmla="*/ 1425 w 1551"/>
              <a:gd name="T61" fmla="*/ 275 h 1400"/>
              <a:gd name="T62" fmla="*/ 1550 w 1551"/>
              <a:gd name="T63" fmla="*/ 175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51" h="1400">
                <a:moveTo>
                  <a:pt x="1475" y="150"/>
                </a:moveTo>
                <a:lnTo>
                  <a:pt x="1475" y="150"/>
                </a:lnTo>
                <a:cubicBezTo>
                  <a:pt x="1425" y="125"/>
                  <a:pt x="1425" y="75"/>
                  <a:pt x="1425" y="75"/>
                </a:cubicBezTo>
                <a:cubicBezTo>
                  <a:pt x="1425" y="50"/>
                  <a:pt x="1375" y="25"/>
                  <a:pt x="1350" y="0"/>
                </a:cubicBezTo>
                <a:lnTo>
                  <a:pt x="1325" y="0"/>
                </a:lnTo>
                <a:cubicBezTo>
                  <a:pt x="1300" y="0"/>
                  <a:pt x="1300" y="0"/>
                  <a:pt x="1300" y="0"/>
                </a:cubicBezTo>
                <a:cubicBezTo>
                  <a:pt x="1275" y="25"/>
                  <a:pt x="1225" y="25"/>
                  <a:pt x="1199" y="25"/>
                </a:cubicBezTo>
                <a:cubicBezTo>
                  <a:pt x="1175" y="25"/>
                  <a:pt x="1100" y="50"/>
                  <a:pt x="1074" y="75"/>
                </a:cubicBezTo>
                <a:cubicBezTo>
                  <a:pt x="1074" y="75"/>
                  <a:pt x="1050" y="75"/>
                  <a:pt x="1025" y="75"/>
                </a:cubicBezTo>
                <a:cubicBezTo>
                  <a:pt x="1025" y="75"/>
                  <a:pt x="1025" y="75"/>
                  <a:pt x="1025" y="100"/>
                </a:cubicBezTo>
                <a:cubicBezTo>
                  <a:pt x="1000" y="100"/>
                  <a:pt x="974" y="125"/>
                  <a:pt x="1000" y="125"/>
                </a:cubicBezTo>
                <a:cubicBezTo>
                  <a:pt x="1025" y="150"/>
                  <a:pt x="1025" y="175"/>
                  <a:pt x="1025" y="200"/>
                </a:cubicBezTo>
                <a:cubicBezTo>
                  <a:pt x="1025" y="225"/>
                  <a:pt x="974" y="225"/>
                  <a:pt x="974" y="250"/>
                </a:cubicBezTo>
                <a:cubicBezTo>
                  <a:pt x="950" y="275"/>
                  <a:pt x="974" y="300"/>
                  <a:pt x="974" y="325"/>
                </a:cubicBezTo>
                <a:cubicBezTo>
                  <a:pt x="950" y="350"/>
                  <a:pt x="874" y="325"/>
                  <a:pt x="850" y="325"/>
                </a:cubicBezTo>
                <a:cubicBezTo>
                  <a:pt x="850" y="350"/>
                  <a:pt x="874" y="375"/>
                  <a:pt x="900" y="400"/>
                </a:cubicBezTo>
                <a:cubicBezTo>
                  <a:pt x="900" y="400"/>
                  <a:pt x="850" y="425"/>
                  <a:pt x="825" y="425"/>
                </a:cubicBezTo>
                <a:cubicBezTo>
                  <a:pt x="800" y="425"/>
                  <a:pt x="800" y="475"/>
                  <a:pt x="800" y="525"/>
                </a:cubicBezTo>
                <a:cubicBezTo>
                  <a:pt x="800" y="575"/>
                  <a:pt x="750" y="600"/>
                  <a:pt x="750" y="575"/>
                </a:cubicBezTo>
                <a:cubicBezTo>
                  <a:pt x="750" y="550"/>
                  <a:pt x="650" y="575"/>
                  <a:pt x="650" y="600"/>
                </a:cubicBezTo>
                <a:cubicBezTo>
                  <a:pt x="650" y="625"/>
                  <a:pt x="625" y="625"/>
                  <a:pt x="574" y="625"/>
                </a:cubicBezTo>
                <a:cubicBezTo>
                  <a:pt x="550" y="625"/>
                  <a:pt x="525" y="650"/>
                  <a:pt x="500" y="676"/>
                </a:cubicBezTo>
                <a:lnTo>
                  <a:pt x="525" y="750"/>
                </a:lnTo>
                <a:cubicBezTo>
                  <a:pt x="525" y="776"/>
                  <a:pt x="200" y="825"/>
                  <a:pt x="149" y="800"/>
                </a:cubicBezTo>
                <a:cubicBezTo>
                  <a:pt x="100" y="800"/>
                  <a:pt x="49" y="800"/>
                  <a:pt x="0" y="800"/>
                </a:cubicBezTo>
                <a:cubicBezTo>
                  <a:pt x="25" y="800"/>
                  <a:pt x="25" y="825"/>
                  <a:pt x="49" y="850"/>
                </a:cubicBezTo>
                <a:cubicBezTo>
                  <a:pt x="49" y="876"/>
                  <a:pt x="100" y="900"/>
                  <a:pt x="149" y="925"/>
                </a:cubicBezTo>
                <a:cubicBezTo>
                  <a:pt x="174" y="950"/>
                  <a:pt x="149" y="1025"/>
                  <a:pt x="174" y="1025"/>
                </a:cubicBezTo>
                <a:cubicBezTo>
                  <a:pt x="200" y="1025"/>
                  <a:pt x="225" y="1100"/>
                  <a:pt x="200" y="1100"/>
                </a:cubicBezTo>
                <a:cubicBezTo>
                  <a:pt x="174" y="1100"/>
                  <a:pt x="149" y="1100"/>
                  <a:pt x="125" y="1125"/>
                </a:cubicBezTo>
                <a:cubicBezTo>
                  <a:pt x="100" y="1150"/>
                  <a:pt x="49" y="1176"/>
                  <a:pt x="49" y="1225"/>
                </a:cubicBezTo>
                <a:cubicBezTo>
                  <a:pt x="49" y="1225"/>
                  <a:pt x="49" y="1225"/>
                  <a:pt x="74" y="1249"/>
                </a:cubicBezTo>
                <a:cubicBezTo>
                  <a:pt x="149" y="1249"/>
                  <a:pt x="225" y="1249"/>
                  <a:pt x="250" y="1225"/>
                </a:cubicBezTo>
                <a:cubicBezTo>
                  <a:pt x="250" y="1225"/>
                  <a:pt x="300" y="1200"/>
                  <a:pt x="300" y="1225"/>
                </a:cubicBezTo>
                <a:cubicBezTo>
                  <a:pt x="325" y="1225"/>
                  <a:pt x="425" y="1249"/>
                  <a:pt x="450" y="1225"/>
                </a:cubicBezTo>
                <a:cubicBezTo>
                  <a:pt x="500" y="1200"/>
                  <a:pt x="525" y="1225"/>
                  <a:pt x="525" y="1249"/>
                </a:cubicBezTo>
                <a:cubicBezTo>
                  <a:pt x="550" y="1274"/>
                  <a:pt x="550" y="1274"/>
                  <a:pt x="574" y="1299"/>
                </a:cubicBezTo>
                <a:cubicBezTo>
                  <a:pt x="600" y="1299"/>
                  <a:pt x="574" y="1324"/>
                  <a:pt x="600" y="1349"/>
                </a:cubicBezTo>
                <a:cubicBezTo>
                  <a:pt x="625" y="1375"/>
                  <a:pt x="650" y="1375"/>
                  <a:pt x="674" y="1399"/>
                </a:cubicBezTo>
                <a:lnTo>
                  <a:pt x="700" y="1399"/>
                </a:lnTo>
                <a:lnTo>
                  <a:pt x="700" y="1399"/>
                </a:lnTo>
                <a:cubicBezTo>
                  <a:pt x="725" y="1375"/>
                  <a:pt x="725" y="1324"/>
                  <a:pt x="774" y="1324"/>
                </a:cubicBezTo>
                <a:cubicBezTo>
                  <a:pt x="850" y="1349"/>
                  <a:pt x="850" y="1324"/>
                  <a:pt x="874" y="1324"/>
                </a:cubicBezTo>
                <a:cubicBezTo>
                  <a:pt x="900" y="1349"/>
                  <a:pt x="925" y="1324"/>
                  <a:pt x="950" y="1324"/>
                </a:cubicBezTo>
                <a:cubicBezTo>
                  <a:pt x="950" y="1299"/>
                  <a:pt x="925" y="1249"/>
                  <a:pt x="925" y="1225"/>
                </a:cubicBezTo>
                <a:cubicBezTo>
                  <a:pt x="900" y="1200"/>
                  <a:pt x="874" y="1176"/>
                  <a:pt x="874" y="1125"/>
                </a:cubicBezTo>
                <a:cubicBezTo>
                  <a:pt x="874" y="1100"/>
                  <a:pt x="825" y="1100"/>
                  <a:pt x="825" y="1076"/>
                </a:cubicBezTo>
                <a:cubicBezTo>
                  <a:pt x="825" y="1025"/>
                  <a:pt x="874" y="976"/>
                  <a:pt x="874" y="976"/>
                </a:cubicBezTo>
                <a:cubicBezTo>
                  <a:pt x="900" y="976"/>
                  <a:pt x="950" y="1000"/>
                  <a:pt x="950" y="976"/>
                </a:cubicBezTo>
                <a:cubicBezTo>
                  <a:pt x="974" y="950"/>
                  <a:pt x="1000" y="976"/>
                  <a:pt x="1025" y="976"/>
                </a:cubicBezTo>
                <a:cubicBezTo>
                  <a:pt x="1025" y="976"/>
                  <a:pt x="1074" y="950"/>
                  <a:pt x="1074" y="900"/>
                </a:cubicBezTo>
                <a:cubicBezTo>
                  <a:pt x="1074" y="876"/>
                  <a:pt x="1125" y="876"/>
                  <a:pt x="1150" y="850"/>
                </a:cubicBezTo>
                <a:cubicBezTo>
                  <a:pt x="1150" y="850"/>
                  <a:pt x="1175" y="776"/>
                  <a:pt x="1175" y="750"/>
                </a:cubicBezTo>
                <a:cubicBezTo>
                  <a:pt x="1199" y="750"/>
                  <a:pt x="1250" y="750"/>
                  <a:pt x="1250" y="725"/>
                </a:cubicBezTo>
                <a:cubicBezTo>
                  <a:pt x="1250" y="676"/>
                  <a:pt x="1250" y="676"/>
                  <a:pt x="1275" y="676"/>
                </a:cubicBezTo>
                <a:cubicBezTo>
                  <a:pt x="1300" y="650"/>
                  <a:pt x="1300" y="625"/>
                  <a:pt x="1300" y="600"/>
                </a:cubicBezTo>
                <a:cubicBezTo>
                  <a:pt x="1300" y="575"/>
                  <a:pt x="1325" y="525"/>
                  <a:pt x="1350" y="525"/>
                </a:cubicBezTo>
                <a:cubicBezTo>
                  <a:pt x="1375" y="525"/>
                  <a:pt x="1350" y="475"/>
                  <a:pt x="1300" y="475"/>
                </a:cubicBezTo>
                <a:cubicBezTo>
                  <a:pt x="1275" y="500"/>
                  <a:pt x="1250" y="400"/>
                  <a:pt x="1250" y="400"/>
                </a:cubicBezTo>
                <a:cubicBezTo>
                  <a:pt x="1250" y="400"/>
                  <a:pt x="1250" y="325"/>
                  <a:pt x="1225" y="300"/>
                </a:cubicBezTo>
                <a:cubicBezTo>
                  <a:pt x="1225" y="300"/>
                  <a:pt x="1250" y="250"/>
                  <a:pt x="1275" y="250"/>
                </a:cubicBezTo>
                <a:cubicBezTo>
                  <a:pt x="1325" y="250"/>
                  <a:pt x="1399" y="300"/>
                  <a:pt x="1425" y="275"/>
                </a:cubicBezTo>
                <a:cubicBezTo>
                  <a:pt x="1450" y="250"/>
                  <a:pt x="1500" y="250"/>
                  <a:pt x="1525" y="250"/>
                </a:cubicBezTo>
                <a:cubicBezTo>
                  <a:pt x="1525" y="225"/>
                  <a:pt x="1550" y="200"/>
                  <a:pt x="1550" y="175"/>
                </a:cubicBezTo>
                <a:cubicBezTo>
                  <a:pt x="1525" y="175"/>
                  <a:pt x="1500" y="150"/>
                  <a:pt x="147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 name="Freeform 172">
            <a:extLst>
              <a:ext uri="{FF2B5EF4-FFF2-40B4-BE49-F238E27FC236}">
                <a16:creationId xmlns:a16="http://schemas.microsoft.com/office/drawing/2014/main" id="{E031820D-98CF-4E7B-036A-300A86B36E3D}"/>
              </a:ext>
            </a:extLst>
          </p:cNvPr>
          <p:cNvSpPr>
            <a:spLocks noChangeArrowheads="1"/>
          </p:cNvSpPr>
          <p:nvPr/>
        </p:nvSpPr>
        <p:spPr bwMode="auto">
          <a:xfrm>
            <a:off x="5484832" y="4502698"/>
            <a:ext cx="1379523" cy="502028"/>
          </a:xfrm>
          <a:custGeom>
            <a:avLst/>
            <a:gdLst>
              <a:gd name="T0" fmla="*/ 374 w 4326"/>
              <a:gd name="T1" fmla="*/ 724 h 1576"/>
              <a:gd name="T2" fmla="*/ 1225 w 4326"/>
              <a:gd name="T3" fmla="*/ 849 h 1576"/>
              <a:gd name="T4" fmla="*/ 200 w 4326"/>
              <a:gd name="T5" fmla="*/ 424 h 1576"/>
              <a:gd name="T6" fmla="*/ 200 w 4326"/>
              <a:gd name="T7" fmla="*/ 424 h 1576"/>
              <a:gd name="T8" fmla="*/ 2325 w 4326"/>
              <a:gd name="T9" fmla="*/ 1000 h 1576"/>
              <a:gd name="T10" fmla="*/ 2350 w 4326"/>
              <a:gd name="T11" fmla="*/ 849 h 1576"/>
              <a:gd name="T12" fmla="*/ 2550 w 4326"/>
              <a:gd name="T13" fmla="*/ 1000 h 1576"/>
              <a:gd name="T14" fmla="*/ 2500 w 4326"/>
              <a:gd name="T15" fmla="*/ 724 h 1576"/>
              <a:gd name="T16" fmla="*/ 2350 w 4326"/>
              <a:gd name="T17" fmla="*/ 600 h 1576"/>
              <a:gd name="T18" fmla="*/ 2725 w 4326"/>
              <a:gd name="T19" fmla="*/ 475 h 1576"/>
              <a:gd name="T20" fmla="*/ 2300 w 4326"/>
              <a:gd name="T21" fmla="*/ 624 h 1576"/>
              <a:gd name="T22" fmla="*/ 1025 w 4326"/>
              <a:gd name="T23" fmla="*/ 975 h 1576"/>
              <a:gd name="T24" fmla="*/ 1074 w 4326"/>
              <a:gd name="T25" fmla="*/ 849 h 1576"/>
              <a:gd name="T26" fmla="*/ 974 w 4326"/>
              <a:gd name="T27" fmla="*/ 775 h 1576"/>
              <a:gd name="T28" fmla="*/ 900 w 4326"/>
              <a:gd name="T29" fmla="*/ 750 h 1576"/>
              <a:gd name="T30" fmla="*/ 749 w 4326"/>
              <a:gd name="T31" fmla="*/ 500 h 1576"/>
              <a:gd name="T32" fmla="*/ 600 w 4326"/>
              <a:gd name="T33" fmla="*/ 400 h 1576"/>
              <a:gd name="T34" fmla="*/ 274 w 4326"/>
              <a:gd name="T35" fmla="*/ 150 h 1576"/>
              <a:gd name="T36" fmla="*/ 149 w 4326"/>
              <a:gd name="T37" fmla="*/ 224 h 1576"/>
              <a:gd name="T38" fmla="*/ 524 w 4326"/>
              <a:gd name="T39" fmla="*/ 750 h 1576"/>
              <a:gd name="T40" fmla="*/ 874 w 4326"/>
              <a:gd name="T41" fmla="*/ 1125 h 1576"/>
              <a:gd name="T42" fmla="*/ 3150 w 4326"/>
              <a:gd name="T43" fmla="*/ 524 h 1576"/>
              <a:gd name="T44" fmla="*/ 3125 w 4326"/>
              <a:gd name="T45" fmla="*/ 450 h 1576"/>
              <a:gd name="T46" fmla="*/ 3150 w 4326"/>
              <a:gd name="T47" fmla="*/ 524 h 1576"/>
              <a:gd name="T48" fmla="*/ 3025 w 4326"/>
              <a:gd name="T49" fmla="*/ 900 h 1576"/>
              <a:gd name="T50" fmla="*/ 2700 w 4326"/>
              <a:gd name="T51" fmla="*/ 1350 h 1576"/>
              <a:gd name="T52" fmla="*/ 2475 w 4326"/>
              <a:gd name="T53" fmla="*/ 1425 h 1576"/>
              <a:gd name="T54" fmla="*/ 3275 w 4326"/>
              <a:gd name="T55" fmla="*/ 849 h 1576"/>
              <a:gd name="T56" fmla="*/ 3225 w 4326"/>
              <a:gd name="T57" fmla="*/ 900 h 1576"/>
              <a:gd name="T58" fmla="*/ 1825 w 4326"/>
              <a:gd name="T59" fmla="*/ 1325 h 1576"/>
              <a:gd name="T60" fmla="*/ 1750 w 4326"/>
              <a:gd name="T61" fmla="*/ 1225 h 1576"/>
              <a:gd name="T62" fmla="*/ 1249 w 4326"/>
              <a:gd name="T63" fmla="*/ 1150 h 1576"/>
              <a:gd name="T64" fmla="*/ 1049 w 4326"/>
              <a:gd name="T65" fmla="*/ 1225 h 1576"/>
              <a:gd name="T66" fmla="*/ 1449 w 4326"/>
              <a:gd name="T67" fmla="*/ 1325 h 1576"/>
              <a:gd name="T68" fmla="*/ 1925 w 4326"/>
              <a:gd name="T69" fmla="*/ 1375 h 1576"/>
              <a:gd name="T70" fmla="*/ 4000 w 4326"/>
              <a:gd name="T71" fmla="*/ 724 h 1576"/>
              <a:gd name="T72" fmla="*/ 3675 w 4326"/>
              <a:gd name="T73" fmla="*/ 650 h 1576"/>
              <a:gd name="T74" fmla="*/ 3425 w 4326"/>
              <a:gd name="T75" fmla="*/ 700 h 1576"/>
              <a:gd name="T76" fmla="*/ 3625 w 4326"/>
              <a:gd name="T77" fmla="*/ 800 h 1576"/>
              <a:gd name="T78" fmla="*/ 3550 w 4326"/>
              <a:gd name="T79" fmla="*/ 924 h 1576"/>
              <a:gd name="T80" fmla="*/ 3800 w 4326"/>
              <a:gd name="T81" fmla="*/ 1000 h 1576"/>
              <a:gd name="T82" fmla="*/ 4100 w 4326"/>
              <a:gd name="T83" fmla="*/ 1275 h 1576"/>
              <a:gd name="T84" fmla="*/ 4325 w 4326"/>
              <a:gd name="T85" fmla="*/ 1425 h 1576"/>
              <a:gd name="T86" fmla="*/ 2800 w 4326"/>
              <a:gd name="T87" fmla="*/ 1425 h 1576"/>
              <a:gd name="T88" fmla="*/ 2750 w 4326"/>
              <a:gd name="T89" fmla="*/ 1450 h 1576"/>
              <a:gd name="T90" fmla="*/ 2800 w 4326"/>
              <a:gd name="T91" fmla="*/ 1475 h 1576"/>
              <a:gd name="T92" fmla="*/ 2825 w 4326"/>
              <a:gd name="T93" fmla="*/ 1450 h 1576"/>
              <a:gd name="T94" fmla="*/ 2025 w 4326"/>
              <a:gd name="T95" fmla="*/ 700 h 1576"/>
              <a:gd name="T96" fmla="*/ 2174 w 4326"/>
              <a:gd name="T97" fmla="*/ 400 h 1576"/>
              <a:gd name="T98" fmla="*/ 2100 w 4326"/>
              <a:gd name="T99" fmla="*/ 175 h 1576"/>
              <a:gd name="T100" fmla="*/ 1925 w 4326"/>
              <a:gd name="T101" fmla="*/ 224 h 1576"/>
              <a:gd name="T102" fmla="*/ 1774 w 4326"/>
              <a:gd name="T103" fmla="*/ 450 h 1576"/>
              <a:gd name="T104" fmla="*/ 1474 w 4326"/>
              <a:gd name="T105" fmla="*/ 475 h 1576"/>
              <a:gd name="T106" fmla="*/ 1349 w 4326"/>
              <a:gd name="T107" fmla="*/ 375 h 1576"/>
              <a:gd name="T108" fmla="*/ 1425 w 4326"/>
              <a:gd name="T109" fmla="*/ 724 h 1576"/>
              <a:gd name="T110" fmla="*/ 1700 w 4326"/>
              <a:gd name="T111" fmla="*/ 875 h 1576"/>
              <a:gd name="T112" fmla="*/ 2025 w 4326"/>
              <a:gd name="T113" fmla="*/ 700 h 1576"/>
              <a:gd name="T114" fmla="*/ 2325 w 4326"/>
              <a:gd name="T115" fmla="*/ 1525 h 1576"/>
              <a:gd name="T116" fmla="*/ 2100 w 4326"/>
              <a:gd name="T117" fmla="*/ 1350 h 1576"/>
              <a:gd name="T118" fmla="*/ 1974 w 4326"/>
              <a:gd name="T119" fmla="*/ 1400 h 1576"/>
              <a:gd name="T120" fmla="*/ 2100 w 4326"/>
              <a:gd name="T121" fmla="*/ 135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6" h="1576">
                <a:moveTo>
                  <a:pt x="324" y="675"/>
                </a:moveTo>
                <a:lnTo>
                  <a:pt x="324" y="675"/>
                </a:lnTo>
                <a:cubicBezTo>
                  <a:pt x="324" y="675"/>
                  <a:pt x="349" y="750"/>
                  <a:pt x="374" y="724"/>
                </a:cubicBezTo>
                <a:cubicBezTo>
                  <a:pt x="400" y="700"/>
                  <a:pt x="349" y="624"/>
                  <a:pt x="324" y="675"/>
                </a:cubicBezTo>
                <a:close/>
                <a:moveTo>
                  <a:pt x="1225" y="849"/>
                </a:moveTo>
                <a:lnTo>
                  <a:pt x="1225" y="849"/>
                </a:lnTo>
                <a:cubicBezTo>
                  <a:pt x="1225" y="824"/>
                  <a:pt x="1149" y="824"/>
                  <a:pt x="1174" y="849"/>
                </a:cubicBezTo>
                <a:cubicBezTo>
                  <a:pt x="1200" y="900"/>
                  <a:pt x="1225" y="875"/>
                  <a:pt x="1225" y="849"/>
                </a:cubicBezTo>
                <a:close/>
                <a:moveTo>
                  <a:pt x="200" y="424"/>
                </a:moveTo>
                <a:lnTo>
                  <a:pt x="200" y="424"/>
                </a:lnTo>
                <a:cubicBezTo>
                  <a:pt x="174" y="450"/>
                  <a:pt x="224" y="550"/>
                  <a:pt x="249" y="500"/>
                </a:cubicBezTo>
                <a:cubicBezTo>
                  <a:pt x="274" y="475"/>
                  <a:pt x="200" y="400"/>
                  <a:pt x="200" y="424"/>
                </a:cubicBezTo>
                <a:close/>
                <a:moveTo>
                  <a:pt x="2274" y="900"/>
                </a:moveTo>
                <a:lnTo>
                  <a:pt x="2274" y="900"/>
                </a:lnTo>
                <a:cubicBezTo>
                  <a:pt x="2325" y="900"/>
                  <a:pt x="2325" y="975"/>
                  <a:pt x="2325" y="1000"/>
                </a:cubicBezTo>
                <a:cubicBezTo>
                  <a:pt x="2300" y="1050"/>
                  <a:pt x="2300" y="1125"/>
                  <a:pt x="2325" y="1125"/>
                </a:cubicBezTo>
                <a:cubicBezTo>
                  <a:pt x="2374" y="1100"/>
                  <a:pt x="2399" y="1050"/>
                  <a:pt x="2374" y="1024"/>
                </a:cubicBezTo>
                <a:cubicBezTo>
                  <a:pt x="2350" y="1000"/>
                  <a:pt x="2350" y="875"/>
                  <a:pt x="2350" y="849"/>
                </a:cubicBezTo>
                <a:cubicBezTo>
                  <a:pt x="2374" y="824"/>
                  <a:pt x="2450" y="849"/>
                  <a:pt x="2425" y="900"/>
                </a:cubicBezTo>
                <a:cubicBezTo>
                  <a:pt x="2399" y="924"/>
                  <a:pt x="2475" y="924"/>
                  <a:pt x="2475" y="975"/>
                </a:cubicBezTo>
                <a:cubicBezTo>
                  <a:pt x="2475" y="1024"/>
                  <a:pt x="2500" y="1000"/>
                  <a:pt x="2550" y="1000"/>
                </a:cubicBezTo>
                <a:cubicBezTo>
                  <a:pt x="2599" y="975"/>
                  <a:pt x="2599" y="950"/>
                  <a:pt x="2550" y="924"/>
                </a:cubicBezTo>
                <a:cubicBezTo>
                  <a:pt x="2525" y="900"/>
                  <a:pt x="2575" y="849"/>
                  <a:pt x="2550" y="824"/>
                </a:cubicBezTo>
                <a:cubicBezTo>
                  <a:pt x="2500" y="775"/>
                  <a:pt x="2475" y="750"/>
                  <a:pt x="2500" y="724"/>
                </a:cubicBezTo>
                <a:cubicBezTo>
                  <a:pt x="2550" y="724"/>
                  <a:pt x="2675" y="650"/>
                  <a:pt x="2650" y="624"/>
                </a:cubicBezTo>
                <a:cubicBezTo>
                  <a:pt x="2650" y="600"/>
                  <a:pt x="2475" y="650"/>
                  <a:pt x="2450" y="700"/>
                </a:cubicBezTo>
                <a:cubicBezTo>
                  <a:pt x="2450" y="750"/>
                  <a:pt x="2325" y="675"/>
                  <a:pt x="2350" y="600"/>
                </a:cubicBezTo>
                <a:cubicBezTo>
                  <a:pt x="2350" y="500"/>
                  <a:pt x="2599" y="500"/>
                  <a:pt x="2650" y="524"/>
                </a:cubicBezTo>
                <a:cubicBezTo>
                  <a:pt x="2725" y="550"/>
                  <a:pt x="2800" y="475"/>
                  <a:pt x="2825" y="424"/>
                </a:cubicBezTo>
                <a:cubicBezTo>
                  <a:pt x="2850" y="375"/>
                  <a:pt x="2775" y="450"/>
                  <a:pt x="2725" y="475"/>
                </a:cubicBezTo>
                <a:cubicBezTo>
                  <a:pt x="2675" y="500"/>
                  <a:pt x="2550" y="475"/>
                  <a:pt x="2475" y="450"/>
                </a:cubicBezTo>
                <a:cubicBezTo>
                  <a:pt x="2425" y="424"/>
                  <a:pt x="2425" y="475"/>
                  <a:pt x="2374" y="500"/>
                </a:cubicBezTo>
                <a:cubicBezTo>
                  <a:pt x="2325" y="500"/>
                  <a:pt x="2325" y="624"/>
                  <a:pt x="2300" y="624"/>
                </a:cubicBezTo>
                <a:cubicBezTo>
                  <a:pt x="2274" y="650"/>
                  <a:pt x="2274" y="724"/>
                  <a:pt x="2225" y="800"/>
                </a:cubicBezTo>
                <a:cubicBezTo>
                  <a:pt x="2174" y="900"/>
                  <a:pt x="2250" y="900"/>
                  <a:pt x="2274" y="900"/>
                </a:cubicBezTo>
                <a:close/>
                <a:moveTo>
                  <a:pt x="1025" y="975"/>
                </a:moveTo>
                <a:lnTo>
                  <a:pt x="1025" y="975"/>
                </a:lnTo>
                <a:cubicBezTo>
                  <a:pt x="1025" y="950"/>
                  <a:pt x="1025" y="900"/>
                  <a:pt x="1025" y="875"/>
                </a:cubicBezTo>
                <a:cubicBezTo>
                  <a:pt x="1025" y="849"/>
                  <a:pt x="1049" y="849"/>
                  <a:pt x="1074" y="849"/>
                </a:cubicBezTo>
                <a:cubicBezTo>
                  <a:pt x="1099" y="875"/>
                  <a:pt x="1099" y="800"/>
                  <a:pt x="1074" y="800"/>
                </a:cubicBezTo>
                <a:cubicBezTo>
                  <a:pt x="1049" y="800"/>
                  <a:pt x="1049" y="724"/>
                  <a:pt x="1000" y="724"/>
                </a:cubicBezTo>
                <a:cubicBezTo>
                  <a:pt x="949" y="724"/>
                  <a:pt x="949" y="775"/>
                  <a:pt x="974" y="775"/>
                </a:cubicBezTo>
                <a:cubicBezTo>
                  <a:pt x="1000" y="775"/>
                  <a:pt x="1025" y="800"/>
                  <a:pt x="1025" y="800"/>
                </a:cubicBezTo>
                <a:cubicBezTo>
                  <a:pt x="1000" y="824"/>
                  <a:pt x="1000" y="800"/>
                  <a:pt x="949" y="800"/>
                </a:cubicBezTo>
                <a:cubicBezTo>
                  <a:pt x="925" y="800"/>
                  <a:pt x="949" y="750"/>
                  <a:pt x="900" y="750"/>
                </a:cubicBezTo>
                <a:cubicBezTo>
                  <a:pt x="849" y="750"/>
                  <a:pt x="874" y="650"/>
                  <a:pt x="825" y="650"/>
                </a:cubicBezTo>
                <a:cubicBezTo>
                  <a:pt x="774" y="650"/>
                  <a:pt x="774" y="624"/>
                  <a:pt x="800" y="600"/>
                </a:cubicBezTo>
                <a:cubicBezTo>
                  <a:pt x="825" y="575"/>
                  <a:pt x="749" y="550"/>
                  <a:pt x="749" y="500"/>
                </a:cubicBezTo>
                <a:cubicBezTo>
                  <a:pt x="749" y="475"/>
                  <a:pt x="700" y="500"/>
                  <a:pt x="700" y="475"/>
                </a:cubicBezTo>
                <a:cubicBezTo>
                  <a:pt x="700" y="450"/>
                  <a:pt x="674" y="450"/>
                  <a:pt x="649" y="424"/>
                </a:cubicBezTo>
                <a:cubicBezTo>
                  <a:pt x="624" y="375"/>
                  <a:pt x="624" y="424"/>
                  <a:pt x="600" y="400"/>
                </a:cubicBezTo>
                <a:cubicBezTo>
                  <a:pt x="574" y="375"/>
                  <a:pt x="549" y="350"/>
                  <a:pt x="524" y="350"/>
                </a:cubicBezTo>
                <a:cubicBezTo>
                  <a:pt x="500" y="375"/>
                  <a:pt x="449" y="324"/>
                  <a:pt x="449" y="275"/>
                </a:cubicBezTo>
                <a:cubicBezTo>
                  <a:pt x="424" y="250"/>
                  <a:pt x="300" y="175"/>
                  <a:pt x="274" y="150"/>
                </a:cubicBezTo>
                <a:cubicBezTo>
                  <a:pt x="274" y="100"/>
                  <a:pt x="224" y="75"/>
                  <a:pt x="149" y="75"/>
                </a:cubicBezTo>
                <a:cubicBezTo>
                  <a:pt x="74" y="75"/>
                  <a:pt x="49" y="0"/>
                  <a:pt x="24" y="50"/>
                </a:cubicBezTo>
                <a:cubicBezTo>
                  <a:pt x="0" y="75"/>
                  <a:pt x="100" y="200"/>
                  <a:pt x="149" y="224"/>
                </a:cubicBezTo>
                <a:cubicBezTo>
                  <a:pt x="200" y="250"/>
                  <a:pt x="224" y="350"/>
                  <a:pt x="274" y="350"/>
                </a:cubicBezTo>
                <a:cubicBezTo>
                  <a:pt x="349" y="350"/>
                  <a:pt x="349" y="524"/>
                  <a:pt x="374" y="550"/>
                </a:cubicBezTo>
                <a:cubicBezTo>
                  <a:pt x="424" y="550"/>
                  <a:pt x="524" y="675"/>
                  <a:pt x="524" y="750"/>
                </a:cubicBezTo>
                <a:cubicBezTo>
                  <a:pt x="549" y="824"/>
                  <a:pt x="624" y="875"/>
                  <a:pt x="674" y="924"/>
                </a:cubicBezTo>
                <a:cubicBezTo>
                  <a:pt x="700" y="975"/>
                  <a:pt x="825" y="1050"/>
                  <a:pt x="825" y="1075"/>
                </a:cubicBezTo>
                <a:cubicBezTo>
                  <a:pt x="849" y="1100"/>
                  <a:pt x="874" y="1150"/>
                  <a:pt x="874" y="1125"/>
                </a:cubicBezTo>
                <a:cubicBezTo>
                  <a:pt x="900" y="1100"/>
                  <a:pt x="949" y="1125"/>
                  <a:pt x="974" y="1125"/>
                </a:cubicBezTo>
                <a:cubicBezTo>
                  <a:pt x="1000" y="1125"/>
                  <a:pt x="1025" y="1024"/>
                  <a:pt x="1025" y="975"/>
                </a:cubicBezTo>
                <a:close/>
                <a:moveTo>
                  <a:pt x="3150" y="524"/>
                </a:moveTo>
                <a:lnTo>
                  <a:pt x="3150" y="524"/>
                </a:lnTo>
                <a:cubicBezTo>
                  <a:pt x="3200" y="550"/>
                  <a:pt x="3175" y="500"/>
                  <a:pt x="3175" y="475"/>
                </a:cubicBezTo>
                <a:cubicBezTo>
                  <a:pt x="3175" y="424"/>
                  <a:pt x="3125" y="450"/>
                  <a:pt x="3125" y="450"/>
                </a:cubicBezTo>
                <a:cubicBezTo>
                  <a:pt x="3125" y="424"/>
                  <a:pt x="3100" y="350"/>
                  <a:pt x="3050" y="400"/>
                </a:cubicBezTo>
                <a:cubicBezTo>
                  <a:pt x="3000" y="475"/>
                  <a:pt x="3075" y="624"/>
                  <a:pt x="3100" y="600"/>
                </a:cubicBezTo>
                <a:cubicBezTo>
                  <a:pt x="3125" y="600"/>
                  <a:pt x="3075" y="524"/>
                  <a:pt x="3150" y="524"/>
                </a:cubicBezTo>
                <a:close/>
                <a:moveTo>
                  <a:pt x="2900" y="875"/>
                </a:moveTo>
                <a:lnTo>
                  <a:pt x="2900" y="875"/>
                </a:lnTo>
                <a:cubicBezTo>
                  <a:pt x="2925" y="924"/>
                  <a:pt x="3000" y="950"/>
                  <a:pt x="3025" y="900"/>
                </a:cubicBezTo>
                <a:cubicBezTo>
                  <a:pt x="3050" y="875"/>
                  <a:pt x="2900" y="824"/>
                  <a:pt x="2900" y="875"/>
                </a:cubicBezTo>
                <a:close/>
                <a:moveTo>
                  <a:pt x="2700" y="1350"/>
                </a:moveTo>
                <a:lnTo>
                  <a:pt x="2700" y="1350"/>
                </a:lnTo>
                <a:cubicBezTo>
                  <a:pt x="2625" y="1350"/>
                  <a:pt x="2575" y="1400"/>
                  <a:pt x="2500" y="1375"/>
                </a:cubicBezTo>
                <a:cubicBezTo>
                  <a:pt x="2425" y="1350"/>
                  <a:pt x="2300" y="1375"/>
                  <a:pt x="2325" y="1400"/>
                </a:cubicBezTo>
                <a:cubicBezTo>
                  <a:pt x="2325" y="1425"/>
                  <a:pt x="2399" y="1425"/>
                  <a:pt x="2475" y="1425"/>
                </a:cubicBezTo>
                <a:cubicBezTo>
                  <a:pt x="2550" y="1425"/>
                  <a:pt x="2599" y="1375"/>
                  <a:pt x="2650" y="1375"/>
                </a:cubicBezTo>
                <a:cubicBezTo>
                  <a:pt x="2700" y="1375"/>
                  <a:pt x="2775" y="1350"/>
                  <a:pt x="2700" y="1350"/>
                </a:cubicBezTo>
                <a:close/>
                <a:moveTo>
                  <a:pt x="3275" y="849"/>
                </a:moveTo>
                <a:lnTo>
                  <a:pt x="3275" y="849"/>
                </a:lnTo>
                <a:cubicBezTo>
                  <a:pt x="3225" y="824"/>
                  <a:pt x="3100" y="824"/>
                  <a:pt x="3100" y="875"/>
                </a:cubicBezTo>
                <a:cubicBezTo>
                  <a:pt x="3125" y="900"/>
                  <a:pt x="3175" y="900"/>
                  <a:pt x="3225" y="900"/>
                </a:cubicBezTo>
                <a:cubicBezTo>
                  <a:pt x="3300" y="900"/>
                  <a:pt x="3325" y="924"/>
                  <a:pt x="3350" y="924"/>
                </a:cubicBezTo>
                <a:cubicBezTo>
                  <a:pt x="3375" y="924"/>
                  <a:pt x="3350" y="875"/>
                  <a:pt x="3275" y="849"/>
                </a:cubicBezTo>
                <a:close/>
                <a:moveTo>
                  <a:pt x="1825" y="1325"/>
                </a:moveTo>
                <a:lnTo>
                  <a:pt x="1825" y="1325"/>
                </a:lnTo>
                <a:cubicBezTo>
                  <a:pt x="1825" y="1275"/>
                  <a:pt x="1700" y="1325"/>
                  <a:pt x="1650" y="1300"/>
                </a:cubicBezTo>
                <a:cubicBezTo>
                  <a:pt x="1600" y="1275"/>
                  <a:pt x="1725" y="1250"/>
                  <a:pt x="1750" y="1225"/>
                </a:cubicBezTo>
                <a:cubicBezTo>
                  <a:pt x="1800" y="1200"/>
                  <a:pt x="1725" y="1200"/>
                  <a:pt x="1650" y="1225"/>
                </a:cubicBezTo>
                <a:cubicBezTo>
                  <a:pt x="1549" y="1250"/>
                  <a:pt x="1449" y="1175"/>
                  <a:pt x="1449" y="1200"/>
                </a:cubicBezTo>
                <a:cubicBezTo>
                  <a:pt x="1449" y="1250"/>
                  <a:pt x="1274" y="1200"/>
                  <a:pt x="1249" y="1150"/>
                </a:cubicBezTo>
                <a:cubicBezTo>
                  <a:pt x="1200" y="1125"/>
                  <a:pt x="1049" y="1100"/>
                  <a:pt x="1025" y="1150"/>
                </a:cubicBezTo>
                <a:cubicBezTo>
                  <a:pt x="1000" y="1200"/>
                  <a:pt x="974" y="1150"/>
                  <a:pt x="974" y="1200"/>
                </a:cubicBezTo>
                <a:cubicBezTo>
                  <a:pt x="1000" y="1250"/>
                  <a:pt x="1025" y="1225"/>
                  <a:pt x="1049" y="1225"/>
                </a:cubicBezTo>
                <a:cubicBezTo>
                  <a:pt x="1074" y="1225"/>
                  <a:pt x="1074" y="1275"/>
                  <a:pt x="1099" y="1275"/>
                </a:cubicBezTo>
                <a:cubicBezTo>
                  <a:pt x="1149" y="1275"/>
                  <a:pt x="1249" y="1300"/>
                  <a:pt x="1274" y="1275"/>
                </a:cubicBezTo>
                <a:cubicBezTo>
                  <a:pt x="1274" y="1250"/>
                  <a:pt x="1400" y="1275"/>
                  <a:pt x="1449" y="1325"/>
                </a:cubicBezTo>
                <a:cubicBezTo>
                  <a:pt x="1500" y="1375"/>
                  <a:pt x="1625" y="1375"/>
                  <a:pt x="1674" y="1375"/>
                </a:cubicBezTo>
                <a:cubicBezTo>
                  <a:pt x="1725" y="1350"/>
                  <a:pt x="1774" y="1400"/>
                  <a:pt x="1800" y="1375"/>
                </a:cubicBezTo>
                <a:cubicBezTo>
                  <a:pt x="1825" y="1350"/>
                  <a:pt x="1850" y="1425"/>
                  <a:pt x="1925" y="1375"/>
                </a:cubicBezTo>
                <a:cubicBezTo>
                  <a:pt x="1974" y="1325"/>
                  <a:pt x="1825" y="1350"/>
                  <a:pt x="1825" y="1325"/>
                </a:cubicBezTo>
                <a:close/>
                <a:moveTo>
                  <a:pt x="4000" y="724"/>
                </a:moveTo>
                <a:lnTo>
                  <a:pt x="4000" y="724"/>
                </a:lnTo>
                <a:cubicBezTo>
                  <a:pt x="3975" y="724"/>
                  <a:pt x="3950" y="800"/>
                  <a:pt x="3925" y="800"/>
                </a:cubicBezTo>
                <a:cubicBezTo>
                  <a:pt x="3900" y="800"/>
                  <a:pt x="3850" y="875"/>
                  <a:pt x="3775" y="875"/>
                </a:cubicBezTo>
                <a:cubicBezTo>
                  <a:pt x="3700" y="900"/>
                  <a:pt x="3700" y="700"/>
                  <a:pt x="3675" y="650"/>
                </a:cubicBezTo>
                <a:cubicBezTo>
                  <a:pt x="3650" y="600"/>
                  <a:pt x="3475" y="575"/>
                  <a:pt x="3450" y="624"/>
                </a:cubicBezTo>
                <a:cubicBezTo>
                  <a:pt x="3450" y="675"/>
                  <a:pt x="3375" y="650"/>
                  <a:pt x="3375" y="675"/>
                </a:cubicBezTo>
                <a:cubicBezTo>
                  <a:pt x="3375" y="724"/>
                  <a:pt x="3400" y="700"/>
                  <a:pt x="3425" y="700"/>
                </a:cubicBezTo>
                <a:cubicBezTo>
                  <a:pt x="3475" y="700"/>
                  <a:pt x="3475" y="750"/>
                  <a:pt x="3475" y="775"/>
                </a:cubicBezTo>
                <a:cubicBezTo>
                  <a:pt x="3500" y="800"/>
                  <a:pt x="3600" y="775"/>
                  <a:pt x="3625" y="775"/>
                </a:cubicBezTo>
                <a:cubicBezTo>
                  <a:pt x="3675" y="775"/>
                  <a:pt x="3675" y="824"/>
                  <a:pt x="3625" y="800"/>
                </a:cubicBezTo>
                <a:cubicBezTo>
                  <a:pt x="3575" y="800"/>
                  <a:pt x="3575" y="824"/>
                  <a:pt x="3550" y="824"/>
                </a:cubicBezTo>
                <a:cubicBezTo>
                  <a:pt x="3500" y="824"/>
                  <a:pt x="3475" y="824"/>
                  <a:pt x="3475" y="849"/>
                </a:cubicBezTo>
                <a:cubicBezTo>
                  <a:pt x="3500" y="849"/>
                  <a:pt x="3550" y="875"/>
                  <a:pt x="3550" y="924"/>
                </a:cubicBezTo>
                <a:cubicBezTo>
                  <a:pt x="3550" y="975"/>
                  <a:pt x="3600" y="950"/>
                  <a:pt x="3600" y="924"/>
                </a:cubicBezTo>
                <a:cubicBezTo>
                  <a:pt x="3600" y="875"/>
                  <a:pt x="3650" y="924"/>
                  <a:pt x="3700" y="950"/>
                </a:cubicBezTo>
                <a:cubicBezTo>
                  <a:pt x="3775" y="975"/>
                  <a:pt x="3725" y="1000"/>
                  <a:pt x="3800" y="1000"/>
                </a:cubicBezTo>
                <a:cubicBezTo>
                  <a:pt x="3850" y="1000"/>
                  <a:pt x="4000" y="1050"/>
                  <a:pt x="4050" y="1075"/>
                </a:cubicBezTo>
                <a:cubicBezTo>
                  <a:pt x="4100" y="1125"/>
                  <a:pt x="4075" y="1150"/>
                  <a:pt x="4100" y="1200"/>
                </a:cubicBezTo>
                <a:cubicBezTo>
                  <a:pt x="4150" y="1225"/>
                  <a:pt x="4150" y="1275"/>
                  <a:pt x="4100" y="1275"/>
                </a:cubicBezTo>
                <a:cubicBezTo>
                  <a:pt x="4050" y="1275"/>
                  <a:pt x="4000" y="1325"/>
                  <a:pt x="4025" y="1350"/>
                </a:cubicBezTo>
                <a:cubicBezTo>
                  <a:pt x="4025" y="1375"/>
                  <a:pt x="4200" y="1350"/>
                  <a:pt x="4225" y="1350"/>
                </a:cubicBezTo>
                <a:cubicBezTo>
                  <a:pt x="4250" y="1350"/>
                  <a:pt x="4275" y="1375"/>
                  <a:pt x="4325" y="1425"/>
                </a:cubicBezTo>
                <a:cubicBezTo>
                  <a:pt x="4325" y="824"/>
                  <a:pt x="4325" y="824"/>
                  <a:pt x="4325" y="824"/>
                </a:cubicBezTo>
                <a:cubicBezTo>
                  <a:pt x="4200" y="775"/>
                  <a:pt x="4050" y="700"/>
                  <a:pt x="4000" y="724"/>
                </a:cubicBezTo>
                <a:close/>
                <a:moveTo>
                  <a:pt x="2800" y="1425"/>
                </a:moveTo>
                <a:lnTo>
                  <a:pt x="2800" y="1425"/>
                </a:lnTo>
                <a:cubicBezTo>
                  <a:pt x="2800" y="1425"/>
                  <a:pt x="2800" y="1425"/>
                  <a:pt x="2775" y="1425"/>
                </a:cubicBezTo>
                <a:cubicBezTo>
                  <a:pt x="2775" y="1450"/>
                  <a:pt x="2775" y="1450"/>
                  <a:pt x="2750" y="1450"/>
                </a:cubicBezTo>
                <a:cubicBezTo>
                  <a:pt x="2750" y="1475"/>
                  <a:pt x="2750" y="1450"/>
                  <a:pt x="2725" y="1450"/>
                </a:cubicBezTo>
                <a:cubicBezTo>
                  <a:pt x="2675" y="1450"/>
                  <a:pt x="2650" y="1525"/>
                  <a:pt x="2675" y="1550"/>
                </a:cubicBezTo>
                <a:cubicBezTo>
                  <a:pt x="2725" y="1575"/>
                  <a:pt x="2775" y="1525"/>
                  <a:pt x="2800" y="1475"/>
                </a:cubicBezTo>
                <a:lnTo>
                  <a:pt x="2825" y="1475"/>
                </a:lnTo>
                <a:cubicBezTo>
                  <a:pt x="2825" y="1450"/>
                  <a:pt x="2825" y="1450"/>
                  <a:pt x="2825" y="1450"/>
                </a:cubicBezTo>
                <a:lnTo>
                  <a:pt x="2825" y="1450"/>
                </a:lnTo>
                <a:cubicBezTo>
                  <a:pt x="2825" y="1425"/>
                  <a:pt x="2825" y="1425"/>
                  <a:pt x="2800" y="1425"/>
                </a:cubicBezTo>
                <a:close/>
                <a:moveTo>
                  <a:pt x="2025" y="700"/>
                </a:moveTo>
                <a:lnTo>
                  <a:pt x="2025" y="700"/>
                </a:lnTo>
                <a:cubicBezTo>
                  <a:pt x="2074" y="675"/>
                  <a:pt x="2100" y="624"/>
                  <a:pt x="2100" y="550"/>
                </a:cubicBezTo>
                <a:cubicBezTo>
                  <a:pt x="2074" y="500"/>
                  <a:pt x="2200" y="500"/>
                  <a:pt x="2225" y="475"/>
                </a:cubicBezTo>
                <a:cubicBezTo>
                  <a:pt x="2250" y="450"/>
                  <a:pt x="2200" y="424"/>
                  <a:pt x="2174" y="400"/>
                </a:cubicBezTo>
                <a:cubicBezTo>
                  <a:pt x="2125" y="375"/>
                  <a:pt x="2150" y="350"/>
                  <a:pt x="2125" y="324"/>
                </a:cubicBezTo>
                <a:cubicBezTo>
                  <a:pt x="2100" y="300"/>
                  <a:pt x="2074" y="250"/>
                  <a:pt x="2100" y="250"/>
                </a:cubicBezTo>
                <a:cubicBezTo>
                  <a:pt x="2150" y="250"/>
                  <a:pt x="2074" y="200"/>
                  <a:pt x="2100" y="175"/>
                </a:cubicBezTo>
                <a:cubicBezTo>
                  <a:pt x="2125" y="175"/>
                  <a:pt x="2125" y="175"/>
                  <a:pt x="2125" y="175"/>
                </a:cubicBezTo>
                <a:cubicBezTo>
                  <a:pt x="2100" y="150"/>
                  <a:pt x="2100" y="150"/>
                  <a:pt x="2074" y="150"/>
                </a:cubicBezTo>
                <a:cubicBezTo>
                  <a:pt x="2025" y="150"/>
                  <a:pt x="1925" y="150"/>
                  <a:pt x="1925" y="224"/>
                </a:cubicBezTo>
                <a:cubicBezTo>
                  <a:pt x="1950" y="275"/>
                  <a:pt x="1874" y="250"/>
                  <a:pt x="1874" y="300"/>
                </a:cubicBezTo>
                <a:cubicBezTo>
                  <a:pt x="1874" y="324"/>
                  <a:pt x="1850" y="324"/>
                  <a:pt x="1850" y="375"/>
                </a:cubicBezTo>
                <a:cubicBezTo>
                  <a:pt x="1850" y="424"/>
                  <a:pt x="1825" y="424"/>
                  <a:pt x="1774" y="450"/>
                </a:cubicBezTo>
                <a:cubicBezTo>
                  <a:pt x="1725" y="475"/>
                  <a:pt x="1725" y="424"/>
                  <a:pt x="1674" y="424"/>
                </a:cubicBezTo>
                <a:cubicBezTo>
                  <a:pt x="1625" y="424"/>
                  <a:pt x="1625" y="450"/>
                  <a:pt x="1574" y="475"/>
                </a:cubicBezTo>
                <a:cubicBezTo>
                  <a:pt x="1549" y="475"/>
                  <a:pt x="1474" y="450"/>
                  <a:pt x="1474" y="475"/>
                </a:cubicBezTo>
                <a:cubicBezTo>
                  <a:pt x="1449" y="500"/>
                  <a:pt x="1400" y="424"/>
                  <a:pt x="1374" y="424"/>
                </a:cubicBezTo>
                <a:cubicBezTo>
                  <a:pt x="1374" y="424"/>
                  <a:pt x="1374" y="400"/>
                  <a:pt x="1349" y="375"/>
                </a:cubicBezTo>
                <a:lnTo>
                  <a:pt x="1349" y="375"/>
                </a:lnTo>
                <a:cubicBezTo>
                  <a:pt x="1300" y="375"/>
                  <a:pt x="1249" y="475"/>
                  <a:pt x="1274" y="500"/>
                </a:cubicBezTo>
                <a:cubicBezTo>
                  <a:pt x="1325" y="550"/>
                  <a:pt x="1325" y="600"/>
                  <a:pt x="1325" y="624"/>
                </a:cubicBezTo>
                <a:cubicBezTo>
                  <a:pt x="1349" y="675"/>
                  <a:pt x="1425" y="675"/>
                  <a:pt x="1425" y="724"/>
                </a:cubicBezTo>
                <a:cubicBezTo>
                  <a:pt x="1425" y="800"/>
                  <a:pt x="1474" y="875"/>
                  <a:pt x="1500" y="849"/>
                </a:cubicBezTo>
                <a:cubicBezTo>
                  <a:pt x="1549" y="824"/>
                  <a:pt x="1574" y="875"/>
                  <a:pt x="1574" y="900"/>
                </a:cubicBezTo>
                <a:cubicBezTo>
                  <a:pt x="1600" y="924"/>
                  <a:pt x="1674" y="875"/>
                  <a:pt x="1700" y="875"/>
                </a:cubicBezTo>
                <a:cubicBezTo>
                  <a:pt x="1725" y="875"/>
                  <a:pt x="1825" y="900"/>
                  <a:pt x="1825" y="924"/>
                </a:cubicBezTo>
                <a:cubicBezTo>
                  <a:pt x="1825" y="975"/>
                  <a:pt x="1900" y="924"/>
                  <a:pt x="1950" y="900"/>
                </a:cubicBezTo>
                <a:cubicBezTo>
                  <a:pt x="2025" y="900"/>
                  <a:pt x="1974" y="724"/>
                  <a:pt x="2025" y="700"/>
                </a:cubicBezTo>
                <a:close/>
                <a:moveTo>
                  <a:pt x="2250" y="1475"/>
                </a:moveTo>
                <a:lnTo>
                  <a:pt x="2250" y="1475"/>
                </a:lnTo>
                <a:cubicBezTo>
                  <a:pt x="2250" y="1500"/>
                  <a:pt x="2300" y="1500"/>
                  <a:pt x="2325" y="1525"/>
                </a:cubicBezTo>
                <a:cubicBezTo>
                  <a:pt x="2350" y="1550"/>
                  <a:pt x="2425" y="1575"/>
                  <a:pt x="2425" y="1525"/>
                </a:cubicBezTo>
                <a:cubicBezTo>
                  <a:pt x="2425" y="1475"/>
                  <a:pt x="2225" y="1450"/>
                  <a:pt x="2250" y="1475"/>
                </a:cubicBezTo>
                <a:close/>
                <a:moveTo>
                  <a:pt x="2100" y="1350"/>
                </a:moveTo>
                <a:lnTo>
                  <a:pt x="2100" y="1350"/>
                </a:lnTo>
                <a:cubicBezTo>
                  <a:pt x="2100" y="1375"/>
                  <a:pt x="2050" y="1375"/>
                  <a:pt x="2025" y="1350"/>
                </a:cubicBezTo>
                <a:cubicBezTo>
                  <a:pt x="2000" y="1325"/>
                  <a:pt x="1950" y="1375"/>
                  <a:pt x="1974" y="1400"/>
                </a:cubicBezTo>
                <a:cubicBezTo>
                  <a:pt x="1974" y="1425"/>
                  <a:pt x="2050" y="1450"/>
                  <a:pt x="2100" y="1425"/>
                </a:cubicBezTo>
                <a:cubicBezTo>
                  <a:pt x="2174" y="1400"/>
                  <a:pt x="2225" y="1425"/>
                  <a:pt x="2250" y="1400"/>
                </a:cubicBezTo>
                <a:cubicBezTo>
                  <a:pt x="2250" y="1350"/>
                  <a:pt x="2125" y="1325"/>
                  <a:pt x="2100" y="1350"/>
                </a:cubicBezTo>
                <a:close/>
              </a:path>
            </a:pathLst>
          </a:custGeom>
          <a:solidFill>
            <a:srgbClr val="000C47"/>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 name="Freeform 173">
            <a:extLst>
              <a:ext uri="{FF2B5EF4-FFF2-40B4-BE49-F238E27FC236}">
                <a16:creationId xmlns:a16="http://schemas.microsoft.com/office/drawing/2014/main" id="{0B4DFD65-D3D3-1325-A72B-856DF70B10B1}"/>
              </a:ext>
            </a:extLst>
          </p:cNvPr>
          <p:cNvSpPr>
            <a:spLocks noChangeArrowheads="1"/>
          </p:cNvSpPr>
          <p:nvPr/>
        </p:nvSpPr>
        <p:spPr bwMode="auto">
          <a:xfrm>
            <a:off x="6353890" y="4924570"/>
            <a:ext cx="104061" cy="47812"/>
          </a:xfrm>
          <a:custGeom>
            <a:avLst/>
            <a:gdLst>
              <a:gd name="T0" fmla="*/ 25 w 326"/>
              <a:gd name="T1" fmla="*/ 100 h 151"/>
              <a:gd name="T2" fmla="*/ 25 w 326"/>
              <a:gd name="T3" fmla="*/ 100 h 151"/>
              <a:gd name="T4" fmla="*/ 0 w 326"/>
              <a:gd name="T5" fmla="*/ 125 h 151"/>
              <a:gd name="T6" fmla="*/ 25 w 326"/>
              <a:gd name="T7" fmla="*/ 125 h 151"/>
              <a:gd name="T8" fmla="*/ 50 w 326"/>
              <a:gd name="T9" fmla="*/ 100 h 151"/>
              <a:gd name="T10" fmla="*/ 50 w 326"/>
              <a:gd name="T11" fmla="*/ 100 h 151"/>
              <a:gd name="T12" fmla="*/ 25 w 326"/>
              <a:gd name="T13" fmla="*/ 100 h 151"/>
              <a:gd name="T14" fmla="*/ 175 w 326"/>
              <a:gd name="T15" fmla="*/ 25 h 151"/>
              <a:gd name="T16" fmla="*/ 175 w 326"/>
              <a:gd name="T17" fmla="*/ 25 h 151"/>
              <a:gd name="T18" fmla="*/ 100 w 326"/>
              <a:gd name="T19" fmla="*/ 75 h 151"/>
              <a:gd name="T20" fmla="*/ 75 w 326"/>
              <a:gd name="T21" fmla="*/ 100 h 151"/>
              <a:gd name="T22" fmla="*/ 100 w 326"/>
              <a:gd name="T23" fmla="*/ 125 h 151"/>
              <a:gd name="T24" fmla="*/ 300 w 326"/>
              <a:gd name="T25" fmla="*/ 25 h 151"/>
              <a:gd name="T26" fmla="*/ 175 w 326"/>
              <a:gd name="T27" fmla="*/ 2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151">
                <a:moveTo>
                  <a:pt x="25" y="100"/>
                </a:moveTo>
                <a:lnTo>
                  <a:pt x="25" y="100"/>
                </a:lnTo>
                <a:cubicBezTo>
                  <a:pt x="25" y="100"/>
                  <a:pt x="25" y="100"/>
                  <a:pt x="0" y="125"/>
                </a:cubicBezTo>
                <a:cubicBezTo>
                  <a:pt x="25" y="125"/>
                  <a:pt x="25" y="150"/>
                  <a:pt x="25" y="125"/>
                </a:cubicBezTo>
                <a:cubicBezTo>
                  <a:pt x="50" y="125"/>
                  <a:pt x="50" y="125"/>
                  <a:pt x="50" y="100"/>
                </a:cubicBezTo>
                <a:lnTo>
                  <a:pt x="50" y="100"/>
                </a:lnTo>
                <a:lnTo>
                  <a:pt x="25" y="100"/>
                </a:lnTo>
                <a:close/>
                <a:moveTo>
                  <a:pt x="175" y="25"/>
                </a:moveTo>
                <a:lnTo>
                  <a:pt x="175" y="25"/>
                </a:lnTo>
                <a:cubicBezTo>
                  <a:pt x="125" y="25"/>
                  <a:pt x="125" y="75"/>
                  <a:pt x="100" y="75"/>
                </a:cubicBezTo>
                <a:cubicBezTo>
                  <a:pt x="75" y="100"/>
                  <a:pt x="75" y="100"/>
                  <a:pt x="75" y="100"/>
                </a:cubicBezTo>
                <a:cubicBezTo>
                  <a:pt x="100" y="100"/>
                  <a:pt x="100" y="100"/>
                  <a:pt x="100" y="125"/>
                </a:cubicBezTo>
                <a:cubicBezTo>
                  <a:pt x="175" y="100"/>
                  <a:pt x="300" y="50"/>
                  <a:pt x="300" y="25"/>
                </a:cubicBezTo>
                <a:cubicBezTo>
                  <a:pt x="325" y="0"/>
                  <a:pt x="225" y="50"/>
                  <a:pt x="175" y="2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 name="Freeform 177">
            <a:extLst>
              <a:ext uri="{FF2B5EF4-FFF2-40B4-BE49-F238E27FC236}">
                <a16:creationId xmlns:a16="http://schemas.microsoft.com/office/drawing/2014/main" id="{EFC9430D-7466-8F0E-13D3-1270E923C46D}"/>
              </a:ext>
            </a:extLst>
          </p:cNvPr>
          <p:cNvSpPr>
            <a:spLocks noChangeArrowheads="1"/>
          </p:cNvSpPr>
          <p:nvPr/>
        </p:nvSpPr>
        <p:spPr bwMode="auto">
          <a:xfrm>
            <a:off x="7038482" y="3201923"/>
            <a:ext cx="208124" cy="160312"/>
          </a:xfrm>
          <a:custGeom>
            <a:avLst/>
            <a:gdLst>
              <a:gd name="T0" fmla="*/ 550 w 651"/>
              <a:gd name="T1" fmla="*/ 175 h 501"/>
              <a:gd name="T2" fmla="*/ 550 w 651"/>
              <a:gd name="T3" fmla="*/ 175 h 501"/>
              <a:gd name="T4" fmla="*/ 450 w 651"/>
              <a:gd name="T5" fmla="*/ 200 h 501"/>
              <a:gd name="T6" fmla="*/ 250 w 651"/>
              <a:gd name="T7" fmla="*/ 50 h 501"/>
              <a:gd name="T8" fmla="*/ 200 w 651"/>
              <a:gd name="T9" fmla="*/ 75 h 501"/>
              <a:gd name="T10" fmla="*/ 176 w 651"/>
              <a:gd name="T11" fmla="*/ 175 h 501"/>
              <a:gd name="T12" fmla="*/ 150 w 651"/>
              <a:gd name="T13" fmla="*/ 250 h 501"/>
              <a:gd name="T14" fmla="*/ 76 w 651"/>
              <a:gd name="T15" fmla="*/ 275 h 501"/>
              <a:gd name="T16" fmla="*/ 50 w 651"/>
              <a:gd name="T17" fmla="*/ 325 h 501"/>
              <a:gd name="T18" fmla="*/ 25 w 651"/>
              <a:gd name="T19" fmla="*/ 400 h 501"/>
              <a:gd name="T20" fmla="*/ 25 w 651"/>
              <a:gd name="T21" fmla="*/ 475 h 501"/>
              <a:gd name="T22" fmla="*/ 76 w 651"/>
              <a:gd name="T23" fmla="*/ 450 h 501"/>
              <a:gd name="T24" fmla="*/ 125 w 651"/>
              <a:gd name="T25" fmla="*/ 425 h 501"/>
              <a:gd name="T26" fmla="*/ 76 w 651"/>
              <a:gd name="T27" fmla="*/ 375 h 501"/>
              <a:gd name="T28" fmla="*/ 150 w 651"/>
              <a:gd name="T29" fmla="*/ 350 h 501"/>
              <a:gd name="T30" fmla="*/ 300 w 651"/>
              <a:gd name="T31" fmla="*/ 400 h 501"/>
              <a:gd name="T32" fmla="*/ 350 w 651"/>
              <a:gd name="T33" fmla="*/ 375 h 501"/>
              <a:gd name="T34" fmla="*/ 476 w 651"/>
              <a:gd name="T35" fmla="*/ 300 h 501"/>
              <a:gd name="T36" fmla="*/ 525 w 651"/>
              <a:gd name="T37" fmla="*/ 250 h 501"/>
              <a:gd name="T38" fmla="*/ 650 w 651"/>
              <a:gd name="T39" fmla="*/ 150 h 501"/>
              <a:gd name="T40" fmla="*/ 550 w 651"/>
              <a:gd name="T41" fmla="*/ 17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1" h="501">
                <a:moveTo>
                  <a:pt x="550" y="175"/>
                </a:moveTo>
                <a:lnTo>
                  <a:pt x="550" y="175"/>
                </a:lnTo>
                <a:cubicBezTo>
                  <a:pt x="525" y="150"/>
                  <a:pt x="500" y="175"/>
                  <a:pt x="450" y="200"/>
                </a:cubicBezTo>
                <a:cubicBezTo>
                  <a:pt x="425" y="200"/>
                  <a:pt x="276" y="100"/>
                  <a:pt x="250" y="50"/>
                </a:cubicBezTo>
                <a:cubicBezTo>
                  <a:pt x="225" y="0"/>
                  <a:pt x="176" y="25"/>
                  <a:pt x="200" y="75"/>
                </a:cubicBezTo>
                <a:cubicBezTo>
                  <a:pt x="225" y="100"/>
                  <a:pt x="176" y="125"/>
                  <a:pt x="176" y="175"/>
                </a:cubicBezTo>
                <a:cubicBezTo>
                  <a:pt x="176" y="225"/>
                  <a:pt x="150" y="225"/>
                  <a:pt x="150" y="250"/>
                </a:cubicBezTo>
                <a:cubicBezTo>
                  <a:pt x="176" y="275"/>
                  <a:pt x="125" y="275"/>
                  <a:pt x="76" y="275"/>
                </a:cubicBezTo>
                <a:cubicBezTo>
                  <a:pt x="50" y="275"/>
                  <a:pt x="76" y="325"/>
                  <a:pt x="50" y="325"/>
                </a:cubicBezTo>
                <a:cubicBezTo>
                  <a:pt x="0" y="350"/>
                  <a:pt x="0" y="375"/>
                  <a:pt x="25" y="400"/>
                </a:cubicBezTo>
                <a:cubicBezTo>
                  <a:pt x="50" y="400"/>
                  <a:pt x="25" y="450"/>
                  <a:pt x="25" y="475"/>
                </a:cubicBezTo>
                <a:cubicBezTo>
                  <a:pt x="25" y="500"/>
                  <a:pt x="50" y="475"/>
                  <a:pt x="76" y="450"/>
                </a:cubicBezTo>
                <a:cubicBezTo>
                  <a:pt x="100" y="425"/>
                  <a:pt x="125" y="450"/>
                  <a:pt x="125" y="425"/>
                </a:cubicBezTo>
                <a:cubicBezTo>
                  <a:pt x="125" y="400"/>
                  <a:pt x="76" y="400"/>
                  <a:pt x="76" y="375"/>
                </a:cubicBezTo>
                <a:cubicBezTo>
                  <a:pt x="76" y="325"/>
                  <a:pt x="125" y="375"/>
                  <a:pt x="150" y="350"/>
                </a:cubicBezTo>
                <a:cubicBezTo>
                  <a:pt x="176" y="350"/>
                  <a:pt x="250" y="350"/>
                  <a:pt x="300" y="400"/>
                </a:cubicBezTo>
                <a:cubicBezTo>
                  <a:pt x="325" y="425"/>
                  <a:pt x="350" y="400"/>
                  <a:pt x="350" y="375"/>
                </a:cubicBezTo>
                <a:cubicBezTo>
                  <a:pt x="350" y="325"/>
                  <a:pt x="425" y="300"/>
                  <a:pt x="476" y="300"/>
                </a:cubicBezTo>
                <a:cubicBezTo>
                  <a:pt x="550" y="300"/>
                  <a:pt x="550" y="275"/>
                  <a:pt x="525" y="250"/>
                </a:cubicBezTo>
                <a:cubicBezTo>
                  <a:pt x="525" y="250"/>
                  <a:pt x="650" y="175"/>
                  <a:pt x="650" y="150"/>
                </a:cubicBezTo>
                <a:cubicBezTo>
                  <a:pt x="625" y="125"/>
                  <a:pt x="576" y="200"/>
                  <a:pt x="550" y="1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 name="Freeform 178">
            <a:extLst>
              <a:ext uri="{FF2B5EF4-FFF2-40B4-BE49-F238E27FC236}">
                <a16:creationId xmlns:a16="http://schemas.microsoft.com/office/drawing/2014/main" id="{8C51A6EE-67A8-6BCE-B161-CC93B88BB75E}"/>
              </a:ext>
            </a:extLst>
          </p:cNvPr>
          <p:cNvSpPr>
            <a:spLocks noChangeArrowheads="1"/>
          </p:cNvSpPr>
          <p:nvPr/>
        </p:nvSpPr>
        <p:spPr bwMode="auto">
          <a:xfrm>
            <a:off x="6560606" y="3353800"/>
            <a:ext cx="351560" cy="279841"/>
          </a:xfrm>
          <a:custGeom>
            <a:avLst/>
            <a:gdLst>
              <a:gd name="T0" fmla="*/ 900 w 1101"/>
              <a:gd name="T1" fmla="*/ 75 h 876"/>
              <a:gd name="T2" fmla="*/ 900 w 1101"/>
              <a:gd name="T3" fmla="*/ 75 h 876"/>
              <a:gd name="T4" fmla="*/ 875 w 1101"/>
              <a:gd name="T5" fmla="*/ 200 h 876"/>
              <a:gd name="T6" fmla="*/ 825 w 1101"/>
              <a:gd name="T7" fmla="*/ 325 h 876"/>
              <a:gd name="T8" fmla="*/ 775 w 1101"/>
              <a:gd name="T9" fmla="*/ 425 h 876"/>
              <a:gd name="T10" fmla="*/ 675 w 1101"/>
              <a:gd name="T11" fmla="*/ 475 h 876"/>
              <a:gd name="T12" fmla="*/ 625 w 1101"/>
              <a:gd name="T13" fmla="*/ 450 h 876"/>
              <a:gd name="T14" fmla="*/ 550 w 1101"/>
              <a:gd name="T15" fmla="*/ 525 h 876"/>
              <a:gd name="T16" fmla="*/ 500 w 1101"/>
              <a:gd name="T17" fmla="*/ 625 h 876"/>
              <a:gd name="T18" fmla="*/ 425 w 1101"/>
              <a:gd name="T19" fmla="*/ 650 h 876"/>
              <a:gd name="T20" fmla="*/ 325 w 1101"/>
              <a:gd name="T21" fmla="*/ 650 h 876"/>
              <a:gd name="T22" fmla="*/ 175 w 1101"/>
              <a:gd name="T23" fmla="*/ 650 h 876"/>
              <a:gd name="T24" fmla="*/ 50 w 1101"/>
              <a:gd name="T25" fmla="*/ 775 h 876"/>
              <a:gd name="T26" fmla="*/ 50 w 1101"/>
              <a:gd name="T27" fmla="*/ 825 h 876"/>
              <a:gd name="T28" fmla="*/ 150 w 1101"/>
              <a:gd name="T29" fmla="*/ 800 h 876"/>
              <a:gd name="T30" fmla="*/ 375 w 1101"/>
              <a:gd name="T31" fmla="*/ 750 h 876"/>
              <a:gd name="T32" fmla="*/ 425 w 1101"/>
              <a:gd name="T33" fmla="*/ 825 h 876"/>
              <a:gd name="T34" fmla="*/ 525 w 1101"/>
              <a:gd name="T35" fmla="*/ 825 h 876"/>
              <a:gd name="T36" fmla="*/ 550 w 1101"/>
              <a:gd name="T37" fmla="*/ 750 h 876"/>
              <a:gd name="T38" fmla="*/ 600 w 1101"/>
              <a:gd name="T39" fmla="*/ 750 h 876"/>
              <a:gd name="T40" fmla="*/ 700 w 1101"/>
              <a:gd name="T41" fmla="*/ 725 h 876"/>
              <a:gd name="T42" fmla="*/ 775 w 1101"/>
              <a:gd name="T43" fmla="*/ 750 h 876"/>
              <a:gd name="T44" fmla="*/ 825 w 1101"/>
              <a:gd name="T45" fmla="*/ 675 h 876"/>
              <a:gd name="T46" fmla="*/ 926 w 1101"/>
              <a:gd name="T47" fmla="*/ 675 h 876"/>
              <a:gd name="T48" fmla="*/ 950 w 1101"/>
              <a:gd name="T49" fmla="*/ 525 h 876"/>
              <a:gd name="T50" fmla="*/ 975 w 1101"/>
              <a:gd name="T51" fmla="*/ 400 h 876"/>
              <a:gd name="T52" fmla="*/ 1050 w 1101"/>
              <a:gd name="T53" fmla="*/ 300 h 876"/>
              <a:gd name="T54" fmla="*/ 1000 w 1101"/>
              <a:gd name="T55" fmla="*/ 50 h 876"/>
              <a:gd name="T56" fmla="*/ 900 w 1101"/>
              <a:gd name="T57" fmla="*/ 7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1" h="876">
                <a:moveTo>
                  <a:pt x="900" y="75"/>
                </a:moveTo>
                <a:lnTo>
                  <a:pt x="900" y="75"/>
                </a:lnTo>
                <a:cubicBezTo>
                  <a:pt x="875" y="75"/>
                  <a:pt x="850" y="175"/>
                  <a:pt x="875" y="200"/>
                </a:cubicBezTo>
                <a:cubicBezTo>
                  <a:pt x="900" y="225"/>
                  <a:pt x="825" y="275"/>
                  <a:pt x="825" y="325"/>
                </a:cubicBezTo>
                <a:cubicBezTo>
                  <a:pt x="825" y="375"/>
                  <a:pt x="775" y="375"/>
                  <a:pt x="775" y="425"/>
                </a:cubicBezTo>
                <a:cubicBezTo>
                  <a:pt x="750" y="450"/>
                  <a:pt x="725" y="450"/>
                  <a:pt x="675" y="475"/>
                </a:cubicBezTo>
                <a:cubicBezTo>
                  <a:pt x="625" y="525"/>
                  <a:pt x="600" y="475"/>
                  <a:pt x="625" y="450"/>
                </a:cubicBezTo>
                <a:cubicBezTo>
                  <a:pt x="625" y="425"/>
                  <a:pt x="550" y="475"/>
                  <a:pt x="550" y="525"/>
                </a:cubicBezTo>
                <a:cubicBezTo>
                  <a:pt x="550" y="575"/>
                  <a:pt x="475" y="600"/>
                  <a:pt x="500" y="625"/>
                </a:cubicBezTo>
                <a:cubicBezTo>
                  <a:pt x="525" y="650"/>
                  <a:pt x="425" y="675"/>
                  <a:pt x="425" y="650"/>
                </a:cubicBezTo>
                <a:cubicBezTo>
                  <a:pt x="450" y="625"/>
                  <a:pt x="375" y="625"/>
                  <a:pt x="325" y="650"/>
                </a:cubicBezTo>
                <a:cubicBezTo>
                  <a:pt x="250" y="675"/>
                  <a:pt x="225" y="625"/>
                  <a:pt x="175" y="650"/>
                </a:cubicBezTo>
                <a:cubicBezTo>
                  <a:pt x="150" y="700"/>
                  <a:pt x="75" y="750"/>
                  <a:pt x="50" y="775"/>
                </a:cubicBezTo>
                <a:cubicBezTo>
                  <a:pt x="0" y="775"/>
                  <a:pt x="25" y="825"/>
                  <a:pt x="50" y="825"/>
                </a:cubicBezTo>
                <a:cubicBezTo>
                  <a:pt x="75" y="800"/>
                  <a:pt x="125" y="825"/>
                  <a:pt x="150" y="800"/>
                </a:cubicBezTo>
                <a:cubicBezTo>
                  <a:pt x="150" y="775"/>
                  <a:pt x="300" y="750"/>
                  <a:pt x="375" y="750"/>
                </a:cubicBezTo>
                <a:cubicBezTo>
                  <a:pt x="450" y="750"/>
                  <a:pt x="400" y="775"/>
                  <a:pt x="425" y="825"/>
                </a:cubicBezTo>
                <a:cubicBezTo>
                  <a:pt x="425" y="875"/>
                  <a:pt x="500" y="850"/>
                  <a:pt x="525" y="825"/>
                </a:cubicBezTo>
                <a:cubicBezTo>
                  <a:pt x="575" y="775"/>
                  <a:pt x="600" y="775"/>
                  <a:pt x="550" y="750"/>
                </a:cubicBezTo>
                <a:cubicBezTo>
                  <a:pt x="525" y="725"/>
                  <a:pt x="575" y="700"/>
                  <a:pt x="600" y="750"/>
                </a:cubicBezTo>
                <a:cubicBezTo>
                  <a:pt x="600" y="775"/>
                  <a:pt x="675" y="775"/>
                  <a:pt x="700" y="725"/>
                </a:cubicBezTo>
                <a:cubicBezTo>
                  <a:pt x="725" y="700"/>
                  <a:pt x="750" y="750"/>
                  <a:pt x="775" y="750"/>
                </a:cubicBezTo>
                <a:cubicBezTo>
                  <a:pt x="800" y="725"/>
                  <a:pt x="825" y="650"/>
                  <a:pt x="825" y="675"/>
                </a:cubicBezTo>
                <a:cubicBezTo>
                  <a:pt x="825" y="725"/>
                  <a:pt x="900" y="700"/>
                  <a:pt x="926" y="675"/>
                </a:cubicBezTo>
                <a:cubicBezTo>
                  <a:pt x="950" y="625"/>
                  <a:pt x="926" y="575"/>
                  <a:pt x="950" y="525"/>
                </a:cubicBezTo>
                <a:cubicBezTo>
                  <a:pt x="975" y="500"/>
                  <a:pt x="1000" y="425"/>
                  <a:pt x="975" y="400"/>
                </a:cubicBezTo>
                <a:cubicBezTo>
                  <a:pt x="950" y="350"/>
                  <a:pt x="1026" y="325"/>
                  <a:pt x="1050" y="300"/>
                </a:cubicBezTo>
                <a:cubicBezTo>
                  <a:pt x="1100" y="250"/>
                  <a:pt x="1026" y="100"/>
                  <a:pt x="1000" y="50"/>
                </a:cubicBezTo>
                <a:cubicBezTo>
                  <a:pt x="1000" y="0"/>
                  <a:pt x="926" y="50"/>
                  <a:pt x="900"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 name="Freeform 179">
            <a:extLst>
              <a:ext uri="{FF2B5EF4-FFF2-40B4-BE49-F238E27FC236}">
                <a16:creationId xmlns:a16="http://schemas.microsoft.com/office/drawing/2014/main" id="{B6E95232-3DA9-712C-4F79-DCFB0C37F777}"/>
              </a:ext>
            </a:extLst>
          </p:cNvPr>
          <p:cNvSpPr>
            <a:spLocks noChangeArrowheads="1"/>
          </p:cNvSpPr>
          <p:nvPr/>
        </p:nvSpPr>
        <p:spPr bwMode="auto">
          <a:xfrm>
            <a:off x="6521233" y="3616764"/>
            <a:ext cx="88593" cy="95624"/>
          </a:xfrm>
          <a:custGeom>
            <a:avLst/>
            <a:gdLst>
              <a:gd name="T0" fmla="*/ 225 w 276"/>
              <a:gd name="T1" fmla="*/ 75 h 301"/>
              <a:gd name="T2" fmla="*/ 225 w 276"/>
              <a:gd name="T3" fmla="*/ 75 h 301"/>
              <a:gd name="T4" fmla="*/ 150 w 276"/>
              <a:gd name="T5" fmla="*/ 25 h 301"/>
              <a:gd name="T6" fmla="*/ 75 w 276"/>
              <a:gd name="T7" fmla="*/ 50 h 301"/>
              <a:gd name="T8" fmla="*/ 25 w 276"/>
              <a:gd name="T9" fmla="*/ 125 h 301"/>
              <a:gd name="T10" fmla="*/ 75 w 276"/>
              <a:gd name="T11" fmla="*/ 100 h 301"/>
              <a:gd name="T12" fmla="*/ 100 w 276"/>
              <a:gd name="T13" fmla="*/ 175 h 301"/>
              <a:gd name="T14" fmla="*/ 125 w 276"/>
              <a:gd name="T15" fmla="*/ 300 h 301"/>
              <a:gd name="T16" fmla="*/ 225 w 276"/>
              <a:gd name="T17" fmla="*/ 150 h 301"/>
              <a:gd name="T18" fmla="*/ 225 w 276"/>
              <a:gd name="T19" fmla="*/ 7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01">
                <a:moveTo>
                  <a:pt x="225" y="75"/>
                </a:moveTo>
                <a:lnTo>
                  <a:pt x="225" y="75"/>
                </a:lnTo>
                <a:cubicBezTo>
                  <a:pt x="225" y="50"/>
                  <a:pt x="150" y="50"/>
                  <a:pt x="150" y="25"/>
                </a:cubicBezTo>
                <a:cubicBezTo>
                  <a:pt x="150" y="0"/>
                  <a:pt x="100" y="25"/>
                  <a:pt x="75" y="50"/>
                </a:cubicBezTo>
                <a:cubicBezTo>
                  <a:pt x="25" y="75"/>
                  <a:pt x="0" y="75"/>
                  <a:pt x="25" y="125"/>
                </a:cubicBezTo>
                <a:cubicBezTo>
                  <a:pt x="50" y="150"/>
                  <a:pt x="75" y="125"/>
                  <a:pt x="75" y="100"/>
                </a:cubicBezTo>
                <a:cubicBezTo>
                  <a:pt x="100" y="50"/>
                  <a:pt x="125" y="125"/>
                  <a:pt x="100" y="175"/>
                </a:cubicBezTo>
                <a:cubicBezTo>
                  <a:pt x="75" y="225"/>
                  <a:pt x="100" y="300"/>
                  <a:pt x="125" y="300"/>
                </a:cubicBezTo>
                <a:cubicBezTo>
                  <a:pt x="150" y="300"/>
                  <a:pt x="200" y="200"/>
                  <a:pt x="225" y="150"/>
                </a:cubicBezTo>
                <a:cubicBezTo>
                  <a:pt x="275" y="75"/>
                  <a:pt x="225" y="100"/>
                  <a:pt x="22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 name="Freeform 180">
            <a:extLst>
              <a:ext uri="{FF2B5EF4-FFF2-40B4-BE49-F238E27FC236}">
                <a16:creationId xmlns:a16="http://schemas.microsoft.com/office/drawing/2014/main" id="{E2A9CCE4-AC15-38AF-34DC-C672711189F1}"/>
              </a:ext>
            </a:extLst>
          </p:cNvPr>
          <p:cNvSpPr>
            <a:spLocks noChangeArrowheads="1"/>
          </p:cNvSpPr>
          <p:nvPr/>
        </p:nvSpPr>
        <p:spPr bwMode="auto">
          <a:xfrm>
            <a:off x="6608419" y="3601297"/>
            <a:ext cx="71717" cy="56249"/>
          </a:xfrm>
          <a:custGeom>
            <a:avLst/>
            <a:gdLst>
              <a:gd name="T0" fmla="*/ 125 w 226"/>
              <a:gd name="T1" fmla="*/ 25 h 176"/>
              <a:gd name="T2" fmla="*/ 125 w 226"/>
              <a:gd name="T3" fmla="*/ 25 h 176"/>
              <a:gd name="T4" fmla="*/ 50 w 226"/>
              <a:gd name="T5" fmla="*/ 50 h 176"/>
              <a:gd name="T6" fmla="*/ 25 w 226"/>
              <a:gd name="T7" fmla="*/ 175 h 176"/>
              <a:gd name="T8" fmla="*/ 75 w 226"/>
              <a:gd name="T9" fmla="*/ 150 h 176"/>
              <a:gd name="T10" fmla="*/ 150 w 226"/>
              <a:gd name="T11" fmla="*/ 125 h 176"/>
              <a:gd name="T12" fmla="*/ 225 w 226"/>
              <a:gd name="T13" fmla="*/ 25 h 176"/>
              <a:gd name="T14" fmla="*/ 125 w 226"/>
              <a:gd name="T15" fmla="*/ 25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176">
                <a:moveTo>
                  <a:pt x="125" y="25"/>
                </a:moveTo>
                <a:lnTo>
                  <a:pt x="125" y="25"/>
                </a:lnTo>
                <a:cubicBezTo>
                  <a:pt x="125" y="50"/>
                  <a:pt x="75" y="25"/>
                  <a:pt x="50" y="50"/>
                </a:cubicBezTo>
                <a:cubicBezTo>
                  <a:pt x="0" y="50"/>
                  <a:pt x="0" y="150"/>
                  <a:pt x="25" y="175"/>
                </a:cubicBezTo>
                <a:cubicBezTo>
                  <a:pt x="50" y="175"/>
                  <a:pt x="75" y="175"/>
                  <a:pt x="75" y="150"/>
                </a:cubicBezTo>
                <a:cubicBezTo>
                  <a:pt x="100" y="100"/>
                  <a:pt x="125" y="100"/>
                  <a:pt x="150" y="125"/>
                </a:cubicBezTo>
                <a:cubicBezTo>
                  <a:pt x="200" y="125"/>
                  <a:pt x="225" y="75"/>
                  <a:pt x="225" y="25"/>
                </a:cubicBezTo>
                <a:cubicBezTo>
                  <a:pt x="225" y="0"/>
                  <a:pt x="150" y="0"/>
                  <a:pt x="125"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2" name="Freeform 240">
            <a:extLst>
              <a:ext uri="{FF2B5EF4-FFF2-40B4-BE49-F238E27FC236}">
                <a16:creationId xmlns:a16="http://schemas.microsoft.com/office/drawing/2014/main" id="{B17FADE0-6880-6469-CB3F-4486E7776838}"/>
              </a:ext>
            </a:extLst>
          </p:cNvPr>
          <p:cNvSpPr>
            <a:spLocks noChangeArrowheads="1"/>
          </p:cNvSpPr>
          <p:nvPr/>
        </p:nvSpPr>
        <p:spPr bwMode="auto">
          <a:xfrm>
            <a:off x="6417168" y="3457860"/>
            <a:ext cx="119531" cy="143437"/>
          </a:xfrm>
          <a:custGeom>
            <a:avLst/>
            <a:gdLst>
              <a:gd name="T0" fmla="*/ 100 w 376"/>
              <a:gd name="T1" fmla="*/ 50 h 451"/>
              <a:gd name="T2" fmla="*/ 100 w 376"/>
              <a:gd name="T3" fmla="*/ 50 h 451"/>
              <a:gd name="T4" fmla="*/ 50 w 376"/>
              <a:gd name="T5" fmla="*/ 75 h 451"/>
              <a:gd name="T6" fmla="*/ 75 w 376"/>
              <a:gd name="T7" fmla="*/ 125 h 451"/>
              <a:gd name="T8" fmla="*/ 75 w 376"/>
              <a:gd name="T9" fmla="*/ 175 h 451"/>
              <a:gd name="T10" fmla="*/ 50 w 376"/>
              <a:gd name="T11" fmla="*/ 250 h 451"/>
              <a:gd name="T12" fmla="*/ 25 w 376"/>
              <a:gd name="T13" fmla="*/ 375 h 451"/>
              <a:gd name="T14" fmla="*/ 50 w 376"/>
              <a:gd name="T15" fmla="*/ 425 h 451"/>
              <a:gd name="T16" fmla="*/ 225 w 376"/>
              <a:gd name="T17" fmla="*/ 375 h 451"/>
              <a:gd name="T18" fmla="*/ 325 w 376"/>
              <a:gd name="T19" fmla="*/ 350 h 451"/>
              <a:gd name="T20" fmla="*/ 350 w 376"/>
              <a:gd name="T21" fmla="*/ 300 h 451"/>
              <a:gd name="T22" fmla="*/ 325 w 376"/>
              <a:gd name="T23" fmla="*/ 175 h 451"/>
              <a:gd name="T24" fmla="*/ 225 w 376"/>
              <a:gd name="T25" fmla="*/ 0 h 451"/>
              <a:gd name="T26" fmla="*/ 175 w 376"/>
              <a:gd name="T27" fmla="*/ 25 h 451"/>
              <a:gd name="T28" fmla="*/ 100 w 376"/>
              <a:gd name="T29" fmla="*/ 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6" h="451">
                <a:moveTo>
                  <a:pt x="100" y="50"/>
                </a:moveTo>
                <a:lnTo>
                  <a:pt x="100" y="50"/>
                </a:lnTo>
                <a:lnTo>
                  <a:pt x="50" y="75"/>
                </a:lnTo>
                <a:cubicBezTo>
                  <a:pt x="50" y="100"/>
                  <a:pt x="50" y="125"/>
                  <a:pt x="75" y="125"/>
                </a:cubicBezTo>
                <a:cubicBezTo>
                  <a:pt x="100" y="125"/>
                  <a:pt x="100" y="175"/>
                  <a:pt x="75" y="175"/>
                </a:cubicBezTo>
                <a:cubicBezTo>
                  <a:pt x="25" y="175"/>
                  <a:pt x="25" y="225"/>
                  <a:pt x="50" y="250"/>
                </a:cubicBezTo>
                <a:cubicBezTo>
                  <a:pt x="100" y="300"/>
                  <a:pt x="0" y="350"/>
                  <a:pt x="25" y="375"/>
                </a:cubicBezTo>
                <a:cubicBezTo>
                  <a:pt x="50" y="400"/>
                  <a:pt x="25" y="425"/>
                  <a:pt x="50" y="425"/>
                </a:cubicBezTo>
                <a:cubicBezTo>
                  <a:pt x="50" y="450"/>
                  <a:pt x="175" y="425"/>
                  <a:pt x="225" y="375"/>
                </a:cubicBezTo>
                <a:cubicBezTo>
                  <a:pt x="275" y="325"/>
                  <a:pt x="300" y="325"/>
                  <a:pt x="325" y="350"/>
                </a:cubicBezTo>
                <a:cubicBezTo>
                  <a:pt x="350" y="350"/>
                  <a:pt x="375" y="325"/>
                  <a:pt x="350" y="300"/>
                </a:cubicBezTo>
                <a:cubicBezTo>
                  <a:pt x="350" y="275"/>
                  <a:pt x="325" y="225"/>
                  <a:pt x="325" y="175"/>
                </a:cubicBezTo>
                <a:cubicBezTo>
                  <a:pt x="325" y="125"/>
                  <a:pt x="275" y="50"/>
                  <a:pt x="225" y="0"/>
                </a:cubicBezTo>
                <a:cubicBezTo>
                  <a:pt x="225" y="25"/>
                  <a:pt x="200" y="25"/>
                  <a:pt x="175" y="25"/>
                </a:cubicBezTo>
                <a:cubicBezTo>
                  <a:pt x="150" y="25"/>
                  <a:pt x="100" y="25"/>
                  <a:pt x="100" y="50"/>
                </a:cubicBezTo>
              </a:path>
            </a:pathLst>
          </a:custGeom>
          <a:solidFill>
            <a:srgbClr val="2B7A88"/>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3" name="Freeform 53">
            <a:extLst>
              <a:ext uri="{FF2B5EF4-FFF2-40B4-BE49-F238E27FC236}">
                <a16:creationId xmlns:a16="http://schemas.microsoft.com/office/drawing/2014/main" id="{DCAF8D4A-BBBE-D4B5-7DBD-21A4059C2FB2}"/>
              </a:ext>
            </a:extLst>
          </p:cNvPr>
          <p:cNvSpPr>
            <a:spLocks noChangeArrowheads="1"/>
          </p:cNvSpPr>
          <p:nvPr/>
        </p:nvSpPr>
        <p:spPr bwMode="auto">
          <a:xfrm rot="825878">
            <a:off x="4860394" y="3536565"/>
            <a:ext cx="151008" cy="7676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114" name="Freeform 53">
            <a:extLst>
              <a:ext uri="{FF2B5EF4-FFF2-40B4-BE49-F238E27FC236}">
                <a16:creationId xmlns:a16="http://schemas.microsoft.com/office/drawing/2014/main" id="{D0C79F32-E379-FA7E-F336-EAC6FA25B555}"/>
              </a:ext>
            </a:extLst>
          </p:cNvPr>
          <p:cNvSpPr>
            <a:spLocks noChangeArrowheads="1"/>
          </p:cNvSpPr>
          <p:nvPr/>
        </p:nvSpPr>
        <p:spPr bwMode="auto">
          <a:xfrm rot="1353389">
            <a:off x="4910694" y="3552079"/>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115" name="Freeform 53">
            <a:extLst>
              <a:ext uri="{FF2B5EF4-FFF2-40B4-BE49-F238E27FC236}">
                <a16:creationId xmlns:a16="http://schemas.microsoft.com/office/drawing/2014/main" id="{26C1BEA7-D2AF-3AF0-8E4E-F01A7BFA92C1}"/>
              </a:ext>
            </a:extLst>
          </p:cNvPr>
          <p:cNvSpPr>
            <a:spLocks noChangeArrowheads="1"/>
          </p:cNvSpPr>
          <p:nvPr/>
        </p:nvSpPr>
        <p:spPr bwMode="auto">
          <a:xfrm>
            <a:off x="4893550" y="3536607"/>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grpSp>
        <p:nvGrpSpPr>
          <p:cNvPr id="116" name="Group 115">
            <a:extLst>
              <a:ext uri="{FF2B5EF4-FFF2-40B4-BE49-F238E27FC236}">
                <a16:creationId xmlns:a16="http://schemas.microsoft.com/office/drawing/2014/main" id="{8198E9FC-2CC3-4F17-E592-63002094883B}"/>
              </a:ext>
            </a:extLst>
          </p:cNvPr>
          <p:cNvGrpSpPr/>
          <p:nvPr/>
        </p:nvGrpSpPr>
        <p:grpSpPr>
          <a:xfrm>
            <a:off x="4717914" y="3532410"/>
            <a:ext cx="838120" cy="902745"/>
            <a:chOff x="5860433" y="2768739"/>
            <a:chExt cx="628590" cy="677059"/>
          </a:xfrm>
          <a:solidFill>
            <a:srgbClr val="000C47"/>
          </a:solidFill>
        </p:grpSpPr>
        <p:sp>
          <p:nvSpPr>
            <p:cNvPr id="117" name="Freeform 45">
              <a:extLst>
                <a:ext uri="{FF2B5EF4-FFF2-40B4-BE49-F238E27FC236}">
                  <a16:creationId xmlns:a16="http://schemas.microsoft.com/office/drawing/2014/main" id="{A0A642F4-65D9-72ED-0ADC-4A515F745934}"/>
                </a:ext>
              </a:extLst>
            </p:cNvPr>
            <p:cNvSpPr>
              <a:spLocks noChangeArrowheads="1"/>
            </p:cNvSpPr>
            <p:nvPr/>
          </p:nvSpPr>
          <p:spPr bwMode="auto">
            <a:xfrm>
              <a:off x="5860433" y="2787677"/>
              <a:ext cx="628590" cy="658121"/>
            </a:xfrm>
            <a:custGeom>
              <a:avLst/>
              <a:gdLst>
                <a:gd name="T0" fmla="*/ 1875 w 2626"/>
                <a:gd name="T1" fmla="*/ 1249 h 2750"/>
                <a:gd name="T2" fmla="*/ 1900 w 2626"/>
                <a:gd name="T3" fmla="*/ 1050 h 2750"/>
                <a:gd name="T4" fmla="*/ 1900 w 2626"/>
                <a:gd name="T5" fmla="*/ 975 h 2750"/>
                <a:gd name="T6" fmla="*/ 2025 w 2626"/>
                <a:gd name="T7" fmla="*/ 1074 h 2750"/>
                <a:gd name="T8" fmla="*/ 2200 w 2626"/>
                <a:gd name="T9" fmla="*/ 1099 h 2750"/>
                <a:gd name="T10" fmla="*/ 2100 w 2626"/>
                <a:gd name="T11" fmla="*/ 1300 h 2750"/>
                <a:gd name="T12" fmla="*/ 2225 w 2626"/>
                <a:gd name="T13" fmla="*/ 1400 h 2750"/>
                <a:gd name="T14" fmla="*/ 2250 w 2626"/>
                <a:gd name="T15" fmla="*/ 1300 h 2750"/>
                <a:gd name="T16" fmla="*/ 2350 w 2626"/>
                <a:gd name="T17" fmla="*/ 1200 h 2750"/>
                <a:gd name="T18" fmla="*/ 2401 w 2626"/>
                <a:gd name="T19" fmla="*/ 975 h 2750"/>
                <a:gd name="T20" fmla="*/ 2550 w 2626"/>
                <a:gd name="T21" fmla="*/ 875 h 2750"/>
                <a:gd name="T22" fmla="*/ 2575 w 2626"/>
                <a:gd name="T23" fmla="*/ 801 h 2750"/>
                <a:gd name="T24" fmla="*/ 2550 w 2626"/>
                <a:gd name="T25" fmla="*/ 725 h 2750"/>
                <a:gd name="T26" fmla="*/ 2475 w 2626"/>
                <a:gd name="T27" fmla="*/ 675 h 2750"/>
                <a:gd name="T28" fmla="*/ 2275 w 2626"/>
                <a:gd name="T29" fmla="*/ 725 h 2750"/>
                <a:gd name="T30" fmla="*/ 2200 w 2626"/>
                <a:gd name="T31" fmla="*/ 801 h 2750"/>
                <a:gd name="T32" fmla="*/ 2150 w 2626"/>
                <a:gd name="T33" fmla="*/ 901 h 2750"/>
                <a:gd name="T34" fmla="*/ 1975 w 2626"/>
                <a:gd name="T35" fmla="*/ 901 h 2750"/>
                <a:gd name="T36" fmla="*/ 1875 w 2626"/>
                <a:gd name="T37" fmla="*/ 825 h 2750"/>
                <a:gd name="T38" fmla="*/ 1800 w 2626"/>
                <a:gd name="T39" fmla="*/ 825 h 2750"/>
                <a:gd name="T40" fmla="*/ 1650 w 2626"/>
                <a:gd name="T41" fmla="*/ 925 h 2750"/>
                <a:gd name="T42" fmla="*/ 1475 w 2626"/>
                <a:gd name="T43" fmla="*/ 825 h 2750"/>
                <a:gd name="T44" fmla="*/ 1300 w 2626"/>
                <a:gd name="T45" fmla="*/ 801 h 2750"/>
                <a:gd name="T46" fmla="*/ 1150 w 2626"/>
                <a:gd name="T47" fmla="*/ 725 h 2750"/>
                <a:gd name="T48" fmla="*/ 1125 w 2626"/>
                <a:gd name="T49" fmla="*/ 625 h 2750"/>
                <a:gd name="T50" fmla="*/ 1125 w 2626"/>
                <a:gd name="T51" fmla="*/ 525 h 2750"/>
                <a:gd name="T52" fmla="*/ 1000 w 2626"/>
                <a:gd name="T53" fmla="*/ 425 h 2750"/>
                <a:gd name="T54" fmla="*/ 975 w 2626"/>
                <a:gd name="T55" fmla="*/ 300 h 2750"/>
                <a:gd name="T56" fmla="*/ 1000 w 2626"/>
                <a:gd name="T57" fmla="*/ 200 h 2750"/>
                <a:gd name="T58" fmla="*/ 925 w 2626"/>
                <a:gd name="T59" fmla="*/ 50 h 2750"/>
                <a:gd name="T60" fmla="*/ 850 w 2626"/>
                <a:gd name="T61" fmla="*/ 0 h 2750"/>
                <a:gd name="T62" fmla="*/ 725 w 2626"/>
                <a:gd name="T63" fmla="*/ 100 h 2750"/>
                <a:gd name="T64" fmla="*/ 525 w 2626"/>
                <a:gd name="T65" fmla="*/ 125 h 2750"/>
                <a:gd name="T66" fmla="*/ 600 w 2626"/>
                <a:gd name="T67" fmla="*/ 300 h 2750"/>
                <a:gd name="T68" fmla="*/ 600 w 2626"/>
                <a:gd name="T69" fmla="*/ 425 h 2750"/>
                <a:gd name="T70" fmla="*/ 550 w 2626"/>
                <a:gd name="T71" fmla="*/ 550 h 2750"/>
                <a:gd name="T72" fmla="*/ 450 w 2626"/>
                <a:gd name="T73" fmla="*/ 675 h 2750"/>
                <a:gd name="T74" fmla="*/ 325 w 2626"/>
                <a:gd name="T75" fmla="*/ 801 h 2750"/>
                <a:gd name="T76" fmla="*/ 174 w 2626"/>
                <a:gd name="T77" fmla="*/ 801 h 2750"/>
                <a:gd name="T78" fmla="*/ 174 w 2626"/>
                <a:gd name="T79" fmla="*/ 950 h 2750"/>
                <a:gd name="T80" fmla="*/ 250 w 2626"/>
                <a:gd name="T81" fmla="*/ 1149 h 2750"/>
                <a:gd name="T82" fmla="*/ 74 w 2626"/>
                <a:gd name="T83" fmla="*/ 1149 h 2750"/>
                <a:gd name="T84" fmla="*/ 0 w 2626"/>
                <a:gd name="T85" fmla="*/ 1224 h 2750"/>
                <a:gd name="T86" fmla="*/ 174 w 2626"/>
                <a:gd name="T87" fmla="*/ 1300 h 2750"/>
                <a:gd name="T88" fmla="*/ 250 w 2626"/>
                <a:gd name="T89" fmla="*/ 1524 h 2750"/>
                <a:gd name="T90" fmla="*/ 374 w 2626"/>
                <a:gd name="T91" fmla="*/ 1374 h 2750"/>
                <a:gd name="T92" fmla="*/ 400 w 2626"/>
                <a:gd name="T93" fmla="*/ 1549 h 2750"/>
                <a:gd name="T94" fmla="*/ 475 w 2626"/>
                <a:gd name="T95" fmla="*/ 1874 h 2750"/>
                <a:gd name="T96" fmla="*/ 650 w 2626"/>
                <a:gd name="T97" fmla="*/ 2374 h 2750"/>
                <a:gd name="T98" fmla="*/ 825 w 2626"/>
                <a:gd name="T99" fmla="*/ 2749 h 2750"/>
                <a:gd name="T100" fmla="*/ 1000 w 2626"/>
                <a:gd name="T101" fmla="*/ 2600 h 2750"/>
                <a:gd name="T102" fmla="*/ 1075 w 2626"/>
                <a:gd name="T103" fmla="*/ 2474 h 2750"/>
                <a:gd name="T104" fmla="*/ 1100 w 2626"/>
                <a:gd name="T105" fmla="*/ 2200 h 2750"/>
                <a:gd name="T106" fmla="*/ 1150 w 2626"/>
                <a:gd name="T107" fmla="*/ 2000 h 2750"/>
                <a:gd name="T108" fmla="*/ 1375 w 2626"/>
                <a:gd name="T109" fmla="*/ 1825 h 2750"/>
                <a:gd name="T110" fmla="*/ 1675 w 2626"/>
                <a:gd name="T111" fmla="*/ 1574 h 2750"/>
                <a:gd name="T112" fmla="*/ 1875 w 2626"/>
                <a:gd name="T113" fmla="*/ 1424 h 2750"/>
                <a:gd name="T114" fmla="*/ 1875 w 2626"/>
                <a:gd name="T115" fmla="*/ 1249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26" h="2750">
                  <a:moveTo>
                    <a:pt x="1875" y="1249"/>
                  </a:moveTo>
                  <a:lnTo>
                    <a:pt x="1875" y="1249"/>
                  </a:lnTo>
                  <a:cubicBezTo>
                    <a:pt x="1850" y="1200"/>
                    <a:pt x="1825" y="1124"/>
                    <a:pt x="1850" y="1099"/>
                  </a:cubicBezTo>
                  <a:cubicBezTo>
                    <a:pt x="1850" y="1074"/>
                    <a:pt x="1875" y="1099"/>
                    <a:pt x="1900" y="1050"/>
                  </a:cubicBezTo>
                  <a:cubicBezTo>
                    <a:pt x="1900" y="1025"/>
                    <a:pt x="1800" y="1025"/>
                    <a:pt x="1825" y="975"/>
                  </a:cubicBezTo>
                  <a:cubicBezTo>
                    <a:pt x="1875" y="925"/>
                    <a:pt x="1875" y="975"/>
                    <a:pt x="1900" y="975"/>
                  </a:cubicBezTo>
                  <a:cubicBezTo>
                    <a:pt x="1950" y="975"/>
                    <a:pt x="1975" y="1001"/>
                    <a:pt x="1975" y="1025"/>
                  </a:cubicBezTo>
                  <a:cubicBezTo>
                    <a:pt x="1975" y="1050"/>
                    <a:pt x="2025" y="1074"/>
                    <a:pt x="2025" y="1074"/>
                  </a:cubicBezTo>
                  <a:cubicBezTo>
                    <a:pt x="2025" y="1074"/>
                    <a:pt x="2100" y="1074"/>
                    <a:pt x="2125" y="1074"/>
                  </a:cubicBezTo>
                  <a:cubicBezTo>
                    <a:pt x="2150" y="1074"/>
                    <a:pt x="2200" y="1074"/>
                    <a:pt x="2200" y="1099"/>
                  </a:cubicBezTo>
                  <a:cubicBezTo>
                    <a:pt x="2200" y="1124"/>
                    <a:pt x="2150" y="1200"/>
                    <a:pt x="2125" y="1200"/>
                  </a:cubicBezTo>
                  <a:cubicBezTo>
                    <a:pt x="2075" y="1200"/>
                    <a:pt x="2075" y="1274"/>
                    <a:pt x="2100" y="1300"/>
                  </a:cubicBezTo>
                  <a:cubicBezTo>
                    <a:pt x="2150" y="1300"/>
                    <a:pt x="2175" y="1224"/>
                    <a:pt x="2175" y="1224"/>
                  </a:cubicBezTo>
                  <a:cubicBezTo>
                    <a:pt x="2200" y="1224"/>
                    <a:pt x="2200" y="1300"/>
                    <a:pt x="2225" y="1400"/>
                  </a:cubicBezTo>
                  <a:lnTo>
                    <a:pt x="2225" y="1400"/>
                  </a:lnTo>
                  <a:cubicBezTo>
                    <a:pt x="2250" y="1400"/>
                    <a:pt x="2250" y="1300"/>
                    <a:pt x="2250" y="1300"/>
                  </a:cubicBezTo>
                  <a:cubicBezTo>
                    <a:pt x="2275" y="1274"/>
                    <a:pt x="2275" y="1200"/>
                    <a:pt x="2275" y="1200"/>
                  </a:cubicBezTo>
                  <a:cubicBezTo>
                    <a:pt x="2275" y="1200"/>
                    <a:pt x="2350" y="1224"/>
                    <a:pt x="2350" y="1200"/>
                  </a:cubicBezTo>
                  <a:cubicBezTo>
                    <a:pt x="2350" y="1174"/>
                    <a:pt x="2401" y="1124"/>
                    <a:pt x="2375" y="1074"/>
                  </a:cubicBezTo>
                  <a:cubicBezTo>
                    <a:pt x="2375" y="1050"/>
                    <a:pt x="2401" y="1001"/>
                    <a:pt x="2401" y="975"/>
                  </a:cubicBezTo>
                  <a:cubicBezTo>
                    <a:pt x="2401" y="925"/>
                    <a:pt x="2450" y="925"/>
                    <a:pt x="2475" y="901"/>
                  </a:cubicBezTo>
                  <a:cubicBezTo>
                    <a:pt x="2501" y="875"/>
                    <a:pt x="2550" y="850"/>
                    <a:pt x="2550" y="875"/>
                  </a:cubicBezTo>
                  <a:cubicBezTo>
                    <a:pt x="2550" y="875"/>
                    <a:pt x="2625" y="901"/>
                    <a:pt x="2601" y="875"/>
                  </a:cubicBezTo>
                  <a:cubicBezTo>
                    <a:pt x="2575" y="825"/>
                    <a:pt x="2575" y="801"/>
                    <a:pt x="2575" y="801"/>
                  </a:cubicBezTo>
                  <a:cubicBezTo>
                    <a:pt x="2601" y="801"/>
                    <a:pt x="2601" y="750"/>
                    <a:pt x="2601" y="750"/>
                  </a:cubicBezTo>
                  <a:cubicBezTo>
                    <a:pt x="2601" y="750"/>
                    <a:pt x="2550" y="750"/>
                    <a:pt x="2550" y="725"/>
                  </a:cubicBezTo>
                  <a:cubicBezTo>
                    <a:pt x="2550" y="701"/>
                    <a:pt x="2525" y="675"/>
                    <a:pt x="2525" y="675"/>
                  </a:cubicBezTo>
                  <a:cubicBezTo>
                    <a:pt x="2525" y="650"/>
                    <a:pt x="2475" y="650"/>
                    <a:pt x="2475" y="675"/>
                  </a:cubicBezTo>
                  <a:cubicBezTo>
                    <a:pt x="2450" y="701"/>
                    <a:pt x="2401" y="650"/>
                    <a:pt x="2350" y="675"/>
                  </a:cubicBezTo>
                  <a:cubicBezTo>
                    <a:pt x="2301" y="701"/>
                    <a:pt x="2301" y="725"/>
                    <a:pt x="2275" y="725"/>
                  </a:cubicBezTo>
                  <a:cubicBezTo>
                    <a:pt x="2250" y="725"/>
                    <a:pt x="2250" y="750"/>
                    <a:pt x="2225" y="775"/>
                  </a:cubicBezTo>
                  <a:lnTo>
                    <a:pt x="2200" y="801"/>
                  </a:lnTo>
                  <a:cubicBezTo>
                    <a:pt x="2175" y="801"/>
                    <a:pt x="2150" y="825"/>
                    <a:pt x="2150" y="825"/>
                  </a:cubicBezTo>
                  <a:cubicBezTo>
                    <a:pt x="2150" y="825"/>
                    <a:pt x="2175" y="875"/>
                    <a:pt x="2150" y="901"/>
                  </a:cubicBezTo>
                  <a:cubicBezTo>
                    <a:pt x="2150" y="925"/>
                    <a:pt x="2100" y="901"/>
                    <a:pt x="2050" y="925"/>
                  </a:cubicBezTo>
                  <a:cubicBezTo>
                    <a:pt x="2025" y="925"/>
                    <a:pt x="2000" y="901"/>
                    <a:pt x="1975" y="901"/>
                  </a:cubicBezTo>
                  <a:cubicBezTo>
                    <a:pt x="1950" y="925"/>
                    <a:pt x="1925" y="901"/>
                    <a:pt x="1900" y="901"/>
                  </a:cubicBezTo>
                  <a:cubicBezTo>
                    <a:pt x="1900" y="901"/>
                    <a:pt x="1875" y="850"/>
                    <a:pt x="1875" y="825"/>
                  </a:cubicBezTo>
                  <a:cubicBezTo>
                    <a:pt x="1875" y="801"/>
                    <a:pt x="1875" y="750"/>
                    <a:pt x="1850" y="775"/>
                  </a:cubicBezTo>
                  <a:cubicBezTo>
                    <a:pt x="1825" y="801"/>
                    <a:pt x="1800" y="801"/>
                    <a:pt x="1800" y="825"/>
                  </a:cubicBezTo>
                  <a:cubicBezTo>
                    <a:pt x="1800" y="850"/>
                    <a:pt x="1825" y="901"/>
                    <a:pt x="1800" y="925"/>
                  </a:cubicBezTo>
                  <a:cubicBezTo>
                    <a:pt x="1775" y="950"/>
                    <a:pt x="1675" y="950"/>
                    <a:pt x="1650" y="925"/>
                  </a:cubicBezTo>
                  <a:cubicBezTo>
                    <a:pt x="1625" y="925"/>
                    <a:pt x="1525" y="901"/>
                    <a:pt x="1525" y="901"/>
                  </a:cubicBezTo>
                  <a:cubicBezTo>
                    <a:pt x="1525" y="875"/>
                    <a:pt x="1500" y="825"/>
                    <a:pt x="1475" y="825"/>
                  </a:cubicBezTo>
                  <a:cubicBezTo>
                    <a:pt x="1450" y="825"/>
                    <a:pt x="1400" y="875"/>
                    <a:pt x="1375" y="850"/>
                  </a:cubicBezTo>
                  <a:cubicBezTo>
                    <a:pt x="1375" y="850"/>
                    <a:pt x="1325" y="801"/>
                    <a:pt x="1300" y="801"/>
                  </a:cubicBezTo>
                  <a:cubicBezTo>
                    <a:pt x="1275" y="801"/>
                    <a:pt x="1225" y="775"/>
                    <a:pt x="1225" y="775"/>
                  </a:cubicBezTo>
                  <a:cubicBezTo>
                    <a:pt x="1225" y="750"/>
                    <a:pt x="1175" y="750"/>
                    <a:pt x="1150" y="725"/>
                  </a:cubicBezTo>
                  <a:cubicBezTo>
                    <a:pt x="1150" y="725"/>
                    <a:pt x="1100" y="725"/>
                    <a:pt x="1100" y="701"/>
                  </a:cubicBezTo>
                  <a:cubicBezTo>
                    <a:pt x="1100" y="675"/>
                    <a:pt x="1125" y="650"/>
                    <a:pt x="1125" y="625"/>
                  </a:cubicBezTo>
                  <a:cubicBezTo>
                    <a:pt x="1125" y="601"/>
                    <a:pt x="1175" y="575"/>
                    <a:pt x="1175" y="575"/>
                  </a:cubicBezTo>
                  <a:cubicBezTo>
                    <a:pt x="1175" y="550"/>
                    <a:pt x="1125" y="525"/>
                    <a:pt x="1125" y="525"/>
                  </a:cubicBezTo>
                  <a:cubicBezTo>
                    <a:pt x="1125" y="525"/>
                    <a:pt x="1100" y="475"/>
                    <a:pt x="1075" y="475"/>
                  </a:cubicBezTo>
                  <a:cubicBezTo>
                    <a:pt x="1050" y="475"/>
                    <a:pt x="1025" y="425"/>
                    <a:pt x="1000" y="425"/>
                  </a:cubicBezTo>
                  <a:cubicBezTo>
                    <a:pt x="975" y="425"/>
                    <a:pt x="975" y="375"/>
                    <a:pt x="975" y="350"/>
                  </a:cubicBezTo>
                  <a:cubicBezTo>
                    <a:pt x="950" y="325"/>
                    <a:pt x="950" y="275"/>
                    <a:pt x="975" y="300"/>
                  </a:cubicBezTo>
                  <a:cubicBezTo>
                    <a:pt x="1000" y="325"/>
                    <a:pt x="1050" y="300"/>
                    <a:pt x="1050" y="275"/>
                  </a:cubicBezTo>
                  <a:cubicBezTo>
                    <a:pt x="1025" y="250"/>
                    <a:pt x="1000" y="200"/>
                    <a:pt x="1000" y="200"/>
                  </a:cubicBezTo>
                  <a:cubicBezTo>
                    <a:pt x="1000" y="175"/>
                    <a:pt x="1000" y="125"/>
                    <a:pt x="975" y="100"/>
                  </a:cubicBezTo>
                  <a:cubicBezTo>
                    <a:pt x="950" y="100"/>
                    <a:pt x="925" y="75"/>
                    <a:pt x="925" y="50"/>
                  </a:cubicBezTo>
                  <a:cubicBezTo>
                    <a:pt x="925" y="25"/>
                    <a:pt x="900" y="0"/>
                    <a:pt x="900" y="0"/>
                  </a:cubicBezTo>
                  <a:cubicBezTo>
                    <a:pt x="850" y="0"/>
                    <a:pt x="850" y="0"/>
                    <a:pt x="850" y="0"/>
                  </a:cubicBezTo>
                  <a:cubicBezTo>
                    <a:pt x="850" y="0"/>
                    <a:pt x="825" y="50"/>
                    <a:pt x="825" y="75"/>
                  </a:cubicBezTo>
                  <a:cubicBezTo>
                    <a:pt x="800" y="75"/>
                    <a:pt x="750" y="75"/>
                    <a:pt x="725" y="100"/>
                  </a:cubicBezTo>
                  <a:cubicBezTo>
                    <a:pt x="699" y="125"/>
                    <a:pt x="625" y="75"/>
                    <a:pt x="575" y="75"/>
                  </a:cubicBezTo>
                  <a:cubicBezTo>
                    <a:pt x="550" y="75"/>
                    <a:pt x="525" y="125"/>
                    <a:pt x="525" y="125"/>
                  </a:cubicBezTo>
                  <a:cubicBezTo>
                    <a:pt x="550" y="150"/>
                    <a:pt x="550" y="225"/>
                    <a:pt x="550" y="225"/>
                  </a:cubicBezTo>
                  <a:cubicBezTo>
                    <a:pt x="550" y="225"/>
                    <a:pt x="575" y="325"/>
                    <a:pt x="600" y="300"/>
                  </a:cubicBezTo>
                  <a:cubicBezTo>
                    <a:pt x="650" y="300"/>
                    <a:pt x="675" y="350"/>
                    <a:pt x="650" y="350"/>
                  </a:cubicBezTo>
                  <a:cubicBezTo>
                    <a:pt x="625" y="350"/>
                    <a:pt x="600" y="400"/>
                    <a:pt x="600" y="425"/>
                  </a:cubicBezTo>
                  <a:cubicBezTo>
                    <a:pt x="600" y="450"/>
                    <a:pt x="600" y="475"/>
                    <a:pt x="575" y="501"/>
                  </a:cubicBezTo>
                  <a:cubicBezTo>
                    <a:pt x="550" y="501"/>
                    <a:pt x="550" y="501"/>
                    <a:pt x="550" y="550"/>
                  </a:cubicBezTo>
                  <a:cubicBezTo>
                    <a:pt x="550" y="575"/>
                    <a:pt x="499" y="575"/>
                    <a:pt x="475" y="575"/>
                  </a:cubicBezTo>
                  <a:cubicBezTo>
                    <a:pt x="475" y="601"/>
                    <a:pt x="450" y="675"/>
                    <a:pt x="450" y="675"/>
                  </a:cubicBezTo>
                  <a:cubicBezTo>
                    <a:pt x="425" y="701"/>
                    <a:pt x="374" y="701"/>
                    <a:pt x="374" y="725"/>
                  </a:cubicBezTo>
                  <a:cubicBezTo>
                    <a:pt x="374" y="775"/>
                    <a:pt x="325" y="801"/>
                    <a:pt x="325" y="801"/>
                  </a:cubicBezTo>
                  <a:cubicBezTo>
                    <a:pt x="300" y="801"/>
                    <a:pt x="274" y="775"/>
                    <a:pt x="250" y="801"/>
                  </a:cubicBezTo>
                  <a:cubicBezTo>
                    <a:pt x="250" y="825"/>
                    <a:pt x="200" y="801"/>
                    <a:pt x="174" y="801"/>
                  </a:cubicBezTo>
                  <a:cubicBezTo>
                    <a:pt x="174" y="801"/>
                    <a:pt x="125" y="850"/>
                    <a:pt x="125" y="901"/>
                  </a:cubicBezTo>
                  <a:cubicBezTo>
                    <a:pt x="125" y="925"/>
                    <a:pt x="174" y="925"/>
                    <a:pt x="174" y="950"/>
                  </a:cubicBezTo>
                  <a:cubicBezTo>
                    <a:pt x="174" y="1001"/>
                    <a:pt x="200" y="1025"/>
                    <a:pt x="225" y="1050"/>
                  </a:cubicBezTo>
                  <a:cubicBezTo>
                    <a:pt x="225" y="1074"/>
                    <a:pt x="250" y="1124"/>
                    <a:pt x="250" y="1149"/>
                  </a:cubicBezTo>
                  <a:cubicBezTo>
                    <a:pt x="225" y="1149"/>
                    <a:pt x="200" y="1174"/>
                    <a:pt x="174" y="1149"/>
                  </a:cubicBezTo>
                  <a:cubicBezTo>
                    <a:pt x="150" y="1149"/>
                    <a:pt x="150" y="1174"/>
                    <a:pt x="74" y="1149"/>
                  </a:cubicBezTo>
                  <a:cubicBezTo>
                    <a:pt x="25" y="1149"/>
                    <a:pt x="25" y="1200"/>
                    <a:pt x="0" y="1224"/>
                  </a:cubicBezTo>
                  <a:lnTo>
                    <a:pt x="0" y="1224"/>
                  </a:lnTo>
                  <a:cubicBezTo>
                    <a:pt x="25" y="1249"/>
                    <a:pt x="25" y="1300"/>
                    <a:pt x="74" y="1300"/>
                  </a:cubicBezTo>
                  <a:cubicBezTo>
                    <a:pt x="125" y="1324"/>
                    <a:pt x="174" y="1274"/>
                    <a:pt x="174" y="1300"/>
                  </a:cubicBezTo>
                  <a:cubicBezTo>
                    <a:pt x="174" y="1349"/>
                    <a:pt x="50" y="1349"/>
                    <a:pt x="50" y="1349"/>
                  </a:cubicBezTo>
                  <a:cubicBezTo>
                    <a:pt x="50" y="1374"/>
                    <a:pt x="174" y="1524"/>
                    <a:pt x="250" y="1524"/>
                  </a:cubicBezTo>
                  <a:cubicBezTo>
                    <a:pt x="325" y="1500"/>
                    <a:pt x="374" y="1424"/>
                    <a:pt x="350" y="1424"/>
                  </a:cubicBezTo>
                  <a:cubicBezTo>
                    <a:pt x="325" y="1400"/>
                    <a:pt x="374" y="1374"/>
                    <a:pt x="374" y="1374"/>
                  </a:cubicBezTo>
                  <a:cubicBezTo>
                    <a:pt x="400" y="1374"/>
                    <a:pt x="374" y="1449"/>
                    <a:pt x="400" y="1474"/>
                  </a:cubicBezTo>
                  <a:cubicBezTo>
                    <a:pt x="425" y="1474"/>
                    <a:pt x="425" y="1524"/>
                    <a:pt x="400" y="1549"/>
                  </a:cubicBezTo>
                  <a:cubicBezTo>
                    <a:pt x="400" y="1600"/>
                    <a:pt x="425" y="1674"/>
                    <a:pt x="425" y="1725"/>
                  </a:cubicBezTo>
                  <a:cubicBezTo>
                    <a:pt x="425" y="1749"/>
                    <a:pt x="450" y="1825"/>
                    <a:pt x="475" y="1874"/>
                  </a:cubicBezTo>
                  <a:cubicBezTo>
                    <a:pt x="475" y="1949"/>
                    <a:pt x="525" y="2074"/>
                    <a:pt x="550" y="2125"/>
                  </a:cubicBezTo>
                  <a:cubicBezTo>
                    <a:pt x="600" y="2200"/>
                    <a:pt x="625" y="2349"/>
                    <a:pt x="650" y="2374"/>
                  </a:cubicBezTo>
                  <a:cubicBezTo>
                    <a:pt x="675" y="2399"/>
                    <a:pt x="725" y="2525"/>
                    <a:pt x="725" y="2574"/>
                  </a:cubicBezTo>
                  <a:cubicBezTo>
                    <a:pt x="725" y="2649"/>
                    <a:pt x="800" y="2725"/>
                    <a:pt x="825" y="2749"/>
                  </a:cubicBezTo>
                  <a:cubicBezTo>
                    <a:pt x="850" y="2749"/>
                    <a:pt x="900" y="2725"/>
                    <a:pt x="925" y="2674"/>
                  </a:cubicBezTo>
                  <a:cubicBezTo>
                    <a:pt x="925" y="2649"/>
                    <a:pt x="1000" y="2625"/>
                    <a:pt x="1000" y="2600"/>
                  </a:cubicBezTo>
                  <a:cubicBezTo>
                    <a:pt x="1000" y="2574"/>
                    <a:pt x="1025" y="2525"/>
                    <a:pt x="1050" y="2525"/>
                  </a:cubicBezTo>
                  <a:cubicBezTo>
                    <a:pt x="1075" y="2525"/>
                    <a:pt x="1075" y="2499"/>
                    <a:pt x="1075" y="2474"/>
                  </a:cubicBezTo>
                  <a:cubicBezTo>
                    <a:pt x="1075" y="2425"/>
                    <a:pt x="1075" y="2374"/>
                    <a:pt x="1100" y="2349"/>
                  </a:cubicBezTo>
                  <a:cubicBezTo>
                    <a:pt x="1125" y="2325"/>
                    <a:pt x="1125" y="2225"/>
                    <a:pt x="1100" y="2200"/>
                  </a:cubicBezTo>
                  <a:cubicBezTo>
                    <a:pt x="1100" y="2149"/>
                    <a:pt x="1100" y="2100"/>
                    <a:pt x="1100" y="2074"/>
                  </a:cubicBezTo>
                  <a:cubicBezTo>
                    <a:pt x="1125" y="2049"/>
                    <a:pt x="1125" y="2000"/>
                    <a:pt x="1150" y="2000"/>
                  </a:cubicBezTo>
                  <a:cubicBezTo>
                    <a:pt x="1175" y="2000"/>
                    <a:pt x="1200" y="1974"/>
                    <a:pt x="1250" y="1925"/>
                  </a:cubicBezTo>
                  <a:cubicBezTo>
                    <a:pt x="1275" y="1900"/>
                    <a:pt x="1350" y="1849"/>
                    <a:pt x="1375" y="1825"/>
                  </a:cubicBezTo>
                  <a:cubicBezTo>
                    <a:pt x="1425" y="1800"/>
                    <a:pt x="1500" y="1725"/>
                    <a:pt x="1525" y="1674"/>
                  </a:cubicBezTo>
                  <a:cubicBezTo>
                    <a:pt x="1550" y="1624"/>
                    <a:pt x="1650" y="1600"/>
                    <a:pt x="1675" y="1574"/>
                  </a:cubicBezTo>
                  <a:cubicBezTo>
                    <a:pt x="1725" y="1524"/>
                    <a:pt x="1700" y="1500"/>
                    <a:pt x="1700" y="1474"/>
                  </a:cubicBezTo>
                  <a:cubicBezTo>
                    <a:pt x="1725" y="1424"/>
                    <a:pt x="1825" y="1424"/>
                    <a:pt x="1875" y="1424"/>
                  </a:cubicBezTo>
                  <a:cubicBezTo>
                    <a:pt x="1875" y="1424"/>
                    <a:pt x="1900" y="1424"/>
                    <a:pt x="1900" y="1400"/>
                  </a:cubicBezTo>
                  <a:cubicBezTo>
                    <a:pt x="1900" y="1349"/>
                    <a:pt x="1875" y="1274"/>
                    <a:pt x="1875" y="1249"/>
                  </a:cubicBezTo>
                </a:path>
              </a:pathLst>
            </a:custGeom>
            <a:grp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8" name="Freeform 53">
              <a:extLst>
                <a:ext uri="{FF2B5EF4-FFF2-40B4-BE49-F238E27FC236}">
                  <a16:creationId xmlns:a16="http://schemas.microsoft.com/office/drawing/2014/main" id="{EA58F810-251D-0459-E874-0C05C3E712BE}"/>
                </a:ext>
              </a:extLst>
            </p:cNvPr>
            <p:cNvSpPr>
              <a:spLocks noChangeArrowheads="1"/>
            </p:cNvSpPr>
            <p:nvPr/>
          </p:nvSpPr>
          <p:spPr bwMode="auto">
            <a:xfrm>
              <a:off x="6080239" y="2781261"/>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grpFill/>
            <a:ln w="9525" cap="flat">
              <a:no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9" name="Freeform 53">
              <a:extLst>
                <a:ext uri="{FF2B5EF4-FFF2-40B4-BE49-F238E27FC236}">
                  <a16:creationId xmlns:a16="http://schemas.microsoft.com/office/drawing/2014/main" id="{A6F8DD3D-8EF6-FD6D-A00A-4B21DC812235}"/>
                </a:ext>
              </a:extLst>
            </p:cNvPr>
            <p:cNvSpPr>
              <a:spLocks noChangeArrowheads="1"/>
            </p:cNvSpPr>
            <p:nvPr/>
          </p:nvSpPr>
          <p:spPr bwMode="auto">
            <a:xfrm>
              <a:off x="6019825" y="2781005"/>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grpFill/>
            <a:ln w="9525" cap="flat">
              <a:no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20" name="Freeform 53">
              <a:extLst>
                <a:ext uri="{FF2B5EF4-FFF2-40B4-BE49-F238E27FC236}">
                  <a16:creationId xmlns:a16="http://schemas.microsoft.com/office/drawing/2014/main" id="{89392508-3DF5-A780-46DE-278FD34F1A21}"/>
                </a:ext>
              </a:extLst>
            </p:cNvPr>
            <p:cNvSpPr>
              <a:spLocks noChangeArrowheads="1"/>
            </p:cNvSpPr>
            <p:nvPr/>
          </p:nvSpPr>
          <p:spPr bwMode="auto">
            <a:xfrm>
              <a:off x="5994034" y="2768739"/>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grpFill/>
            <a:ln w="9525" cap="flat">
              <a:no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grpSp>
      <p:sp>
        <p:nvSpPr>
          <p:cNvPr id="124" name="Content Placeholder 4">
            <a:extLst>
              <a:ext uri="{FF2B5EF4-FFF2-40B4-BE49-F238E27FC236}">
                <a16:creationId xmlns:a16="http://schemas.microsoft.com/office/drawing/2014/main" id="{381685E4-B2E9-FBD2-B632-24687427C61E}"/>
              </a:ext>
            </a:extLst>
          </p:cNvPr>
          <p:cNvSpPr txBox="1">
            <a:spLocks/>
          </p:cNvSpPr>
          <p:nvPr/>
        </p:nvSpPr>
        <p:spPr>
          <a:xfrm>
            <a:off x="159746" y="2709158"/>
            <a:ext cx="3251046" cy="417510"/>
          </a:xfrm>
          <a:prstGeom prst="rect">
            <a:avLst/>
          </a:prstGeom>
        </p:spPr>
        <p:txBody>
          <a:bodyPr>
            <a:norm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defRPr/>
            </a:pPr>
            <a:r>
              <a:rPr lang="en-US" sz="800" b="1" dirty="0">
                <a:solidFill>
                  <a:srgbClr val="0B2742"/>
                </a:solidFill>
                <a:latin typeface="+mj-lt"/>
              </a:rPr>
              <a:t>2022-2024</a:t>
            </a:r>
            <a:r>
              <a:rPr lang="en-US" sz="800" dirty="0">
                <a:solidFill>
                  <a:srgbClr val="0B2742"/>
                </a:solidFill>
                <a:latin typeface="+mj-lt"/>
              </a:rPr>
              <a:t>: Tech demonstrations at IMC and BES events</a:t>
            </a:r>
          </a:p>
          <a:p>
            <a:pPr marL="0" indent="0">
              <a:lnSpc>
                <a:spcPct val="100000"/>
              </a:lnSpc>
              <a:spcBef>
                <a:spcPts val="0"/>
              </a:spcBef>
              <a:spcAft>
                <a:spcPts val="600"/>
              </a:spcAft>
              <a:buNone/>
              <a:defRPr/>
            </a:pPr>
            <a:r>
              <a:rPr lang="en-US" sz="800" b="1" dirty="0">
                <a:solidFill>
                  <a:srgbClr val="0B2742"/>
                </a:solidFill>
                <a:highlight>
                  <a:srgbClr val="FFFF00"/>
                </a:highlight>
                <a:latin typeface="+mj-lt"/>
              </a:rPr>
              <a:t>2025</a:t>
            </a:r>
            <a:r>
              <a:rPr lang="en-US" sz="800" dirty="0">
                <a:solidFill>
                  <a:srgbClr val="0B2742"/>
                </a:solidFill>
                <a:highlight>
                  <a:srgbClr val="FFFF00"/>
                </a:highlight>
                <a:latin typeface="+mj-lt"/>
              </a:rPr>
              <a:t>: Proposal to run trial on national broadcast network</a:t>
            </a:r>
          </a:p>
        </p:txBody>
      </p:sp>
      <p:pic>
        <p:nvPicPr>
          <p:cNvPr id="125" name="Picture 124">
            <a:extLst>
              <a:ext uri="{FF2B5EF4-FFF2-40B4-BE49-F238E27FC236}">
                <a16:creationId xmlns:a16="http://schemas.microsoft.com/office/drawing/2014/main" id="{BB67984F-3F7B-4F1F-0452-A6F13728BF8B}"/>
              </a:ext>
            </a:extLst>
          </p:cNvPr>
          <p:cNvPicPr>
            <a:picLocks noChangeAspect="1"/>
          </p:cNvPicPr>
          <p:nvPr/>
        </p:nvPicPr>
        <p:blipFill>
          <a:blip r:embed="rId6"/>
          <a:stretch>
            <a:fillRect/>
          </a:stretch>
        </p:blipFill>
        <p:spPr>
          <a:xfrm>
            <a:off x="293349" y="3230452"/>
            <a:ext cx="2687508" cy="1400730"/>
          </a:xfrm>
          <a:prstGeom prst="rect">
            <a:avLst/>
          </a:prstGeom>
        </p:spPr>
      </p:pic>
      <p:cxnSp>
        <p:nvCxnSpPr>
          <p:cNvPr id="126" name="Straight Connector 125">
            <a:extLst>
              <a:ext uri="{FF2B5EF4-FFF2-40B4-BE49-F238E27FC236}">
                <a16:creationId xmlns:a16="http://schemas.microsoft.com/office/drawing/2014/main" id="{C73ECC99-B7FF-B83E-74B0-54820FFA7927}"/>
              </a:ext>
            </a:extLst>
          </p:cNvPr>
          <p:cNvCxnSpPr>
            <a:cxnSpLocks/>
            <a:endCxn id="104" idx="10"/>
          </p:cNvCxnSpPr>
          <p:nvPr/>
        </p:nvCxnSpPr>
        <p:spPr>
          <a:xfrm>
            <a:off x="2994006" y="2599054"/>
            <a:ext cx="1661814" cy="1121866"/>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7CC305F-827B-6BFD-AB03-C2D49B157132}"/>
              </a:ext>
            </a:extLst>
          </p:cNvPr>
          <p:cNvCxnSpPr>
            <a:cxnSpLocks/>
          </p:cNvCxnSpPr>
          <p:nvPr/>
        </p:nvCxnSpPr>
        <p:spPr>
          <a:xfrm flipH="1">
            <a:off x="5246879" y="5004726"/>
            <a:ext cx="668261" cy="641269"/>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33" name="Content Placeholder 4">
            <a:extLst>
              <a:ext uri="{FF2B5EF4-FFF2-40B4-BE49-F238E27FC236}">
                <a16:creationId xmlns:a16="http://schemas.microsoft.com/office/drawing/2014/main" id="{FC6B203E-5AC3-AA74-69AC-23D31DE50618}"/>
              </a:ext>
            </a:extLst>
          </p:cNvPr>
          <p:cNvSpPr txBox="1">
            <a:spLocks/>
          </p:cNvSpPr>
          <p:nvPr/>
        </p:nvSpPr>
        <p:spPr>
          <a:xfrm>
            <a:off x="3560482" y="5768380"/>
            <a:ext cx="3686124" cy="417510"/>
          </a:xfrm>
          <a:prstGeom prst="rect">
            <a:avLst/>
          </a:prstGeom>
        </p:spPr>
        <p:txBody>
          <a:bodyPr>
            <a:norm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defRPr/>
            </a:pPr>
            <a:r>
              <a:rPr lang="en-US" sz="800" b="1" dirty="0">
                <a:solidFill>
                  <a:srgbClr val="0B2742"/>
                </a:solidFill>
                <a:latin typeface="+mj-lt"/>
              </a:rPr>
              <a:t>2024</a:t>
            </a:r>
            <a:r>
              <a:rPr lang="en-US" sz="800" dirty="0">
                <a:solidFill>
                  <a:srgbClr val="0B2742"/>
                </a:solidFill>
                <a:latin typeface="+mj-lt"/>
              </a:rPr>
              <a:t> : Initial meeting led by Ministry of Communications and Information (MCI) to define next steps towards trial in 2025</a:t>
            </a:r>
          </a:p>
        </p:txBody>
      </p:sp>
      <p:cxnSp>
        <p:nvCxnSpPr>
          <p:cNvPr id="134" name="Straight Connector 133">
            <a:extLst>
              <a:ext uri="{FF2B5EF4-FFF2-40B4-BE49-F238E27FC236}">
                <a16:creationId xmlns:a16="http://schemas.microsoft.com/office/drawing/2014/main" id="{DCC75432-C242-561B-B22A-2F2FBF60E711}"/>
              </a:ext>
            </a:extLst>
          </p:cNvPr>
          <p:cNvCxnSpPr>
            <a:cxnSpLocks/>
            <a:stCxn id="87" idx="13"/>
          </p:cNvCxnSpPr>
          <p:nvPr/>
        </p:nvCxnSpPr>
        <p:spPr>
          <a:xfrm flipV="1">
            <a:off x="5731888" y="4329241"/>
            <a:ext cx="3500135" cy="268189"/>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42" name="Content Placeholder 4">
            <a:extLst>
              <a:ext uri="{FF2B5EF4-FFF2-40B4-BE49-F238E27FC236}">
                <a16:creationId xmlns:a16="http://schemas.microsoft.com/office/drawing/2014/main" id="{99412BD5-1627-82B5-6745-BB89E4CB9A3A}"/>
              </a:ext>
            </a:extLst>
          </p:cNvPr>
          <p:cNvSpPr txBox="1">
            <a:spLocks/>
          </p:cNvSpPr>
          <p:nvPr/>
        </p:nvSpPr>
        <p:spPr>
          <a:xfrm>
            <a:off x="7608899" y="4290726"/>
            <a:ext cx="4583101" cy="633939"/>
          </a:xfrm>
          <a:prstGeom prst="rect">
            <a:avLst/>
          </a:prstGeom>
        </p:spPr>
        <p:txBody>
          <a:bodyPr>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defRPr/>
            </a:pPr>
            <a:r>
              <a:rPr lang="en-US" sz="800" b="1" dirty="0">
                <a:solidFill>
                  <a:srgbClr val="0B2742"/>
                </a:solidFill>
                <a:latin typeface="+mj-lt"/>
              </a:rPr>
              <a:t>2024</a:t>
            </a:r>
            <a:r>
              <a:rPr lang="en-US" sz="800" dirty="0">
                <a:solidFill>
                  <a:srgbClr val="0B2742"/>
                </a:solidFill>
                <a:latin typeface="+mj-lt"/>
              </a:rPr>
              <a:t>: Malaysian Technical Standards Forum released </a:t>
            </a:r>
            <a:r>
              <a:rPr lang="en-US" sz="800" dirty="0">
                <a:solidFill>
                  <a:srgbClr val="0B2742"/>
                </a:solidFill>
                <a:latin typeface="+mj-lt"/>
                <a:hlinkClick r:id="rId7">
                  <a:extLst>
                    <a:ext uri="{A12FA001-AC4F-418D-AE19-62706E023703}">
                      <ahyp:hlinkClr xmlns:ahyp="http://schemas.microsoft.com/office/drawing/2018/hyperlinkcolor" val="tx"/>
                    </a:ext>
                  </a:extLst>
                </a:hlinkClick>
              </a:rPr>
              <a:t>future broadcasting study report </a:t>
            </a:r>
            <a:r>
              <a:rPr lang="en-US" sz="800" dirty="0">
                <a:solidFill>
                  <a:srgbClr val="0B2742"/>
                </a:solidFill>
                <a:latin typeface="+mj-lt"/>
              </a:rPr>
              <a:t>setting the stage for 5G Broadcast </a:t>
            </a:r>
          </a:p>
          <a:p>
            <a:pPr marL="0" indent="0">
              <a:lnSpc>
                <a:spcPct val="100000"/>
              </a:lnSpc>
              <a:spcBef>
                <a:spcPts val="0"/>
              </a:spcBef>
              <a:spcAft>
                <a:spcPts val="600"/>
              </a:spcAft>
              <a:buNone/>
              <a:defRPr/>
            </a:pPr>
            <a:r>
              <a:rPr lang="en-US" sz="800" b="1" dirty="0">
                <a:solidFill>
                  <a:srgbClr val="0B2742"/>
                </a:solidFill>
                <a:latin typeface="+mj-lt"/>
              </a:rPr>
              <a:t>2024</a:t>
            </a:r>
            <a:r>
              <a:rPr lang="en-US" sz="800" dirty="0">
                <a:solidFill>
                  <a:srgbClr val="0B2742"/>
                </a:solidFill>
                <a:latin typeface="+mj-lt"/>
              </a:rPr>
              <a:t>: Malaysian Communication and Multimedia Commission (MCMC) organized  5G Broadcast test-bed facility session with BNOs, MNOs, device manufacturers in preparation of large scale trial in 2025</a:t>
            </a:r>
          </a:p>
          <a:p>
            <a:pPr marL="0" indent="0">
              <a:lnSpc>
                <a:spcPct val="100000"/>
              </a:lnSpc>
              <a:spcBef>
                <a:spcPts val="0"/>
              </a:spcBef>
              <a:spcAft>
                <a:spcPts val="600"/>
              </a:spcAft>
              <a:buNone/>
              <a:defRPr/>
            </a:pPr>
            <a:r>
              <a:rPr lang="en-US" sz="800" b="1" dirty="0">
                <a:solidFill>
                  <a:srgbClr val="0B2742"/>
                </a:solidFill>
                <a:highlight>
                  <a:srgbClr val="FFFF00"/>
                </a:highlight>
                <a:latin typeface="+mj-lt"/>
              </a:rPr>
              <a:t>2025</a:t>
            </a:r>
            <a:r>
              <a:rPr lang="en-US" sz="800" dirty="0">
                <a:solidFill>
                  <a:srgbClr val="0B2742"/>
                </a:solidFill>
                <a:highlight>
                  <a:srgbClr val="FFFF00"/>
                </a:highlight>
                <a:latin typeface="+mj-lt"/>
              </a:rPr>
              <a:t>: upcoming 5G Broadcast Conference in Malaysia, where we will be showcasing various potential use cases of 5G Broadcast technology and initiate large scale trial</a:t>
            </a:r>
          </a:p>
          <a:p>
            <a:pPr>
              <a:lnSpc>
                <a:spcPct val="100000"/>
              </a:lnSpc>
              <a:spcBef>
                <a:spcPts val="0"/>
              </a:spcBef>
              <a:spcAft>
                <a:spcPts val="600"/>
              </a:spcAft>
              <a:defRPr/>
            </a:pPr>
            <a:endParaRPr lang="en-US" sz="300" dirty="0">
              <a:solidFill>
                <a:srgbClr val="0B2742"/>
              </a:solidFill>
              <a:latin typeface="+mj-lt"/>
            </a:endParaRPr>
          </a:p>
        </p:txBody>
      </p:sp>
      <p:sp>
        <p:nvSpPr>
          <p:cNvPr id="143" name="Content Placeholder 4">
            <a:extLst>
              <a:ext uri="{FF2B5EF4-FFF2-40B4-BE49-F238E27FC236}">
                <a16:creationId xmlns:a16="http://schemas.microsoft.com/office/drawing/2014/main" id="{D5111E68-23C4-BC10-2624-0D90873A64E9}"/>
              </a:ext>
            </a:extLst>
          </p:cNvPr>
          <p:cNvSpPr txBox="1">
            <a:spLocks/>
          </p:cNvSpPr>
          <p:nvPr/>
        </p:nvSpPr>
        <p:spPr>
          <a:xfrm>
            <a:off x="8802387" y="1465146"/>
            <a:ext cx="3378060" cy="807966"/>
          </a:xfrm>
          <a:prstGeom prst="rect">
            <a:avLst/>
          </a:prstGeom>
        </p:spPr>
        <p:txBody>
          <a:bodyPr>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defRPr/>
            </a:pPr>
            <a:r>
              <a:rPr lang="en-US" sz="800" b="1" dirty="0">
                <a:solidFill>
                  <a:srgbClr val="0B2742"/>
                </a:solidFill>
                <a:latin typeface="+mj-lt"/>
              </a:rPr>
              <a:t>2023</a:t>
            </a:r>
            <a:r>
              <a:rPr lang="en-US" sz="800" dirty="0">
                <a:solidFill>
                  <a:srgbClr val="0B2742"/>
                </a:solidFill>
                <a:latin typeface="+mj-lt"/>
              </a:rPr>
              <a:t>: Chengdu pilot project with live TV and public warning messages</a:t>
            </a:r>
          </a:p>
          <a:p>
            <a:pPr marL="0" indent="0">
              <a:lnSpc>
                <a:spcPct val="100000"/>
              </a:lnSpc>
              <a:spcBef>
                <a:spcPts val="0"/>
              </a:spcBef>
              <a:spcAft>
                <a:spcPts val="600"/>
              </a:spcAft>
              <a:buNone/>
              <a:defRPr/>
            </a:pPr>
            <a:r>
              <a:rPr lang="en-US" sz="800" b="1" dirty="0">
                <a:solidFill>
                  <a:srgbClr val="0B2742"/>
                </a:solidFill>
                <a:latin typeface="+mj-lt"/>
              </a:rPr>
              <a:t>2023</a:t>
            </a:r>
            <a:r>
              <a:rPr lang="en-US" sz="800" dirty="0">
                <a:solidFill>
                  <a:srgbClr val="0B2742"/>
                </a:solidFill>
                <a:latin typeface="+mj-lt"/>
              </a:rPr>
              <a:t>: </a:t>
            </a:r>
            <a:r>
              <a:rPr lang="en-US" sz="800" dirty="0">
                <a:solidFill>
                  <a:srgbClr val="0B2742"/>
                </a:solidFill>
                <a:latin typeface="+mj-lt"/>
                <a:hlinkClick r:id="rId8"/>
              </a:rPr>
              <a:t>Global 5G Broadcast Summit Forum </a:t>
            </a:r>
            <a:r>
              <a:rPr lang="en-US" sz="800" dirty="0">
                <a:solidFill>
                  <a:srgbClr val="0B2742"/>
                </a:solidFill>
                <a:latin typeface="+mj-lt"/>
              </a:rPr>
              <a:t>hosted by GATIS</a:t>
            </a:r>
          </a:p>
          <a:p>
            <a:pPr marL="0" indent="0">
              <a:lnSpc>
                <a:spcPct val="100000"/>
              </a:lnSpc>
              <a:spcBef>
                <a:spcPts val="0"/>
              </a:spcBef>
              <a:spcAft>
                <a:spcPts val="600"/>
              </a:spcAft>
              <a:buNone/>
              <a:defRPr/>
            </a:pPr>
            <a:r>
              <a:rPr lang="en-US" sz="800" b="1" dirty="0">
                <a:solidFill>
                  <a:srgbClr val="0B2742"/>
                </a:solidFill>
                <a:latin typeface="+mj-lt"/>
              </a:rPr>
              <a:t>2024</a:t>
            </a:r>
            <a:r>
              <a:rPr lang="en-US" sz="800" dirty="0">
                <a:solidFill>
                  <a:srgbClr val="0B2742"/>
                </a:solidFill>
                <a:latin typeface="+mj-lt"/>
              </a:rPr>
              <a:t>: First 5G Broadcast over </a:t>
            </a:r>
            <a:r>
              <a:rPr lang="en-US" sz="800" dirty="0">
                <a:solidFill>
                  <a:srgbClr val="0B2742"/>
                </a:solidFill>
                <a:latin typeface="+mj-lt"/>
                <a:hlinkClick r:id="rId9"/>
              </a:rPr>
              <a:t>Astrum, L-Band GEO satellite</a:t>
            </a:r>
            <a:endParaRPr lang="en-US" sz="800" dirty="0">
              <a:solidFill>
                <a:srgbClr val="0B2742"/>
              </a:solidFill>
              <a:latin typeface="+mj-lt"/>
            </a:endParaRPr>
          </a:p>
          <a:p>
            <a:pPr marL="0" indent="0">
              <a:lnSpc>
                <a:spcPct val="100000"/>
              </a:lnSpc>
              <a:spcBef>
                <a:spcPts val="0"/>
              </a:spcBef>
              <a:spcAft>
                <a:spcPts val="600"/>
              </a:spcAft>
              <a:buNone/>
              <a:defRPr/>
            </a:pPr>
            <a:r>
              <a:rPr lang="en-US" sz="800" b="1" dirty="0">
                <a:solidFill>
                  <a:srgbClr val="0B2742"/>
                </a:solidFill>
                <a:highlight>
                  <a:srgbClr val="FFFF00"/>
                </a:highlight>
                <a:latin typeface="+mj-lt"/>
              </a:rPr>
              <a:t>2025</a:t>
            </a:r>
            <a:r>
              <a:rPr lang="en-US" sz="800" dirty="0">
                <a:solidFill>
                  <a:srgbClr val="0B2742"/>
                </a:solidFill>
                <a:highlight>
                  <a:srgbClr val="FFFF00"/>
                </a:highlight>
                <a:latin typeface="+mj-lt"/>
              </a:rPr>
              <a:t>: Extending to phase 2 with additional sites and additional states </a:t>
            </a:r>
          </a:p>
        </p:txBody>
      </p:sp>
      <p:pic>
        <p:nvPicPr>
          <p:cNvPr id="149" name="d3d44c85bf03cd622c3ebe0a2c23489d">
            <a:hlinkClick r:id="" action="ppaction://media"/>
            <a:extLst>
              <a:ext uri="{FF2B5EF4-FFF2-40B4-BE49-F238E27FC236}">
                <a16:creationId xmlns:a16="http://schemas.microsoft.com/office/drawing/2014/main" id="{1C391666-AE52-ACDA-4215-20C18326B51D}"/>
              </a:ext>
            </a:extLst>
          </p:cNvPr>
          <p:cNvPicPr>
            <a:picLocks noChangeAspect="1"/>
          </p:cNvPicPr>
          <p:nvPr>
            <a:videoFile r:link="rId2"/>
            <p:extLst>
              <p:ext uri="{DAA4B4D4-6D71-4841-9C94-3DE7FCFB9230}">
                <p14:media xmlns:p14="http://schemas.microsoft.com/office/powerpoint/2010/main" r:embed="rId1"/>
              </p:ext>
            </p:extLst>
          </p:nvPr>
        </p:nvPicPr>
        <p:blipFill>
          <a:blip r:embed="rId10"/>
          <a:stretch>
            <a:fillRect/>
          </a:stretch>
        </p:blipFill>
        <p:spPr>
          <a:xfrm>
            <a:off x="9232464" y="2395441"/>
            <a:ext cx="907086" cy="1612598"/>
          </a:xfrm>
          <a:prstGeom prst="rect">
            <a:avLst/>
          </a:prstGeom>
        </p:spPr>
      </p:pic>
      <p:sp>
        <p:nvSpPr>
          <p:cNvPr id="150" name="TextBox 149">
            <a:extLst>
              <a:ext uri="{FF2B5EF4-FFF2-40B4-BE49-F238E27FC236}">
                <a16:creationId xmlns:a16="http://schemas.microsoft.com/office/drawing/2014/main" id="{B11F887C-24AD-2339-BBC4-55738E769B1B}"/>
              </a:ext>
            </a:extLst>
          </p:cNvPr>
          <p:cNvSpPr txBox="1"/>
          <p:nvPr/>
        </p:nvSpPr>
        <p:spPr>
          <a:xfrm>
            <a:off x="8916646" y="4051617"/>
            <a:ext cx="1520202" cy="103426"/>
          </a:xfrm>
          <a:prstGeom prst="rect">
            <a:avLst/>
          </a:prstGeom>
        </p:spPr>
        <p:txBody>
          <a:bodyPr wrap="square" lIns="0" tIns="0" rIns="0" bIns="0" rtlCol="0">
            <a:spAutoFit/>
          </a:bodyPr>
          <a:lstStyle/>
          <a:p>
            <a:pPr algn="ctr">
              <a:lnSpc>
                <a:spcPct val="96000"/>
              </a:lnSpc>
            </a:pPr>
            <a:r>
              <a:rPr lang="en-US" altLang="zh-CN" sz="700">
                <a:latin typeface="Microsoft Sans Serif"/>
                <a:cs typeface="Microsoft Sans Serif" panose="020B0604020202020204" pitchFamily="34" charset="0"/>
              </a:rPr>
              <a:t>Driving test @ 60Km/h</a:t>
            </a:r>
            <a:endParaRPr lang="zh-CN" altLang="en-US" sz="700">
              <a:latin typeface="Microsoft Sans Serif"/>
              <a:cs typeface="Microsoft Sans Serif" panose="020B0604020202020204" pitchFamily="34" charset="0"/>
            </a:endParaRPr>
          </a:p>
        </p:txBody>
      </p:sp>
      <p:pic>
        <p:nvPicPr>
          <p:cNvPr id="152" name="alert_tU1iOK.mp4" descr="alert_tU1iOK.mp4">
            <a:hlinkClick r:id="" action="ppaction://media"/>
            <a:extLst>
              <a:ext uri="{FF2B5EF4-FFF2-40B4-BE49-F238E27FC236}">
                <a16:creationId xmlns:a16="http://schemas.microsoft.com/office/drawing/2014/main" id="{B619DE5D-AE79-536F-7ABF-27FE01D96FFA}"/>
              </a:ext>
            </a:extLst>
          </p:cNvPr>
          <p:cNvPicPr>
            <a:picLocks noChangeAspect="1"/>
          </p:cNvPicPr>
          <p:nvPr>
            <a:videoFile r:link="rId4"/>
            <p:extLst>
              <p:ext uri="{DAA4B4D4-6D71-4841-9C94-3DE7FCFB9230}">
                <p14:media xmlns:p14="http://schemas.microsoft.com/office/powerpoint/2010/main" r:embed="rId3"/>
              </p:ext>
            </p:extLst>
          </p:nvPr>
        </p:nvPicPr>
        <p:blipFill>
          <a:blip r:embed="rId11"/>
          <a:stretch>
            <a:fillRect/>
          </a:stretch>
        </p:blipFill>
        <p:spPr>
          <a:xfrm>
            <a:off x="7664226" y="3240118"/>
            <a:ext cx="1383643" cy="767921"/>
          </a:xfrm>
          <a:prstGeom prst="rect">
            <a:avLst/>
          </a:prstGeom>
          <a:noFill/>
          <a:ln w="28575" cap="sq">
            <a:solidFill>
              <a:srgbClr val="292929"/>
            </a:solidFill>
            <a:miter lim="800000"/>
          </a:ln>
          <a:effectLst/>
          <a:scene3d>
            <a:camera prst="orthographicFront"/>
            <a:lightRig rig="threePt" dir="t">
              <a:rot lat="0" lon="0" rev="2700000"/>
            </a:lightRig>
          </a:scene3d>
          <a:sp3d>
            <a:bevelT h="38100"/>
            <a:contourClr>
              <a:srgbClr val="C0C0C0"/>
            </a:contourClr>
          </a:sp3d>
        </p:spPr>
      </p:pic>
      <p:sp>
        <p:nvSpPr>
          <p:cNvPr id="153" name="TextBox 152">
            <a:extLst>
              <a:ext uri="{FF2B5EF4-FFF2-40B4-BE49-F238E27FC236}">
                <a16:creationId xmlns:a16="http://schemas.microsoft.com/office/drawing/2014/main" id="{869E1D1D-879C-DD1E-1357-72B659C758F6}"/>
              </a:ext>
            </a:extLst>
          </p:cNvPr>
          <p:cNvSpPr txBox="1"/>
          <p:nvPr/>
        </p:nvSpPr>
        <p:spPr>
          <a:xfrm>
            <a:off x="7608900" y="4051617"/>
            <a:ext cx="1520202" cy="103426"/>
          </a:xfrm>
          <a:prstGeom prst="rect">
            <a:avLst/>
          </a:prstGeom>
        </p:spPr>
        <p:txBody>
          <a:bodyPr wrap="square" lIns="0" tIns="0" rIns="0" bIns="0" rtlCol="0">
            <a:spAutoFit/>
          </a:bodyPr>
          <a:lstStyle/>
          <a:p>
            <a:pPr algn="ctr">
              <a:lnSpc>
                <a:spcPct val="96000"/>
              </a:lnSpc>
            </a:pPr>
            <a:r>
              <a:rPr lang="en-US" altLang="zh-CN" sz="700">
                <a:latin typeface="Microsoft Sans Serif"/>
                <a:cs typeface="Microsoft Sans Serif" panose="020B0604020202020204" pitchFamily="34" charset="0"/>
              </a:rPr>
              <a:t>Emergency notifications</a:t>
            </a:r>
            <a:endParaRPr lang="zh-CN" altLang="en-US" sz="700">
              <a:latin typeface="Microsoft Sans Serif"/>
              <a:cs typeface="Microsoft Sans Serif" panose="020B0604020202020204" pitchFamily="34" charset="0"/>
            </a:endParaRPr>
          </a:p>
        </p:txBody>
      </p:sp>
      <p:pic>
        <p:nvPicPr>
          <p:cNvPr id="155" name="Picture 154">
            <a:extLst>
              <a:ext uri="{FF2B5EF4-FFF2-40B4-BE49-F238E27FC236}">
                <a16:creationId xmlns:a16="http://schemas.microsoft.com/office/drawing/2014/main" id="{0088F153-87C4-D45F-8342-9C246A0AD9BE}"/>
              </a:ext>
            </a:extLst>
          </p:cNvPr>
          <p:cNvPicPr>
            <a:picLocks noChangeAspect="1"/>
          </p:cNvPicPr>
          <p:nvPr/>
        </p:nvPicPr>
        <p:blipFill>
          <a:blip r:embed="rId12"/>
          <a:stretch>
            <a:fillRect/>
          </a:stretch>
        </p:blipFill>
        <p:spPr>
          <a:xfrm>
            <a:off x="7826269" y="5409523"/>
            <a:ext cx="1811717" cy="1211810"/>
          </a:xfrm>
          <a:prstGeom prst="rect">
            <a:avLst/>
          </a:prstGeom>
        </p:spPr>
      </p:pic>
      <p:pic>
        <p:nvPicPr>
          <p:cNvPr id="157" name="Picture 156">
            <a:extLst>
              <a:ext uri="{FF2B5EF4-FFF2-40B4-BE49-F238E27FC236}">
                <a16:creationId xmlns:a16="http://schemas.microsoft.com/office/drawing/2014/main" id="{F9349AFD-17DA-7C04-E35C-1F4CEA0AC845}"/>
              </a:ext>
            </a:extLst>
          </p:cNvPr>
          <p:cNvPicPr>
            <a:picLocks noChangeAspect="1"/>
          </p:cNvPicPr>
          <p:nvPr/>
        </p:nvPicPr>
        <p:blipFill>
          <a:blip r:embed="rId13"/>
          <a:stretch>
            <a:fillRect/>
          </a:stretch>
        </p:blipFill>
        <p:spPr>
          <a:xfrm>
            <a:off x="9830222" y="5406007"/>
            <a:ext cx="2163281" cy="1215326"/>
          </a:xfrm>
          <a:prstGeom prst="rect">
            <a:avLst/>
          </a:prstGeom>
        </p:spPr>
      </p:pic>
      <p:pic>
        <p:nvPicPr>
          <p:cNvPr id="161" name="Picture 2">
            <a:extLst>
              <a:ext uri="{FF2B5EF4-FFF2-40B4-BE49-F238E27FC236}">
                <a16:creationId xmlns:a16="http://schemas.microsoft.com/office/drawing/2014/main" id="{A05B1C1F-7920-F922-52FA-905142E1DF8E}"/>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6089" r="40418" b="33763"/>
          <a:stretch/>
        </p:blipFill>
        <p:spPr bwMode="auto">
          <a:xfrm>
            <a:off x="10221649" y="2289481"/>
            <a:ext cx="1871222" cy="89047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2">
            <a:extLst>
              <a:ext uri="{FF2B5EF4-FFF2-40B4-BE49-F238E27FC236}">
                <a16:creationId xmlns:a16="http://schemas.microsoft.com/office/drawing/2014/main" id="{F04CC68E-F88C-E586-C5D8-0DC3A750D69C}"/>
              </a:ext>
            </a:extLst>
          </p:cNvPr>
          <p:cNvPicPr>
            <a:picLocks noChangeAspect="1"/>
          </p:cNvPicPr>
          <p:nvPr/>
        </p:nvPicPr>
        <p:blipFill>
          <a:blip r:embed="rId15"/>
          <a:stretch>
            <a:fillRect/>
          </a:stretch>
        </p:blipFill>
        <p:spPr>
          <a:xfrm>
            <a:off x="10272526" y="3155627"/>
            <a:ext cx="1710100" cy="936902"/>
          </a:xfrm>
          <a:prstGeom prst="rect">
            <a:avLst/>
          </a:prstGeom>
        </p:spPr>
      </p:pic>
      <p:cxnSp>
        <p:nvCxnSpPr>
          <p:cNvPr id="6" name="Straight Connector 5">
            <a:extLst>
              <a:ext uri="{FF2B5EF4-FFF2-40B4-BE49-F238E27FC236}">
                <a16:creationId xmlns:a16="http://schemas.microsoft.com/office/drawing/2014/main" id="{9CEC9FA4-49DD-3035-3E72-FD6B70F62E2A}"/>
              </a:ext>
            </a:extLst>
          </p:cNvPr>
          <p:cNvCxnSpPr>
            <a:cxnSpLocks/>
          </p:cNvCxnSpPr>
          <p:nvPr/>
        </p:nvCxnSpPr>
        <p:spPr>
          <a:xfrm flipH="1">
            <a:off x="6602006" y="1392089"/>
            <a:ext cx="2314640" cy="1693126"/>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E01A5E3E-1F3D-D33C-960B-184DBE9E320A}"/>
              </a:ext>
            </a:extLst>
          </p:cNvPr>
          <p:cNvGrpSpPr/>
          <p:nvPr/>
        </p:nvGrpSpPr>
        <p:grpSpPr>
          <a:xfrm>
            <a:off x="4885775" y="2891143"/>
            <a:ext cx="1802801" cy="1244524"/>
            <a:chOff x="4885775" y="2891143"/>
            <a:chExt cx="1802801" cy="1244524"/>
          </a:xfrm>
        </p:grpSpPr>
        <p:sp>
          <p:nvSpPr>
            <p:cNvPr id="111" name="Freeform 142">
              <a:extLst>
                <a:ext uri="{FF2B5EF4-FFF2-40B4-BE49-F238E27FC236}">
                  <a16:creationId xmlns:a16="http://schemas.microsoft.com/office/drawing/2014/main" id="{FA23B5F4-ACAC-46FD-5586-40E445F6F6B3}"/>
                </a:ext>
              </a:extLst>
            </p:cNvPr>
            <p:cNvSpPr>
              <a:spLocks noChangeArrowheads="1"/>
            </p:cNvSpPr>
            <p:nvPr/>
          </p:nvSpPr>
          <p:spPr bwMode="auto">
            <a:xfrm>
              <a:off x="4885775" y="2891143"/>
              <a:ext cx="1802801" cy="1244524"/>
            </a:xfrm>
            <a:custGeom>
              <a:avLst/>
              <a:gdLst>
                <a:gd name="T0" fmla="*/ 5451 w 5652"/>
                <a:gd name="T1" fmla="*/ 700 h 3901"/>
                <a:gd name="T2" fmla="*/ 5176 w 5652"/>
                <a:gd name="T3" fmla="*/ 550 h 3901"/>
                <a:gd name="T4" fmla="*/ 4901 w 5652"/>
                <a:gd name="T5" fmla="*/ 325 h 3901"/>
                <a:gd name="T6" fmla="*/ 4626 w 5652"/>
                <a:gd name="T7" fmla="*/ 25 h 3901"/>
                <a:gd name="T8" fmla="*/ 4275 w 5652"/>
                <a:gd name="T9" fmla="*/ 100 h 3901"/>
                <a:gd name="T10" fmla="*/ 4176 w 5652"/>
                <a:gd name="T11" fmla="*/ 399 h 3901"/>
                <a:gd name="T12" fmla="*/ 3926 w 5652"/>
                <a:gd name="T13" fmla="*/ 450 h 3901"/>
                <a:gd name="T14" fmla="*/ 3926 w 5652"/>
                <a:gd name="T15" fmla="*/ 700 h 3901"/>
                <a:gd name="T16" fmla="*/ 4126 w 5652"/>
                <a:gd name="T17" fmla="*/ 850 h 3901"/>
                <a:gd name="T18" fmla="*/ 3676 w 5652"/>
                <a:gd name="T19" fmla="*/ 1025 h 3901"/>
                <a:gd name="T20" fmla="*/ 3350 w 5652"/>
                <a:gd name="T21" fmla="*/ 1275 h 3901"/>
                <a:gd name="T22" fmla="*/ 2725 w 5652"/>
                <a:gd name="T23" fmla="*/ 1400 h 3901"/>
                <a:gd name="T24" fmla="*/ 2125 w 5652"/>
                <a:gd name="T25" fmla="*/ 1300 h 3901"/>
                <a:gd name="T26" fmla="*/ 1825 w 5652"/>
                <a:gd name="T27" fmla="*/ 1075 h 3901"/>
                <a:gd name="T28" fmla="*/ 1575 w 5652"/>
                <a:gd name="T29" fmla="*/ 800 h 3901"/>
                <a:gd name="T30" fmla="*/ 1275 w 5652"/>
                <a:gd name="T31" fmla="*/ 550 h 3901"/>
                <a:gd name="T32" fmla="*/ 1175 w 5652"/>
                <a:gd name="T33" fmla="*/ 575 h 3901"/>
                <a:gd name="T34" fmla="*/ 1000 w 5652"/>
                <a:gd name="T35" fmla="*/ 800 h 3901"/>
                <a:gd name="T36" fmla="*/ 800 w 5652"/>
                <a:gd name="T37" fmla="*/ 1025 h 3901"/>
                <a:gd name="T38" fmla="*/ 600 w 5652"/>
                <a:gd name="T39" fmla="*/ 1125 h 3901"/>
                <a:gd name="T40" fmla="*/ 500 w 5652"/>
                <a:gd name="T41" fmla="*/ 1400 h 3901"/>
                <a:gd name="T42" fmla="*/ 225 w 5652"/>
                <a:gd name="T43" fmla="*/ 1550 h 3901"/>
                <a:gd name="T44" fmla="*/ 0 w 5652"/>
                <a:gd name="T45" fmla="*/ 1625 h 3901"/>
                <a:gd name="T46" fmla="*/ 100 w 5652"/>
                <a:gd name="T47" fmla="*/ 1800 h 3901"/>
                <a:gd name="T48" fmla="*/ 250 w 5652"/>
                <a:gd name="T49" fmla="*/ 2075 h 3901"/>
                <a:gd name="T50" fmla="*/ 400 w 5652"/>
                <a:gd name="T51" fmla="*/ 2125 h 3901"/>
                <a:gd name="T52" fmla="*/ 475 w 5652"/>
                <a:gd name="T53" fmla="*/ 2250 h 3901"/>
                <a:gd name="T54" fmla="*/ 450 w 5652"/>
                <a:gd name="T55" fmla="*/ 2450 h 3901"/>
                <a:gd name="T56" fmla="*/ 650 w 5652"/>
                <a:gd name="T57" fmla="*/ 2675 h 3901"/>
                <a:gd name="T58" fmla="*/ 975 w 5652"/>
                <a:gd name="T59" fmla="*/ 2801 h 3901"/>
                <a:gd name="T60" fmla="*/ 1325 w 5652"/>
                <a:gd name="T61" fmla="*/ 2875 h 3901"/>
                <a:gd name="T62" fmla="*/ 1450 w 5652"/>
                <a:gd name="T63" fmla="*/ 2875 h 3901"/>
                <a:gd name="T64" fmla="*/ 1700 w 5652"/>
                <a:gd name="T65" fmla="*/ 2875 h 3901"/>
                <a:gd name="T66" fmla="*/ 2000 w 5652"/>
                <a:gd name="T67" fmla="*/ 2775 h 3901"/>
                <a:gd name="T68" fmla="*/ 2150 w 5652"/>
                <a:gd name="T69" fmla="*/ 2875 h 3901"/>
                <a:gd name="T70" fmla="*/ 2125 w 5652"/>
                <a:gd name="T71" fmla="*/ 3249 h 3901"/>
                <a:gd name="T72" fmla="*/ 2276 w 5652"/>
                <a:gd name="T73" fmla="*/ 3424 h 3901"/>
                <a:gd name="T74" fmla="*/ 2425 w 5652"/>
                <a:gd name="T75" fmla="*/ 3524 h 3901"/>
                <a:gd name="T76" fmla="*/ 2576 w 5652"/>
                <a:gd name="T77" fmla="*/ 3424 h 3901"/>
                <a:gd name="T78" fmla="*/ 2850 w 5652"/>
                <a:gd name="T79" fmla="*/ 3374 h 3901"/>
                <a:gd name="T80" fmla="*/ 3076 w 5652"/>
                <a:gd name="T81" fmla="*/ 3549 h 3901"/>
                <a:gd name="T82" fmla="*/ 3250 w 5652"/>
                <a:gd name="T83" fmla="*/ 3574 h 3901"/>
                <a:gd name="T84" fmla="*/ 3626 w 5652"/>
                <a:gd name="T85" fmla="*/ 3424 h 3901"/>
                <a:gd name="T86" fmla="*/ 3976 w 5652"/>
                <a:gd name="T87" fmla="*/ 3300 h 3901"/>
                <a:gd name="T88" fmla="*/ 4201 w 5652"/>
                <a:gd name="T89" fmla="*/ 3125 h 3901"/>
                <a:gd name="T90" fmla="*/ 4301 w 5652"/>
                <a:gd name="T91" fmla="*/ 2925 h 3901"/>
                <a:gd name="T92" fmla="*/ 4426 w 5652"/>
                <a:gd name="T93" fmla="*/ 2701 h 3901"/>
                <a:gd name="T94" fmla="*/ 4401 w 5652"/>
                <a:gd name="T95" fmla="*/ 2601 h 3901"/>
                <a:gd name="T96" fmla="*/ 4401 w 5652"/>
                <a:gd name="T97" fmla="*/ 2500 h 3901"/>
                <a:gd name="T98" fmla="*/ 4150 w 5652"/>
                <a:gd name="T99" fmla="*/ 2175 h 3901"/>
                <a:gd name="T100" fmla="*/ 4351 w 5652"/>
                <a:gd name="T101" fmla="*/ 1975 h 3901"/>
                <a:gd name="T102" fmla="*/ 4201 w 5652"/>
                <a:gd name="T103" fmla="*/ 1925 h 3901"/>
                <a:gd name="T104" fmla="*/ 4150 w 5652"/>
                <a:gd name="T105" fmla="*/ 1675 h 3901"/>
                <a:gd name="T106" fmla="*/ 4351 w 5652"/>
                <a:gd name="T107" fmla="*/ 1725 h 3901"/>
                <a:gd name="T108" fmla="*/ 4651 w 5652"/>
                <a:gd name="T109" fmla="*/ 1575 h 3901"/>
                <a:gd name="T110" fmla="*/ 5026 w 5652"/>
                <a:gd name="T111" fmla="*/ 1425 h 3901"/>
                <a:gd name="T112" fmla="*/ 5251 w 5652"/>
                <a:gd name="T113" fmla="*/ 1300 h 3901"/>
                <a:gd name="T114" fmla="*/ 5276 w 5652"/>
                <a:gd name="T115" fmla="*/ 1125 h 3901"/>
                <a:gd name="T116" fmla="*/ 5501 w 5652"/>
                <a:gd name="T117" fmla="*/ 950 h 3901"/>
                <a:gd name="T118" fmla="*/ 4250 w 5652"/>
                <a:gd name="T119" fmla="*/ 3324 h 3901"/>
                <a:gd name="T120" fmla="*/ 4250 w 5652"/>
                <a:gd name="T121" fmla="*/ 3324 h 3901"/>
                <a:gd name="T122" fmla="*/ 3325 w 5652"/>
                <a:gd name="T123" fmla="*/ 3825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52" h="3901">
                  <a:moveTo>
                    <a:pt x="5601" y="675"/>
                  </a:moveTo>
                  <a:lnTo>
                    <a:pt x="5601" y="675"/>
                  </a:lnTo>
                  <a:cubicBezTo>
                    <a:pt x="5601" y="625"/>
                    <a:pt x="5551" y="650"/>
                    <a:pt x="5526" y="675"/>
                  </a:cubicBezTo>
                  <a:cubicBezTo>
                    <a:pt x="5526" y="675"/>
                    <a:pt x="5451" y="675"/>
                    <a:pt x="5451" y="700"/>
                  </a:cubicBezTo>
                  <a:cubicBezTo>
                    <a:pt x="5426" y="725"/>
                    <a:pt x="5401" y="725"/>
                    <a:pt x="5351" y="725"/>
                  </a:cubicBezTo>
                  <a:cubicBezTo>
                    <a:pt x="5326" y="725"/>
                    <a:pt x="5276" y="700"/>
                    <a:pt x="5276" y="675"/>
                  </a:cubicBezTo>
                  <a:cubicBezTo>
                    <a:pt x="5276" y="650"/>
                    <a:pt x="5251" y="625"/>
                    <a:pt x="5251" y="600"/>
                  </a:cubicBezTo>
                  <a:cubicBezTo>
                    <a:pt x="5251" y="575"/>
                    <a:pt x="5201" y="575"/>
                    <a:pt x="5176" y="550"/>
                  </a:cubicBezTo>
                  <a:cubicBezTo>
                    <a:pt x="5151" y="525"/>
                    <a:pt x="5101" y="499"/>
                    <a:pt x="5076" y="525"/>
                  </a:cubicBezTo>
                  <a:cubicBezTo>
                    <a:pt x="5076" y="525"/>
                    <a:pt x="5051" y="475"/>
                    <a:pt x="5001" y="475"/>
                  </a:cubicBezTo>
                  <a:cubicBezTo>
                    <a:pt x="4951" y="475"/>
                    <a:pt x="4951" y="450"/>
                    <a:pt x="4951" y="425"/>
                  </a:cubicBezTo>
                  <a:cubicBezTo>
                    <a:pt x="4976" y="399"/>
                    <a:pt x="4926" y="350"/>
                    <a:pt x="4901" y="325"/>
                  </a:cubicBezTo>
                  <a:cubicBezTo>
                    <a:pt x="4901" y="275"/>
                    <a:pt x="4876" y="275"/>
                    <a:pt x="4851" y="200"/>
                  </a:cubicBezTo>
                  <a:cubicBezTo>
                    <a:pt x="4851" y="125"/>
                    <a:pt x="4801" y="150"/>
                    <a:pt x="4801" y="125"/>
                  </a:cubicBezTo>
                  <a:cubicBezTo>
                    <a:pt x="4826" y="74"/>
                    <a:pt x="4776" y="74"/>
                    <a:pt x="4751" y="50"/>
                  </a:cubicBezTo>
                  <a:cubicBezTo>
                    <a:pt x="4726" y="25"/>
                    <a:pt x="4676" y="50"/>
                    <a:pt x="4626" y="25"/>
                  </a:cubicBezTo>
                  <a:cubicBezTo>
                    <a:pt x="4601" y="0"/>
                    <a:pt x="4576" y="0"/>
                    <a:pt x="4526" y="0"/>
                  </a:cubicBezTo>
                  <a:cubicBezTo>
                    <a:pt x="4501" y="0"/>
                    <a:pt x="4401" y="0"/>
                    <a:pt x="4401" y="0"/>
                  </a:cubicBezTo>
                  <a:cubicBezTo>
                    <a:pt x="4376" y="0"/>
                    <a:pt x="4301" y="0"/>
                    <a:pt x="4275" y="50"/>
                  </a:cubicBezTo>
                  <a:cubicBezTo>
                    <a:pt x="4226" y="100"/>
                    <a:pt x="4275" y="100"/>
                    <a:pt x="4275" y="100"/>
                  </a:cubicBezTo>
                  <a:cubicBezTo>
                    <a:pt x="4301" y="100"/>
                    <a:pt x="4301" y="150"/>
                    <a:pt x="4301" y="174"/>
                  </a:cubicBezTo>
                  <a:cubicBezTo>
                    <a:pt x="4301" y="174"/>
                    <a:pt x="4275" y="200"/>
                    <a:pt x="4275" y="225"/>
                  </a:cubicBezTo>
                  <a:cubicBezTo>
                    <a:pt x="4250" y="225"/>
                    <a:pt x="4226" y="275"/>
                    <a:pt x="4201" y="300"/>
                  </a:cubicBezTo>
                  <a:cubicBezTo>
                    <a:pt x="4201" y="325"/>
                    <a:pt x="4150" y="375"/>
                    <a:pt x="4176" y="399"/>
                  </a:cubicBezTo>
                  <a:cubicBezTo>
                    <a:pt x="4176" y="425"/>
                    <a:pt x="4150" y="450"/>
                    <a:pt x="4126" y="450"/>
                  </a:cubicBezTo>
                  <a:cubicBezTo>
                    <a:pt x="4101" y="450"/>
                    <a:pt x="4050" y="475"/>
                    <a:pt x="4026" y="499"/>
                  </a:cubicBezTo>
                  <a:lnTo>
                    <a:pt x="3950" y="475"/>
                  </a:lnTo>
                  <a:cubicBezTo>
                    <a:pt x="3950" y="450"/>
                    <a:pt x="3926" y="450"/>
                    <a:pt x="3926" y="450"/>
                  </a:cubicBezTo>
                  <a:cubicBezTo>
                    <a:pt x="3850" y="600"/>
                    <a:pt x="3850" y="600"/>
                    <a:pt x="3850" y="600"/>
                  </a:cubicBezTo>
                  <a:cubicBezTo>
                    <a:pt x="3850" y="650"/>
                    <a:pt x="3850" y="650"/>
                    <a:pt x="3850" y="650"/>
                  </a:cubicBezTo>
                  <a:cubicBezTo>
                    <a:pt x="3850" y="650"/>
                    <a:pt x="3801" y="650"/>
                    <a:pt x="3826" y="700"/>
                  </a:cubicBezTo>
                  <a:cubicBezTo>
                    <a:pt x="3876" y="725"/>
                    <a:pt x="3876" y="700"/>
                    <a:pt x="3926" y="700"/>
                  </a:cubicBezTo>
                  <a:cubicBezTo>
                    <a:pt x="3976" y="700"/>
                    <a:pt x="4001" y="750"/>
                    <a:pt x="4026" y="700"/>
                  </a:cubicBezTo>
                  <a:cubicBezTo>
                    <a:pt x="4026" y="675"/>
                    <a:pt x="4076" y="675"/>
                    <a:pt x="4101" y="700"/>
                  </a:cubicBezTo>
                  <a:cubicBezTo>
                    <a:pt x="4126" y="725"/>
                    <a:pt x="4226" y="800"/>
                    <a:pt x="4226" y="825"/>
                  </a:cubicBezTo>
                  <a:cubicBezTo>
                    <a:pt x="4226" y="850"/>
                    <a:pt x="4176" y="850"/>
                    <a:pt x="4126" y="850"/>
                  </a:cubicBezTo>
                  <a:cubicBezTo>
                    <a:pt x="4101" y="825"/>
                    <a:pt x="4050" y="875"/>
                    <a:pt x="4001" y="875"/>
                  </a:cubicBezTo>
                  <a:cubicBezTo>
                    <a:pt x="3976" y="875"/>
                    <a:pt x="3926" y="875"/>
                    <a:pt x="3901" y="900"/>
                  </a:cubicBezTo>
                  <a:cubicBezTo>
                    <a:pt x="3850" y="950"/>
                    <a:pt x="3876" y="975"/>
                    <a:pt x="3801" y="1000"/>
                  </a:cubicBezTo>
                  <a:cubicBezTo>
                    <a:pt x="3750" y="1000"/>
                    <a:pt x="3726" y="1000"/>
                    <a:pt x="3676" y="1025"/>
                  </a:cubicBezTo>
                  <a:cubicBezTo>
                    <a:pt x="3601" y="1075"/>
                    <a:pt x="3550" y="1050"/>
                    <a:pt x="3526" y="1050"/>
                  </a:cubicBezTo>
                  <a:cubicBezTo>
                    <a:pt x="3501" y="1025"/>
                    <a:pt x="3450" y="1025"/>
                    <a:pt x="3425" y="1075"/>
                  </a:cubicBezTo>
                  <a:cubicBezTo>
                    <a:pt x="3401" y="1100"/>
                    <a:pt x="3450" y="1125"/>
                    <a:pt x="3450" y="1175"/>
                  </a:cubicBezTo>
                  <a:cubicBezTo>
                    <a:pt x="3450" y="1225"/>
                    <a:pt x="3376" y="1225"/>
                    <a:pt x="3350" y="1275"/>
                  </a:cubicBezTo>
                  <a:cubicBezTo>
                    <a:pt x="3301" y="1325"/>
                    <a:pt x="3201" y="1350"/>
                    <a:pt x="3176" y="1350"/>
                  </a:cubicBezTo>
                  <a:cubicBezTo>
                    <a:pt x="3125" y="1325"/>
                    <a:pt x="3025" y="1300"/>
                    <a:pt x="2950" y="1350"/>
                  </a:cubicBezTo>
                  <a:cubicBezTo>
                    <a:pt x="2876" y="1375"/>
                    <a:pt x="2825" y="1450"/>
                    <a:pt x="2801" y="1425"/>
                  </a:cubicBezTo>
                  <a:cubicBezTo>
                    <a:pt x="2776" y="1425"/>
                    <a:pt x="2776" y="1400"/>
                    <a:pt x="2725" y="1400"/>
                  </a:cubicBezTo>
                  <a:cubicBezTo>
                    <a:pt x="2676" y="1400"/>
                    <a:pt x="2650" y="1400"/>
                    <a:pt x="2625" y="1375"/>
                  </a:cubicBezTo>
                  <a:cubicBezTo>
                    <a:pt x="2601" y="1350"/>
                    <a:pt x="2576" y="1375"/>
                    <a:pt x="2525" y="1350"/>
                  </a:cubicBezTo>
                  <a:cubicBezTo>
                    <a:pt x="2476" y="1300"/>
                    <a:pt x="2400" y="1325"/>
                    <a:pt x="2350" y="1300"/>
                  </a:cubicBezTo>
                  <a:cubicBezTo>
                    <a:pt x="2325" y="1300"/>
                    <a:pt x="2176" y="1300"/>
                    <a:pt x="2125" y="1300"/>
                  </a:cubicBezTo>
                  <a:cubicBezTo>
                    <a:pt x="2076" y="1300"/>
                    <a:pt x="2000" y="1325"/>
                    <a:pt x="2000" y="1300"/>
                  </a:cubicBezTo>
                  <a:cubicBezTo>
                    <a:pt x="2000" y="1275"/>
                    <a:pt x="1976" y="1250"/>
                    <a:pt x="1950" y="1200"/>
                  </a:cubicBezTo>
                  <a:cubicBezTo>
                    <a:pt x="1950" y="1150"/>
                    <a:pt x="1900" y="1125"/>
                    <a:pt x="1876" y="1125"/>
                  </a:cubicBezTo>
                  <a:cubicBezTo>
                    <a:pt x="1850" y="1100"/>
                    <a:pt x="1850" y="1075"/>
                    <a:pt x="1825" y="1075"/>
                  </a:cubicBezTo>
                  <a:cubicBezTo>
                    <a:pt x="1800" y="1075"/>
                    <a:pt x="1800" y="1025"/>
                    <a:pt x="1750" y="1025"/>
                  </a:cubicBezTo>
                  <a:cubicBezTo>
                    <a:pt x="1700" y="1025"/>
                    <a:pt x="1550" y="1025"/>
                    <a:pt x="1525" y="975"/>
                  </a:cubicBezTo>
                  <a:cubicBezTo>
                    <a:pt x="1525" y="950"/>
                    <a:pt x="1550" y="950"/>
                    <a:pt x="1550" y="900"/>
                  </a:cubicBezTo>
                  <a:cubicBezTo>
                    <a:pt x="1550" y="875"/>
                    <a:pt x="1575" y="825"/>
                    <a:pt x="1575" y="800"/>
                  </a:cubicBezTo>
                  <a:cubicBezTo>
                    <a:pt x="1550" y="800"/>
                    <a:pt x="1525" y="775"/>
                    <a:pt x="1525" y="750"/>
                  </a:cubicBezTo>
                  <a:cubicBezTo>
                    <a:pt x="1500" y="700"/>
                    <a:pt x="1475" y="675"/>
                    <a:pt x="1425" y="675"/>
                  </a:cubicBezTo>
                  <a:cubicBezTo>
                    <a:pt x="1400" y="675"/>
                    <a:pt x="1375" y="650"/>
                    <a:pt x="1350" y="625"/>
                  </a:cubicBezTo>
                  <a:cubicBezTo>
                    <a:pt x="1325" y="600"/>
                    <a:pt x="1300" y="600"/>
                    <a:pt x="1275" y="550"/>
                  </a:cubicBezTo>
                  <a:cubicBezTo>
                    <a:pt x="1275" y="525"/>
                    <a:pt x="1275" y="525"/>
                    <a:pt x="1275" y="525"/>
                  </a:cubicBezTo>
                  <a:lnTo>
                    <a:pt x="1250" y="525"/>
                  </a:lnTo>
                  <a:cubicBezTo>
                    <a:pt x="1225" y="525"/>
                    <a:pt x="1225" y="525"/>
                    <a:pt x="1225" y="499"/>
                  </a:cubicBezTo>
                  <a:cubicBezTo>
                    <a:pt x="1200" y="525"/>
                    <a:pt x="1175" y="550"/>
                    <a:pt x="1175" y="575"/>
                  </a:cubicBezTo>
                  <a:cubicBezTo>
                    <a:pt x="1175" y="600"/>
                    <a:pt x="1175" y="625"/>
                    <a:pt x="1150" y="625"/>
                  </a:cubicBezTo>
                  <a:cubicBezTo>
                    <a:pt x="1125" y="625"/>
                    <a:pt x="1075" y="650"/>
                    <a:pt x="1075" y="700"/>
                  </a:cubicBezTo>
                  <a:cubicBezTo>
                    <a:pt x="1075" y="750"/>
                    <a:pt x="1100" y="750"/>
                    <a:pt x="1100" y="775"/>
                  </a:cubicBezTo>
                  <a:cubicBezTo>
                    <a:pt x="1075" y="800"/>
                    <a:pt x="1025" y="800"/>
                    <a:pt x="1000" y="800"/>
                  </a:cubicBezTo>
                  <a:cubicBezTo>
                    <a:pt x="1000" y="800"/>
                    <a:pt x="950" y="800"/>
                    <a:pt x="925" y="800"/>
                  </a:cubicBezTo>
                  <a:cubicBezTo>
                    <a:pt x="900" y="800"/>
                    <a:pt x="875" y="750"/>
                    <a:pt x="850" y="800"/>
                  </a:cubicBezTo>
                  <a:cubicBezTo>
                    <a:pt x="850" y="825"/>
                    <a:pt x="775" y="950"/>
                    <a:pt x="800" y="975"/>
                  </a:cubicBezTo>
                  <a:cubicBezTo>
                    <a:pt x="825" y="975"/>
                    <a:pt x="825" y="1025"/>
                    <a:pt x="800" y="1025"/>
                  </a:cubicBezTo>
                  <a:cubicBezTo>
                    <a:pt x="775" y="1025"/>
                    <a:pt x="750" y="1025"/>
                    <a:pt x="725" y="1000"/>
                  </a:cubicBezTo>
                  <a:cubicBezTo>
                    <a:pt x="725" y="975"/>
                    <a:pt x="675" y="1025"/>
                    <a:pt x="650" y="1025"/>
                  </a:cubicBezTo>
                  <a:cubicBezTo>
                    <a:pt x="625" y="1025"/>
                    <a:pt x="575" y="1050"/>
                    <a:pt x="600" y="1050"/>
                  </a:cubicBezTo>
                  <a:cubicBezTo>
                    <a:pt x="600" y="1075"/>
                    <a:pt x="600" y="1125"/>
                    <a:pt x="600" y="1125"/>
                  </a:cubicBezTo>
                  <a:cubicBezTo>
                    <a:pt x="600" y="1150"/>
                    <a:pt x="650" y="1225"/>
                    <a:pt x="650" y="1250"/>
                  </a:cubicBezTo>
                  <a:cubicBezTo>
                    <a:pt x="650" y="1250"/>
                    <a:pt x="600" y="1275"/>
                    <a:pt x="600" y="1300"/>
                  </a:cubicBezTo>
                  <a:cubicBezTo>
                    <a:pt x="600" y="1350"/>
                    <a:pt x="600" y="1375"/>
                    <a:pt x="600" y="1375"/>
                  </a:cubicBezTo>
                  <a:cubicBezTo>
                    <a:pt x="575" y="1375"/>
                    <a:pt x="525" y="1400"/>
                    <a:pt x="500" y="1400"/>
                  </a:cubicBezTo>
                  <a:cubicBezTo>
                    <a:pt x="475" y="1425"/>
                    <a:pt x="450" y="1425"/>
                    <a:pt x="425" y="1450"/>
                  </a:cubicBezTo>
                  <a:cubicBezTo>
                    <a:pt x="425" y="1475"/>
                    <a:pt x="400" y="1500"/>
                    <a:pt x="350" y="1500"/>
                  </a:cubicBezTo>
                  <a:cubicBezTo>
                    <a:pt x="325" y="1500"/>
                    <a:pt x="300" y="1475"/>
                    <a:pt x="275" y="1525"/>
                  </a:cubicBezTo>
                  <a:cubicBezTo>
                    <a:pt x="250" y="1550"/>
                    <a:pt x="250" y="1550"/>
                    <a:pt x="225" y="1550"/>
                  </a:cubicBezTo>
                  <a:cubicBezTo>
                    <a:pt x="200" y="1575"/>
                    <a:pt x="174" y="1550"/>
                    <a:pt x="150" y="1550"/>
                  </a:cubicBezTo>
                  <a:cubicBezTo>
                    <a:pt x="150" y="1525"/>
                    <a:pt x="125" y="1550"/>
                    <a:pt x="100" y="1550"/>
                  </a:cubicBezTo>
                  <a:cubicBezTo>
                    <a:pt x="100" y="1550"/>
                    <a:pt x="75" y="1575"/>
                    <a:pt x="50" y="1600"/>
                  </a:cubicBezTo>
                  <a:cubicBezTo>
                    <a:pt x="25" y="1600"/>
                    <a:pt x="0" y="1600"/>
                    <a:pt x="0" y="1625"/>
                  </a:cubicBezTo>
                  <a:lnTo>
                    <a:pt x="0" y="1650"/>
                  </a:lnTo>
                  <a:lnTo>
                    <a:pt x="0" y="1650"/>
                  </a:lnTo>
                  <a:cubicBezTo>
                    <a:pt x="0" y="1750"/>
                    <a:pt x="0" y="1750"/>
                    <a:pt x="0" y="1750"/>
                  </a:cubicBezTo>
                  <a:cubicBezTo>
                    <a:pt x="0" y="1750"/>
                    <a:pt x="100" y="1775"/>
                    <a:pt x="100" y="1800"/>
                  </a:cubicBezTo>
                  <a:cubicBezTo>
                    <a:pt x="100" y="1825"/>
                    <a:pt x="125" y="1925"/>
                    <a:pt x="125" y="1925"/>
                  </a:cubicBezTo>
                  <a:lnTo>
                    <a:pt x="125" y="1925"/>
                  </a:lnTo>
                  <a:cubicBezTo>
                    <a:pt x="150" y="1950"/>
                    <a:pt x="200" y="1975"/>
                    <a:pt x="200" y="2000"/>
                  </a:cubicBezTo>
                  <a:cubicBezTo>
                    <a:pt x="200" y="2000"/>
                    <a:pt x="200" y="2050"/>
                    <a:pt x="250" y="2075"/>
                  </a:cubicBezTo>
                  <a:cubicBezTo>
                    <a:pt x="275" y="2075"/>
                    <a:pt x="300" y="2100"/>
                    <a:pt x="325" y="2100"/>
                  </a:cubicBezTo>
                  <a:lnTo>
                    <a:pt x="325" y="2100"/>
                  </a:lnTo>
                  <a:cubicBezTo>
                    <a:pt x="375" y="2100"/>
                    <a:pt x="375" y="2100"/>
                    <a:pt x="375" y="2100"/>
                  </a:cubicBezTo>
                  <a:cubicBezTo>
                    <a:pt x="375" y="2100"/>
                    <a:pt x="375" y="2100"/>
                    <a:pt x="400" y="2125"/>
                  </a:cubicBezTo>
                  <a:cubicBezTo>
                    <a:pt x="400" y="2075"/>
                    <a:pt x="450" y="2050"/>
                    <a:pt x="500" y="2050"/>
                  </a:cubicBezTo>
                  <a:cubicBezTo>
                    <a:pt x="525" y="2050"/>
                    <a:pt x="600" y="2125"/>
                    <a:pt x="600" y="2150"/>
                  </a:cubicBezTo>
                  <a:cubicBezTo>
                    <a:pt x="600" y="2175"/>
                    <a:pt x="525" y="2250"/>
                    <a:pt x="500" y="2250"/>
                  </a:cubicBezTo>
                  <a:lnTo>
                    <a:pt x="475" y="2250"/>
                  </a:lnTo>
                  <a:cubicBezTo>
                    <a:pt x="475" y="2275"/>
                    <a:pt x="475" y="2275"/>
                    <a:pt x="475" y="2300"/>
                  </a:cubicBezTo>
                  <a:cubicBezTo>
                    <a:pt x="475" y="2300"/>
                    <a:pt x="500" y="2350"/>
                    <a:pt x="525" y="2375"/>
                  </a:cubicBezTo>
                  <a:cubicBezTo>
                    <a:pt x="525" y="2400"/>
                    <a:pt x="475" y="2425"/>
                    <a:pt x="450" y="2400"/>
                  </a:cubicBezTo>
                  <a:cubicBezTo>
                    <a:pt x="425" y="2375"/>
                    <a:pt x="425" y="2425"/>
                    <a:pt x="450" y="2450"/>
                  </a:cubicBezTo>
                  <a:cubicBezTo>
                    <a:pt x="450" y="2475"/>
                    <a:pt x="450" y="2525"/>
                    <a:pt x="475" y="2525"/>
                  </a:cubicBezTo>
                  <a:cubicBezTo>
                    <a:pt x="500" y="2525"/>
                    <a:pt x="525" y="2575"/>
                    <a:pt x="550" y="2575"/>
                  </a:cubicBezTo>
                  <a:cubicBezTo>
                    <a:pt x="575" y="2575"/>
                    <a:pt x="600" y="2625"/>
                    <a:pt x="600" y="2625"/>
                  </a:cubicBezTo>
                  <a:cubicBezTo>
                    <a:pt x="600" y="2625"/>
                    <a:pt x="650" y="2650"/>
                    <a:pt x="650" y="2675"/>
                  </a:cubicBezTo>
                  <a:lnTo>
                    <a:pt x="650" y="2675"/>
                  </a:lnTo>
                  <a:cubicBezTo>
                    <a:pt x="675" y="2675"/>
                    <a:pt x="700" y="2675"/>
                    <a:pt x="700" y="2650"/>
                  </a:cubicBezTo>
                  <a:cubicBezTo>
                    <a:pt x="700" y="2650"/>
                    <a:pt x="750" y="2650"/>
                    <a:pt x="775" y="2675"/>
                  </a:cubicBezTo>
                  <a:cubicBezTo>
                    <a:pt x="800" y="2701"/>
                    <a:pt x="925" y="2775"/>
                    <a:pt x="975" y="2801"/>
                  </a:cubicBezTo>
                  <a:cubicBezTo>
                    <a:pt x="1000" y="2850"/>
                    <a:pt x="1125" y="2875"/>
                    <a:pt x="1150" y="2875"/>
                  </a:cubicBezTo>
                  <a:cubicBezTo>
                    <a:pt x="1175" y="2875"/>
                    <a:pt x="1225" y="2901"/>
                    <a:pt x="1275" y="2901"/>
                  </a:cubicBezTo>
                  <a:cubicBezTo>
                    <a:pt x="1275" y="2901"/>
                    <a:pt x="1275" y="2901"/>
                    <a:pt x="1300" y="2901"/>
                  </a:cubicBezTo>
                  <a:cubicBezTo>
                    <a:pt x="1300" y="2901"/>
                    <a:pt x="1325" y="2901"/>
                    <a:pt x="1325" y="2875"/>
                  </a:cubicBezTo>
                  <a:cubicBezTo>
                    <a:pt x="1350" y="2850"/>
                    <a:pt x="1350" y="2901"/>
                    <a:pt x="1350" y="2925"/>
                  </a:cubicBezTo>
                  <a:cubicBezTo>
                    <a:pt x="1350" y="2950"/>
                    <a:pt x="1350" y="2950"/>
                    <a:pt x="1350" y="2975"/>
                  </a:cubicBezTo>
                  <a:cubicBezTo>
                    <a:pt x="1375" y="2950"/>
                    <a:pt x="1375" y="2950"/>
                    <a:pt x="1375" y="2925"/>
                  </a:cubicBezTo>
                  <a:cubicBezTo>
                    <a:pt x="1400" y="2875"/>
                    <a:pt x="1425" y="2901"/>
                    <a:pt x="1450" y="2875"/>
                  </a:cubicBezTo>
                  <a:cubicBezTo>
                    <a:pt x="1475" y="2850"/>
                    <a:pt x="1475" y="2875"/>
                    <a:pt x="1525" y="2875"/>
                  </a:cubicBezTo>
                  <a:cubicBezTo>
                    <a:pt x="1550" y="2901"/>
                    <a:pt x="1575" y="2875"/>
                    <a:pt x="1625" y="2925"/>
                  </a:cubicBezTo>
                  <a:cubicBezTo>
                    <a:pt x="1650" y="2901"/>
                    <a:pt x="1650" y="2901"/>
                    <a:pt x="1675" y="2901"/>
                  </a:cubicBezTo>
                  <a:lnTo>
                    <a:pt x="1700" y="2875"/>
                  </a:lnTo>
                  <a:cubicBezTo>
                    <a:pt x="1725" y="2850"/>
                    <a:pt x="1725" y="2825"/>
                    <a:pt x="1750" y="2825"/>
                  </a:cubicBezTo>
                  <a:cubicBezTo>
                    <a:pt x="1776" y="2825"/>
                    <a:pt x="1776" y="2801"/>
                    <a:pt x="1825" y="2775"/>
                  </a:cubicBezTo>
                  <a:cubicBezTo>
                    <a:pt x="1876" y="2750"/>
                    <a:pt x="1925" y="2801"/>
                    <a:pt x="1950" y="2775"/>
                  </a:cubicBezTo>
                  <a:cubicBezTo>
                    <a:pt x="1950" y="2750"/>
                    <a:pt x="2000" y="2750"/>
                    <a:pt x="2000" y="2775"/>
                  </a:cubicBezTo>
                  <a:cubicBezTo>
                    <a:pt x="2000" y="2775"/>
                    <a:pt x="2025" y="2801"/>
                    <a:pt x="2025" y="2825"/>
                  </a:cubicBezTo>
                  <a:cubicBezTo>
                    <a:pt x="2025" y="2850"/>
                    <a:pt x="2076" y="2850"/>
                    <a:pt x="2076" y="2850"/>
                  </a:cubicBezTo>
                  <a:lnTo>
                    <a:pt x="2100" y="2850"/>
                  </a:lnTo>
                  <a:cubicBezTo>
                    <a:pt x="2125" y="2825"/>
                    <a:pt x="2150" y="2850"/>
                    <a:pt x="2150" y="2875"/>
                  </a:cubicBezTo>
                  <a:cubicBezTo>
                    <a:pt x="2150" y="2901"/>
                    <a:pt x="2150" y="2925"/>
                    <a:pt x="2176" y="2925"/>
                  </a:cubicBezTo>
                  <a:cubicBezTo>
                    <a:pt x="2200" y="2925"/>
                    <a:pt x="2225" y="2925"/>
                    <a:pt x="2225" y="2975"/>
                  </a:cubicBezTo>
                  <a:cubicBezTo>
                    <a:pt x="2225" y="3025"/>
                    <a:pt x="2225" y="3075"/>
                    <a:pt x="2200" y="3101"/>
                  </a:cubicBezTo>
                  <a:cubicBezTo>
                    <a:pt x="2150" y="3150"/>
                    <a:pt x="2100" y="3224"/>
                    <a:pt x="2125" y="3249"/>
                  </a:cubicBezTo>
                  <a:cubicBezTo>
                    <a:pt x="2125" y="3249"/>
                    <a:pt x="2100" y="3300"/>
                    <a:pt x="2125" y="3274"/>
                  </a:cubicBezTo>
                  <a:cubicBezTo>
                    <a:pt x="2150" y="3274"/>
                    <a:pt x="2225" y="3274"/>
                    <a:pt x="2225" y="3300"/>
                  </a:cubicBezTo>
                  <a:cubicBezTo>
                    <a:pt x="2200" y="3324"/>
                    <a:pt x="2225" y="3374"/>
                    <a:pt x="2250" y="3374"/>
                  </a:cubicBezTo>
                  <a:cubicBezTo>
                    <a:pt x="2276" y="3374"/>
                    <a:pt x="2300" y="3400"/>
                    <a:pt x="2276" y="3424"/>
                  </a:cubicBezTo>
                  <a:cubicBezTo>
                    <a:pt x="2276" y="3449"/>
                    <a:pt x="2250" y="3474"/>
                    <a:pt x="2276" y="3474"/>
                  </a:cubicBezTo>
                  <a:cubicBezTo>
                    <a:pt x="2300" y="3474"/>
                    <a:pt x="2350" y="3474"/>
                    <a:pt x="2325" y="3500"/>
                  </a:cubicBezTo>
                  <a:cubicBezTo>
                    <a:pt x="2325" y="3524"/>
                    <a:pt x="2350" y="3549"/>
                    <a:pt x="2400" y="3549"/>
                  </a:cubicBezTo>
                  <a:cubicBezTo>
                    <a:pt x="2425" y="3524"/>
                    <a:pt x="2425" y="3524"/>
                    <a:pt x="2425" y="3524"/>
                  </a:cubicBezTo>
                  <a:cubicBezTo>
                    <a:pt x="2450" y="3524"/>
                    <a:pt x="2450" y="3574"/>
                    <a:pt x="2476" y="3574"/>
                  </a:cubicBezTo>
                  <a:cubicBezTo>
                    <a:pt x="2500" y="3574"/>
                    <a:pt x="2500" y="3500"/>
                    <a:pt x="2476" y="3500"/>
                  </a:cubicBezTo>
                  <a:lnTo>
                    <a:pt x="2500" y="3449"/>
                  </a:lnTo>
                  <a:cubicBezTo>
                    <a:pt x="2500" y="3474"/>
                    <a:pt x="2550" y="3449"/>
                    <a:pt x="2576" y="3424"/>
                  </a:cubicBezTo>
                  <a:cubicBezTo>
                    <a:pt x="2576" y="3400"/>
                    <a:pt x="2625" y="3449"/>
                    <a:pt x="2625" y="3424"/>
                  </a:cubicBezTo>
                  <a:cubicBezTo>
                    <a:pt x="2650" y="3400"/>
                    <a:pt x="2676" y="3449"/>
                    <a:pt x="2725" y="3424"/>
                  </a:cubicBezTo>
                  <a:cubicBezTo>
                    <a:pt x="2750" y="3400"/>
                    <a:pt x="2776" y="3449"/>
                    <a:pt x="2776" y="3400"/>
                  </a:cubicBezTo>
                  <a:cubicBezTo>
                    <a:pt x="2801" y="3374"/>
                    <a:pt x="2850" y="3349"/>
                    <a:pt x="2850" y="3374"/>
                  </a:cubicBezTo>
                  <a:cubicBezTo>
                    <a:pt x="2876" y="3374"/>
                    <a:pt x="2876" y="3400"/>
                    <a:pt x="2925" y="3400"/>
                  </a:cubicBezTo>
                  <a:cubicBezTo>
                    <a:pt x="3001" y="3400"/>
                    <a:pt x="2950" y="3449"/>
                    <a:pt x="2950" y="3449"/>
                  </a:cubicBezTo>
                  <a:cubicBezTo>
                    <a:pt x="2950" y="3474"/>
                    <a:pt x="3025" y="3524"/>
                    <a:pt x="3050" y="3524"/>
                  </a:cubicBezTo>
                  <a:cubicBezTo>
                    <a:pt x="3050" y="3524"/>
                    <a:pt x="3050" y="3524"/>
                    <a:pt x="3076" y="3549"/>
                  </a:cubicBezTo>
                  <a:cubicBezTo>
                    <a:pt x="3076" y="3524"/>
                    <a:pt x="3125" y="3549"/>
                    <a:pt x="3125" y="3524"/>
                  </a:cubicBezTo>
                  <a:cubicBezTo>
                    <a:pt x="3125" y="3500"/>
                    <a:pt x="3176" y="3524"/>
                    <a:pt x="3176" y="3524"/>
                  </a:cubicBezTo>
                  <a:cubicBezTo>
                    <a:pt x="3201" y="3549"/>
                    <a:pt x="3201" y="3549"/>
                    <a:pt x="3225" y="3524"/>
                  </a:cubicBezTo>
                  <a:cubicBezTo>
                    <a:pt x="3250" y="3500"/>
                    <a:pt x="3276" y="3549"/>
                    <a:pt x="3250" y="3574"/>
                  </a:cubicBezTo>
                  <a:cubicBezTo>
                    <a:pt x="3250" y="3574"/>
                    <a:pt x="3250" y="3624"/>
                    <a:pt x="3276" y="3649"/>
                  </a:cubicBezTo>
                  <a:cubicBezTo>
                    <a:pt x="3301" y="3674"/>
                    <a:pt x="3301" y="3649"/>
                    <a:pt x="3301" y="3624"/>
                  </a:cubicBezTo>
                  <a:cubicBezTo>
                    <a:pt x="3301" y="3600"/>
                    <a:pt x="3350" y="3574"/>
                    <a:pt x="3425" y="3524"/>
                  </a:cubicBezTo>
                  <a:cubicBezTo>
                    <a:pt x="3526" y="3500"/>
                    <a:pt x="3626" y="3449"/>
                    <a:pt x="3626" y="3424"/>
                  </a:cubicBezTo>
                  <a:cubicBezTo>
                    <a:pt x="3626" y="3424"/>
                    <a:pt x="3676" y="3449"/>
                    <a:pt x="3701" y="3424"/>
                  </a:cubicBezTo>
                  <a:cubicBezTo>
                    <a:pt x="3750" y="3400"/>
                    <a:pt x="3850" y="3400"/>
                    <a:pt x="3876" y="3400"/>
                  </a:cubicBezTo>
                  <a:cubicBezTo>
                    <a:pt x="3901" y="3400"/>
                    <a:pt x="3901" y="3374"/>
                    <a:pt x="3926" y="3349"/>
                  </a:cubicBezTo>
                  <a:cubicBezTo>
                    <a:pt x="3950" y="3324"/>
                    <a:pt x="3950" y="3324"/>
                    <a:pt x="3976" y="3300"/>
                  </a:cubicBezTo>
                  <a:cubicBezTo>
                    <a:pt x="4026" y="3300"/>
                    <a:pt x="4026" y="3274"/>
                    <a:pt x="4026" y="3249"/>
                  </a:cubicBezTo>
                  <a:lnTo>
                    <a:pt x="4101" y="3224"/>
                  </a:lnTo>
                  <a:cubicBezTo>
                    <a:pt x="4101" y="3199"/>
                    <a:pt x="4150" y="3199"/>
                    <a:pt x="4150" y="3174"/>
                  </a:cubicBezTo>
                  <a:cubicBezTo>
                    <a:pt x="4150" y="3150"/>
                    <a:pt x="4176" y="3150"/>
                    <a:pt x="4201" y="3125"/>
                  </a:cubicBezTo>
                  <a:cubicBezTo>
                    <a:pt x="4201" y="3125"/>
                    <a:pt x="4176" y="3075"/>
                    <a:pt x="4201" y="3050"/>
                  </a:cubicBezTo>
                  <a:cubicBezTo>
                    <a:pt x="4226" y="3050"/>
                    <a:pt x="4201" y="3025"/>
                    <a:pt x="4201" y="3025"/>
                  </a:cubicBezTo>
                  <a:cubicBezTo>
                    <a:pt x="4176" y="3001"/>
                    <a:pt x="4226" y="3001"/>
                    <a:pt x="4250" y="2975"/>
                  </a:cubicBezTo>
                  <a:cubicBezTo>
                    <a:pt x="4275" y="2975"/>
                    <a:pt x="4301" y="2950"/>
                    <a:pt x="4301" y="2925"/>
                  </a:cubicBezTo>
                  <a:cubicBezTo>
                    <a:pt x="4301" y="2901"/>
                    <a:pt x="4351" y="2875"/>
                    <a:pt x="4351" y="2875"/>
                  </a:cubicBezTo>
                  <a:cubicBezTo>
                    <a:pt x="4376" y="2850"/>
                    <a:pt x="4376" y="2825"/>
                    <a:pt x="4376" y="2775"/>
                  </a:cubicBezTo>
                  <a:cubicBezTo>
                    <a:pt x="4376" y="2750"/>
                    <a:pt x="4401" y="2775"/>
                    <a:pt x="4401" y="2750"/>
                  </a:cubicBezTo>
                  <a:cubicBezTo>
                    <a:pt x="4376" y="2750"/>
                    <a:pt x="4401" y="2701"/>
                    <a:pt x="4426" y="2701"/>
                  </a:cubicBezTo>
                  <a:cubicBezTo>
                    <a:pt x="4475" y="2675"/>
                    <a:pt x="4401" y="2675"/>
                    <a:pt x="4401" y="2675"/>
                  </a:cubicBezTo>
                  <a:cubicBezTo>
                    <a:pt x="4376" y="2701"/>
                    <a:pt x="4351" y="2650"/>
                    <a:pt x="4351" y="2675"/>
                  </a:cubicBezTo>
                  <a:cubicBezTo>
                    <a:pt x="4326" y="2675"/>
                    <a:pt x="4275" y="2650"/>
                    <a:pt x="4301" y="2650"/>
                  </a:cubicBezTo>
                  <a:cubicBezTo>
                    <a:pt x="4326" y="2625"/>
                    <a:pt x="4376" y="2601"/>
                    <a:pt x="4401" y="2601"/>
                  </a:cubicBezTo>
                  <a:cubicBezTo>
                    <a:pt x="4426" y="2601"/>
                    <a:pt x="4376" y="2550"/>
                    <a:pt x="4351" y="2550"/>
                  </a:cubicBezTo>
                  <a:cubicBezTo>
                    <a:pt x="4326" y="2550"/>
                    <a:pt x="4301" y="2475"/>
                    <a:pt x="4275" y="2475"/>
                  </a:cubicBezTo>
                  <a:cubicBezTo>
                    <a:pt x="4226" y="2475"/>
                    <a:pt x="4275" y="2475"/>
                    <a:pt x="4326" y="2475"/>
                  </a:cubicBezTo>
                  <a:cubicBezTo>
                    <a:pt x="4351" y="2500"/>
                    <a:pt x="4376" y="2500"/>
                    <a:pt x="4401" y="2500"/>
                  </a:cubicBezTo>
                  <a:cubicBezTo>
                    <a:pt x="4426" y="2475"/>
                    <a:pt x="4351" y="2425"/>
                    <a:pt x="4326" y="2400"/>
                  </a:cubicBezTo>
                  <a:cubicBezTo>
                    <a:pt x="4301" y="2400"/>
                    <a:pt x="4326" y="2350"/>
                    <a:pt x="4301" y="2350"/>
                  </a:cubicBezTo>
                  <a:cubicBezTo>
                    <a:pt x="4301" y="2350"/>
                    <a:pt x="4250" y="2275"/>
                    <a:pt x="4250" y="2225"/>
                  </a:cubicBezTo>
                  <a:cubicBezTo>
                    <a:pt x="4226" y="2200"/>
                    <a:pt x="4176" y="2200"/>
                    <a:pt x="4150" y="2175"/>
                  </a:cubicBezTo>
                  <a:cubicBezTo>
                    <a:pt x="4150" y="2150"/>
                    <a:pt x="4176" y="2100"/>
                    <a:pt x="4201" y="2100"/>
                  </a:cubicBezTo>
                  <a:cubicBezTo>
                    <a:pt x="4250" y="2075"/>
                    <a:pt x="4226" y="2025"/>
                    <a:pt x="4250" y="2050"/>
                  </a:cubicBezTo>
                  <a:cubicBezTo>
                    <a:pt x="4275" y="2050"/>
                    <a:pt x="4275" y="2025"/>
                    <a:pt x="4301" y="2000"/>
                  </a:cubicBezTo>
                  <a:cubicBezTo>
                    <a:pt x="4326" y="1975"/>
                    <a:pt x="4351" y="2000"/>
                    <a:pt x="4351" y="1975"/>
                  </a:cubicBezTo>
                  <a:cubicBezTo>
                    <a:pt x="4376" y="1950"/>
                    <a:pt x="4451" y="1950"/>
                    <a:pt x="4475" y="1950"/>
                  </a:cubicBezTo>
                  <a:cubicBezTo>
                    <a:pt x="4501" y="1925"/>
                    <a:pt x="4451" y="1875"/>
                    <a:pt x="4401" y="1875"/>
                  </a:cubicBezTo>
                  <a:cubicBezTo>
                    <a:pt x="4376" y="1900"/>
                    <a:pt x="4351" y="1875"/>
                    <a:pt x="4326" y="1850"/>
                  </a:cubicBezTo>
                  <a:cubicBezTo>
                    <a:pt x="4301" y="1825"/>
                    <a:pt x="4250" y="1900"/>
                    <a:pt x="4201" y="1925"/>
                  </a:cubicBezTo>
                  <a:cubicBezTo>
                    <a:pt x="4150" y="1950"/>
                    <a:pt x="4126" y="1900"/>
                    <a:pt x="4126" y="1850"/>
                  </a:cubicBezTo>
                  <a:cubicBezTo>
                    <a:pt x="4150" y="1825"/>
                    <a:pt x="4101" y="1825"/>
                    <a:pt x="4050" y="1825"/>
                  </a:cubicBezTo>
                  <a:cubicBezTo>
                    <a:pt x="3976" y="1825"/>
                    <a:pt x="4001" y="1700"/>
                    <a:pt x="4050" y="1700"/>
                  </a:cubicBezTo>
                  <a:cubicBezTo>
                    <a:pt x="4076" y="1700"/>
                    <a:pt x="4126" y="1750"/>
                    <a:pt x="4150" y="1675"/>
                  </a:cubicBezTo>
                  <a:cubicBezTo>
                    <a:pt x="4176" y="1600"/>
                    <a:pt x="4201" y="1650"/>
                    <a:pt x="4275" y="1600"/>
                  </a:cubicBezTo>
                  <a:cubicBezTo>
                    <a:pt x="4326" y="1525"/>
                    <a:pt x="4376" y="1500"/>
                    <a:pt x="4426" y="1525"/>
                  </a:cubicBezTo>
                  <a:cubicBezTo>
                    <a:pt x="4475" y="1575"/>
                    <a:pt x="4376" y="1625"/>
                    <a:pt x="4351" y="1650"/>
                  </a:cubicBezTo>
                  <a:cubicBezTo>
                    <a:pt x="4351" y="1700"/>
                    <a:pt x="4376" y="1700"/>
                    <a:pt x="4351" y="1725"/>
                  </a:cubicBezTo>
                  <a:cubicBezTo>
                    <a:pt x="4326" y="1750"/>
                    <a:pt x="4351" y="1775"/>
                    <a:pt x="4401" y="1725"/>
                  </a:cubicBezTo>
                  <a:cubicBezTo>
                    <a:pt x="4475" y="1700"/>
                    <a:pt x="4526" y="1650"/>
                    <a:pt x="4576" y="1625"/>
                  </a:cubicBezTo>
                  <a:cubicBezTo>
                    <a:pt x="4601" y="1625"/>
                    <a:pt x="4626" y="1625"/>
                    <a:pt x="4626" y="1625"/>
                  </a:cubicBezTo>
                  <a:cubicBezTo>
                    <a:pt x="4651" y="1600"/>
                    <a:pt x="4651" y="1600"/>
                    <a:pt x="4651" y="1575"/>
                  </a:cubicBezTo>
                  <a:cubicBezTo>
                    <a:pt x="4701" y="1575"/>
                    <a:pt x="4826" y="1500"/>
                    <a:pt x="4826" y="1475"/>
                  </a:cubicBezTo>
                  <a:cubicBezTo>
                    <a:pt x="4851" y="1475"/>
                    <a:pt x="4876" y="1425"/>
                    <a:pt x="4901" y="1425"/>
                  </a:cubicBezTo>
                  <a:cubicBezTo>
                    <a:pt x="4926" y="1425"/>
                    <a:pt x="4926" y="1450"/>
                    <a:pt x="4951" y="1450"/>
                  </a:cubicBezTo>
                  <a:cubicBezTo>
                    <a:pt x="5001" y="1450"/>
                    <a:pt x="5026" y="1450"/>
                    <a:pt x="5026" y="1425"/>
                  </a:cubicBezTo>
                  <a:cubicBezTo>
                    <a:pt x="5001" y="1400"/>
                    <a:pt x="5001" y="1400"/>
                    <a:pt x="5051" y="1400"/>
                  </a:cubicBezTo>
                  <a:cubicBezTo>
                    <a:pt x="5101" y="1375"/>
                    <a:pt x="5076" y="1350"/>
                    <a:pt x="5126" y="1350"/>
                  </a:cubicBezTo>
                  <a:cubicBezTo>
                    <a:pt x="5151" y="1350"/>
                    <a:pt x="5151" y="1275"/>
                    <a:pt x="5176" y="1275"/>
                  </a:cubicBezTo>
                  <a:cubicBezTo>
                    <a:pt x="5201" y="1275"/>
                    <a:pt x="5226" y="1300"/>
                    <a:pt x="5251" y="1300"/>
                  </a:cubicBezTo>
                  <a:lnTo>
                    <a:pt x="5276" y="1300"/>
                  </a:lnTo>
                  <a:cubicBezTo>
                    <a:pt x="5276" y="1300"/>
                    <a:pt x="5301" y="1300"/>
                    <a:pt x="5301" y="1275"/>
                  </a:cubicBezTo>
                  <a:cubicBezTo>
                    <a:pt x="5301" y="1250"/>
                    <a:pt x="5301" y="1225"/>
                    <a:pt x="5301" y="1200"/>
                  </a:cubicBezTo>
                  <a:cubicBezTo>
                    <a:pt x="5276" y="1175"/>
                    <a:pt x="5301" y="1150"/>
                    <a:pt x="5276" y="1125"/>
                  </a:cubicBezTo>
                  <a:cubicBezTo>
                    <a:pt x="5276" y="1100"/>
                    <a:pt x="5276" y="1050"/>
                    <a:pt x="5301" y="1050"/>
                  </a:cubicBezTo>
                  <a:cubicBezTo>
                    <a:pt x="5326" y="1050"/>
                    <a:pt x="5351" y="1000"/>
                    <a:pt x="5376" y="1025"/>
                  </a:cubicBezTo>
                  <a:cubicBezTo>
                    <a:pt x="5401" y="1025"/>
                    <a:pt x="5451" y="1050"/>
                    <a:pt x="5451" y="1025"/>
                  </a:cubicBezTo>
                  <a:cubicBezTo>
                    <a:pt x="5451" y="1000"/>
                    <a:pt x="5501" y="1000"/>
                    <a:pt x="5501" y="950"/>
                  </a:cubicBezTo>
                  <a:cubicBezTo>
                    <a:pt x="5501" y="925"/>
                    <a:pt x="5551" y="925"/>
                    <a:pt x="5551" y="875"/>
                  </a:cubicBezTo>
                  <a:cubicBezTo>
                    <a:pt x="5576" y="850"/>
                    <a:pt x="5576" y="775"/>
                    <a:pt x="5601" y="775"/>
                  </a:cubicBezTo>
                  <a:cubicBezTo>
                    <a:pt x="5651" y="750"/>
                    <a:pt x="5601" y="725"/>
                    <a:pt x="5601" y="675"/>
                  </a:cubicBezTo>
                  <a:close/>
                  <a:moveTo>
                    <a:pt x="4250" y="3324"/>
                  </a:moveTo>
                  <a:lnTo>
                    <a:pt x="4250" y="3324"/>
                  </a:lnTo>
                  <a:cubicBezTo>
                    <a:pt x="4226" y="3424"/>
                    <a:pt x="4301" y="3474"/>
                    <a:pt x="4301" y="3474"/>
                  </a:cubicBezTo>
                  <a:cubicBezTo>
                    <a:pt x="4326" y="3449"/>
                    <a:pt x="4451" y="3224"/>
                    <a:pt x="4426" y="3174"/>
                  </a:cubicBezTo>
                  <a:cubicBezTo>
                    <a:pt x="4401" y="3150"/>
                    <a:pt x="4275" y="3199"/>
                    <a:pt x="4250" y="3324"/>
                  </a:cubicBezTo>
                  <a:close/>
                  <a:moveTo>
                    <a:pt x="3250" y="3700"/>
                  </a:moveTo>
                  <a:lnTo>
                    <a:pt x="3250" y="3700"/>
                  </a:lnTo>
                  <a:cubicBezTo>
                    <a:pt x="3225" y="3700"/>
                    <a:pt x="3125" y="3749"/>
                    <a:pt x="3176" y="3825"/>
                  </a:cubicBezTo>
                  <a:cubicBezTo>
                    <a:pt x="3201" y="3900"/>
                    <a:pt x="3325" y="3849"/>
                    <a:pt x="3325" y="3825"/>
                  </a:cubicBezTo>
                  <a:cubicBezTo>
                    <a:pt x="3325" y="3774"/>
                    <a:pt x="3376" y="3724"/>
                    <a:pt x="3376" y="3700"/>
                  </a:cubicBezTo>
                  <a:cubicBezTo>
                    <a:pt x="3376" y="3674"/>
                    <a:pt x="3301" y="3700"/>
                    <a:pt x="3250" y="3700"/>
                  </a:cubicBezTo>
                  <a:close/>
                </a:path>
              </a:pathLst>
            </a:custGeom>
            <a:solidFill>
              <a:srgbClr val="000C47"/>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4" name="Rectangle 3">
              <a:extLst>
                <a:ext uri="{FF2B5EF4-FFF2-40B4-BE49-F238E27FC236}">
                  <a16:creationId xmlns:a16="http://schemas.microsoft.com/office/drawing/2014/main" id="{E5E2BA60-2805-1F80-996C-79BA41251A26}"/>
                </a:ext>
              </a:extLst>
            </p:cNvPr>
            <p:cNvSpPr/>
            <p:nvPr/>
          </p:nvSpPr>
          <p:spPr>
            <a:xfrm>
              <a:off x="6231287" y="3891675"/>
              <a:ext cx="145711" cy="181448"/>
            </a:xfrm>
            <a:prstGeom prst="rect">
              <a:avLst/>
            </a:prstGeom>
            <a:solidFill>
              <a:srgbClr val="EF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grpSp>
      <p:sp>
        <p:nvSpPr>
          <p:cNvPr id="17" name="Footer Placeholder 16">
            <a:extLst>
              <a:ext uri="{FF2B5EF4-FFF2-40B4-BE49-F238E27FC236}">
                <a16:creationId xmlns:a16="http://schemas.microsoft.com/office/drawing/2014/main" id="{66ED9D79-C130-E126-B7AC-1D746D4C99C1}"/>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372289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video>
              <p:cMediaNode vol="80000">
                <p:cTn id="2" fill="hold" display="0">
                  <p:stCondLst>
                    <p:cond delay="indefinite"/>
                  </p:stCondLst>
                </p:cTn>
                <p:tgtEl>
                  <p:spTgt spid="149"/>
                </p:tgtEl>
              </p:cMediaNode>
            </p:video>
            <p:video>
              <p:cMediaNode vol="80000">
                <p:cTn id="3" fill="hold" display="0">
                  <p:stCondLst>
                    <p:cond delay="indefinite"/>
                  </p:stCondLst>
                </p:cTn>
                <p:tgtEl>
                  <p:spTgt spid="15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Isosceles Triangle 182">
            <a:extLst>
              <a:ext uri="{FF2B5EF4-FFF2-40B4-BE49-F238E27FC236}">
                <a16:creationId xmlns:a16="http://schemas.microsoft.com/office/drawing/2014/main" id="{0BFB7E9E-BFC4-458B-A65C-1D3FFA0C3834}"/>
              </a:ext>
            </a:extLst>
          </p:cNvPr>
          <p:cNvSpPr/>
          <p:nvPr/>
        </p:nvSpPr>
        <p:spPr>
          <a:xfrm rot="16200000">
            <a:off x="8057952" y="1465715"/>
            <a:ext cx="3200400" cy="4572000"/>
          </a:xfrm>
          <a:prstGeom prst="triangle">
            <a:avLst/>
          </a:prstGeom>
          <a:gradFill flip="none" rotWithShape="1">
            <a:gsLst>
              <a:gs pos="99000">
                <a:schemeClr val="accent1">
                  <a:lumMod val="60000"/>
                  <a:lumOff val="40000"/>
                  <a:alpha val="0"/>
                </a:schemeClr>
              </a:gs>
              <a:gs pos="18000">
                <a:schemeClr val="accent1">
                  <a:lumMod val="60000"/>
                  <a:lumOff val="40000"/>
                  <a:alpha val="0"/>
                </a:schemeClr>
              </a:gs>
              <a:gs pos="38000">
                <a:schemeClr val="accent1">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185" name="Isosceles Triangle 184">
            <a:extLst>
              <a:ext uri="{FF2B5EF4-FFF2-40B4-BE49-F238E27FC236}">
                <a16:creationId xmlns:a16="http://schemas.microsoft.com/office/drawing/2014/main" id="{8388D06C-11FF-4CB2-83A7-D2F2B8DDCB27}"/>
              </a:ext>
            </a:extLst>
          </p:cNvPr>
          <p:cNvSpPr/>
          <p:nvPr/>
        </p:nvSpPr>
        <p:spPr>
          <a:xfrm rot="16200000">
            <a:off x="1898096" y="1548738"/>
            <a:ext cx="3200400" cy="4572000"/>
          </a:xfrm>
          <a:prstGeom prst="triangle">
            <a:avLst/>
          </a:prstGeom>
          <a:gradFill flip="none" rotWithShape="1">
            <a:gsLst>
              <a:gs pos="99000">
                <a:schemeClr val="accent5">
                  <a:lumMod val="60000"/>
                  <a:lumOff val="40000"/>
                  <a:alpha val="0"/>
                </a:schemeClr>
              </a:gs>
              <a:gs pos="18000">
                <a:schemeClr val="accent5">
                  <a:lumMod val="60000"/>
                  <a:lumOff val="40000"/>
                  <a:alpha val="0"/>
                </a:schemeClr>
              </a:gs>
              <a:gs pos="38000">
                <a:schemeClr val="accent5">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4" name="Title 3">
            <a:extLst>
              <a:ext uri="{FF2B5EF4-FFF2-40B4-BE49-F238E27FC236}">
                <a16:creationId xmlns:a16="http://schemas.microsoft.com/office/drawing/2014/main" id="{20A8D1AC-79DC-4650-97E7-C54AA416ED59}"/>
              </a:ext>
            </a:extLst>
          </p:cNvPr>
          <p:cNvSpPr>
            <a:spLocks noGrp="1"/>
          </p:cNvSpPr>
          <p:nvPr>
            <p:ph type="title"/>
          </p:nvPr>
        </p:nvSpPr>
        <p:spPr/>
        <p:txBody>
          <a:bodyPr/>
          <a:lstStyle/>
          <a:p>
            <a:r>
              <a:rPr lang="en-US"/>
              <a:t>5G defines two modes of broadcast communication</a:t>
            </a:r>
          </a:p>
        </p:txBody>
      </p:sp>
      <p:sp>
        <p:nvSpPr>
          <p:cNvPr id="8" name="Subtitle 7">
            <a:extLst>
              <a:ext uri="{FF2B5EF4-FFF2-40B4-BE49-F238E27FC236}">
                <a16:creationId xmlns:a16="http://schemas.microsoft.com/office/drawing/2014/main" id="{6A4DCC5F-4465-4B8B-8AB0-AB79ED679151}"/>
              </a:ext>
            </a:extLst>
          </p:cNvPr>
          <p:cNvSpPr>
            <a:spLocks noGrp="1"/>
          </p:cNvSpPr>
          <p:nvPr>
            <p:ph type="subTitle" idx="1"/>
          </p:nvPr>
        </p:nvSpPr>
        <p:spPr/>
        <p:txBody>
          <a:bodyPr/>
          <a:lstStyle/>
          <a:p>
            <a:r>
              <a:rPr lang="en-US"/>
              <a:t>Addressing diverse ecosystem, deployment, and use case requirements</a:t>
            </a:r>
          </a:p>
        </p:txBody>
      </p:sp>
      <p:sp>
        <p:nvSpPr>
          <p:cNvPr id="16" name="Rectangle 15">
            <a:extLst>
              <a:ext uri="{FF2B5EF4-FFF2-40B4-BE49-F238E27FC236}">
                <a16:creationId xmlns:a16="http://schemas.microsoft.com/office/drawing/2014/main" id="{37C6BAA0-2A30-4655-BE4F-9C2ED69B143E}"/>
              </a:ext>
            </a:extLst>
          </p:cNvPr>
          <p:cNvSpPr/>
          <p:nvPr/>
        </p:nvSpPr>
        <p:spPr>
          <a:xfrm>
            <a:off x="493713"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5776"/>
                </a:solidFill>
                <a:effectLst/>
                <a:uLnTx/>
                <a:uFillTx/>
                <a:latin typeface="Microsoft Sans Serif"/>
                <a:ea typeface="+mn-ea"/>
                <a:cs typeface="Microsoft Sans Serif" panose="020B0604020202020204" pitchFamily="34" charset="0"/>
              </a:rPr>
              <a:t>5G broadcast</a:t>
            </a:r>
          </a:p>
        </p:txBody>
      </p:sp>
      <p:sp>
        <p:nvSpPr>
          <p:cNvPr id="18" name="Rectangle 17">
            <a:extLst>
              <a:ext uri="{FF2B5EF4-FFF2-40B4-BE49-F238E27FC236}">
                <a16:creationId xmlns:a16="http://schemas.microsoft.com/office/drawing/2014/main" id="{876A96A2-D56E-4162-8EBC-DFE744406C04}"/>
              </a:ext>
            </a:extLst>
          </p:cNvPr>
          <p:cNvSpPr/>
          <p:nvPr/>
        </p:nvSpPr>
        <p:spPr>
          <a:xfrm>
            <a:off x="6785468"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Mixed-mode multicast</a:t>
            </a:r>
          </a:p>
        </p:txBody>
      </p:sp>
      <p:grpSp>
        <p:nvGrpSpPr>
          <p:cNvPr id="22" name="Group 4">
            <a:extLst>
              <a:ext uri="{FF2B5EF4-FFF2-40B4-BE49-F238E27FC236}">
                <a16:creationId xmlns:a16="http://schemas.microsoft.com/office/drawing/2014/main" id="{31B1BE90-0BC1-469B-9FA0-9F202AE68896}"/>
              </a:ext>
            </a:extLst>
          </p:cNvPr>
          <p:cNvGrpSpPr>
            <a:grpSpLocks noChangeAspect="1"/>
          </p:cNvGrpSpPr>
          <p:nvPr/>
        </p:nvGrpSpPr>
        <p:grpSpPr bwMode="auto">
          <a:xfrm>
            <a:off x="2692604" y="3687267"/>
            <a:ext cx="914400" cy="582935"/>
            <a:chOff x="942" y="1778"/>
            <a:chExt cx="2149" cy="1370"/>
          </a:xfrm>
          <a:solidFill>
            <a:srgbClr val="3253DC"/>
          </a:solidFill>
        </p:grpSpPr>
        <p:sp>
          <p:nvSpPr>
            <p:cNvPr id="111" name="Freeform 5">
              <a:extLst>
                <a:ext uri="{FF2B5EF4-FFF2-40B4-BE49-F238E27FC236}">
                  <a16:creationId xmlns:a16="http://schemas.microsoft.com/office/drawing/2014/main" id="{BA37216F-1C37-4E8E-99A6-AF6EDF9B098D}"/>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12" name="Freeform 6">
              <a:extLst>
                <a:ext uri="{FF2B5EF4-FFF2-40B4-BE49-F238E27FC236}">
                  <a16:creationId xmlns:a16="http://schemas.microsoft.com/office/drawing/2014/main" id="{D261A975-28E9-4C1C-8E0B-68772BA4B416}"/>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sp>
        <p:nvSpPr>
          <p:cNvPr id="23" name="TextBox 22">
            <a:extLst>
              <a:ext uri="{FF2B5EF4-FFF2-40B4-BE49-F238E27FC236}">
                <a16:creationId xmlns:a16="http://schemas.microsoft.com/office/drawing/2014/main" id="{4583F1C3-ACBA-459D-B8EC-78E16534E13F}"/>
              </a:ext>
            </a:extLst>
          </p:cNvPr>
          <p:cNvSpPr txBox="1"/>
          <p:nvPr/>
        </p:nvSpPr>
        <p:spPr>
          <a:xfrm>
            <a:off x="927129" y="4610184"/>
            <a:ext cx="2439611"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445776"/>
                </a:solidFill>
                <a:effectLst/>
                <a:uLnTx/>
                <a:uFillTx/>
                <a:latin typeface="Microsoft Sans Serif"/>
                <a:ea typeface="+mn-ea"/>
                <a:cs typeface="+mn-cs"/>
              </a:rPr>
              <a:t>Single Frequency Network (SFN) for downlink broadcast only</a:t>
            </a:r>
          </a:p>
        </p:txBody>
      </p:sp>
      <p:grpSp>
        <p:nvGrpSpPr>
          <p:cNvPr id="24" name="Group 23">
            <a:extLst>
              <a:ext uri="{FF2B5EF4-FFF2-40B4-BE49-F238E27FC236}">
                <a16:creationId xmlns:a16="http://schemas.microsoft.com/office/drawing/2014/main" id="{4970EE72-7633-4BDF-AEBF-2D4021E2F346}"/>
              </a:ext>
            </a:extLst>
          </p:cNvPr>
          <p:cNvGrpSpPr/>
          <p:nvPr/>
        </p:nvGrpSpPr>
        <p:grpSpPr>
          <a:xfrm>
            <a:off x="2875265" y="3884291"/>
            <a:ext cx="548226" cy="172471"/>
            <a:chOff x="9118112" y="3943518"/>
            <a:chExt cx="1446677" cy="455123"/>
          </a:xfrm>
        </p:grpSpPr>
        <p:sp>
          <p:nvSpPr>
            <p:cNvPr id="104" name="Freeform 176">
              <a:extLst>
                <a:ext uri="{FF2B5EF4-FFF2-40B4-BE49-F238E27FC236}">
                  <a16:creationId xmlns:a16="http://schemas.microsoft.com/office/drawing/2014/main" id="{FE91F1A3-E386-4F12-998C-CE55EA74E8F2}"/>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105" name="Group 104">
              <a:extLst>
                <a:ext uri="{FF2B5EF4-FFF2-40B4-BE49-F238E27FC236}">
                  <a16:creationId xmlns:a16="http://schemas.microsoft.com/office/drawing/2014/main" id="{94FBEB15-3ED7-4F3C-A78B-AF68701E3898}"/>
                </a:ext>
              </a:extLst>
            </p:cNvPr>
            <p:cNvGrpSpPr/>
            <p:nvPr/>
          </p:nvGrpSpPr>
          <p:grpSpPr>
            <a:xfrm>
              <a:off x="9308116" y="4049967"/>
              <a:ext cx="1066991" cy="242231"/>
              <a:chOff x="11132070" y="3308794"/>
              <a:chExt cx="208750" cy="47391"/>
            </a:xfrm>
          </p:grpSpPr>
          <p:sp>
            <p:nvSpPr>
              <p:cNvPr id="106" name="Freeform 177">
                <a:extLst>
                  <a:ext uri="{FF2B5EF4-FFF2-40B4-BE49-F238E27FC236}">
                    <a16:creationId xmlns:a16="http://schemas.microsoft.com/office/drawing/2014/main" id="{5FF0E52B-ED7D-4C8C-B55A-F22E947D13E8}"/>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7" name="Freeform 178">
                <a:extLst>
                  <a:ext uri="{FF2B5EF4-FFF2-40B4-BE49-F238E27FC236}">
                    <a16:creationId xmlns:a16="http://schemas.microsoft.com/office/drawing/2014/main" id="{359CC271-AD9E-49B3-9C01-800DA6A22468}"/>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8" name="Freeform 179">
                <a:extLst>
                  <a:ext uri="{FF2B5EF4-FFF2-40B4-BE49-F238E27FC236}">
                    <a16:creationId xmlns:a16="http://schemas.microsoft.com/office/drawing/2014/main" id="{92656C05-6941-43A5-AE91-BB355ABECA99}"/>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9" name="Rectangle 108">
                <a:extLst>
                  <a:ext uri="{FF2B5EF4-FFF2-40B4-BE49-F238E27FC236}">
                    <a16:creationId xmlns:a16="http://schemas.microsoft.com/office/drawing/2014/main" id="{6C7CA1C3-1F17-4908-8413-55CBAF835BC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10" name="Freeform 194">
                <a:extLst>
                  <a:ext uri="{FF2B5EF4-FFF2-40B4-BE49-F238E27FC236}">
                    <a16:creationId xmlns:a16="http://schemas.microsoft.com/office/drawing/2014/main" id="{12DBDF36-5E47-4326-809C-FCDF5D789726}"/>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25" name="Group 24">
            <a:extLst>
              <a:ext uri="{FF2B5EF4-FFF2-40B4-BE49-F238E27FC236}">
                <a16:creationId xmlns:a16="http://schemas.microsoft.com/office/drawing/2014/main" id="{A57CD6D7-D2E5-4493-BF7F-2178313CAFF6}"/>
              </a:ext>
            </a:extLst>
          </p:cNvPr>
          <p:cNvGrpSpPr>
            <a:grpSpLocks noChangeAspect="1"/>
          </p:cNvGrpSpPr>
          <p:nvPr/>
        </p:nvGrpSpPr>
        <p:grpSpPr>
          <a:xfrm>
            <a:off x="3707521" y="3761619"/>
            <a:ext cx="373883" cy="507705"/>
            <a:chOff x="1105197" y="2827506"/>
            <a:chExt cx="1396843" cy="1896808"/>
          </a:xfrm>
        </p:grpSpPr>
        <p:sp>
          <p:nvSpPr>
            <p:cNvPr id="102" name="Freeform 9">
              <a:extLst>
                <a:ext uri="{FF2B5EF4-FFF2-40B4-BE49-F238E27FC236}">
                  <a16:creationId xmlns:a16="http://schemas.microsoft.com/office/drawing/2014/main" id="{D4351149-8BC8-4EC2-8401-3F6F175249A4}"/>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3" name="Freeform 10">
              <a:extLst>
                <a:ext uri="{FF2B5EF4-FFF2-40B4-BE49-F238E27FC236}">
                  <a16:creationId xmlns:a16="http://schemas.microsoft.com/office/drawing/2014/main" id="{9026984C-E3FC-4B77-91BC-CBE2EA0035B0}"/>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26" name="Group 25">
            <a:extLst>
              <a:ext uri="{FF2B5EF4-FFF2-40B4-BE49-F238E27FC236}">
                <a16:creationId xmlns:a16="http://schemas.microsoft.com/office/drawing/2014/main" id="{91B19C16-F8D6-49DB-92DA-B0371E3B093C}"/>
              </a:ext>
            </a:extLst>
          </p:cNvPr>
          <p:cNvGrpSpPr>
            <a:grpSpLocks noChangeAspect="1"/>
          </p:cNvGrpSpPr>
          <p:nvPr/>
        </p:nvGrpSpPr>
        <p:grpSpPr>
          <a:xfrm>
            <a:off x="4178693" y="3810488"/>
            <a:ext cx="246841" cy="457574"/>
            <a:chOff x="5434013" y="2201863"/>
            <a:chExt cx="1323975" cy="2454275"/>
          </a:xfrm>
        </p:grpSpPr>
        <p:sp>
          <p:nvSpPr>
            <p:cNvPr id="100" name="Freeform 5">
              <a:extLst>
                <a:ext uri="{FF2B5EF4-FFF2-40B4-BE49-F238E27FC236}">
                  <a16:creationId xmlns:a16="http://schemas.microsoft.com/office/drawing/2014/main" id="{3F12BA73-3127-439B-AE92-C8EB5337E53D}"/>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01" name="Freeform: Shape 15">
              <a:extLst>
                <a:ext uri="{FF2B5EF4-FFF2-40B4-BE49-F238E27FC236}">
                  <a16:creationId xmlns:a16="http://schemas.microsoft.com/office/drawing/2014/main" id="{00EE7E36-04E4-44FB-9AF2-FF36D248BEA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7" name="Group 26">
            <a:extLst>
              <a:ext uri="{FF2B5EF4-FFF2-40B4-BE49-F238E27FC236}">
                <a16:creationId xmlns:a16="http://schemas.microsoft.com/office/drawing/2014/main" id="{A819BBC6-8BEE-44C2-888F-9DF5B32E4537}"/>
              </a:ext>
            </a:extLst>
          </p:cNvPr>
          <p:cNvGrpSpPr>
            <a:grpSpLocks noChangeAspect="1"/>
          </p:cNvGrpSpPr>
          <p:nvPr/>
        </p:nvGrpSpPr>
        <p:grpSpPr>
          <a:xfrm>
            <a:off x="4868198" y="3798453"/>
            <a:ext cx="246841" cy="457574"/>
            <a:chOff x="5434013" y="2201863"/>
            <a:chExt cx="1323975" cy="2454275"/>
          </a:xfrm>
        </p:grpSpPr>
        <p:sp>
          <p:nvSpPr>
            <p:cNvPr id="98" name="Freeform 5">
              <a:extLst>
                <a:ext uri="{FF2B5EF4-FFF2-40B4-BE49-F238E27FC236}">
                  <a16:creationId xmlns:a16="http://schemas.microsoft.com/office/drawing/2014/main" id="{F69A7899-BB61-4764-8E90-206C2BF1832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9" name="Freeform: Shape 35">
              <a:extLst>
                <a:ext uri="{FF2B5EF4-FFF2-40B4-BE49-F238E27FC236}">
                  <a16:creationId xmlns:a16="http://schemas.microsoft.com/office/drawing/2014/main" id="{1D94999B-C3AE-402E-AB05-E38777D309E8}"/>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8" name="Group 27">
            <a:extLst>
              <a:ext uri="{FF2B5EF4-FFF2-40B4-BE49-F238E27FC236}">
                <a16:creationId xmlns:a16="http://schemas.microsoft.com/office/drawing/2014/main" id="{32A7C95D-8564-44D2-9895-8B4F6ECB47ED}"/>
              </a:ext>
            </a:extLst>
          </p:cNvPr>
          <p:cNvGrpSpPr>
            <a:grpSpLocks noChangeAspect="1"/>
          </p:cNvGrpSpPr>
          <p:nvPr/>
        </p:nvGrpSpPr>
        <p:grpSpPr>
          <a:xfrm>
            <a:off x="5218331" y="3805272"/>
            <a:ext cx="246841" cy="457574"/>
            <a:chOff x="5434013" y="2201863"/>
            <a:chExt cx="1323975" cy="2454275"/>
          </a:xfrm>
        </p:grpSpPr>
        <p:sp>
          <p:nvSpPr>
            <p:cNvPr id="96" name="Freeform 5">
              <a:extLst>
                <a:ext uri="{FF2B5EF4-FFF2-40B4-BE49-F238E27FC236}">
                  <a16:creationId xmlns:a16="http://schemas.microsoft.com/office/drawing/2014/main" id="{557CF26E-9A5F-448D-9656-FE07707E6A45}"/>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7" name="Freeform: Shape 15">
              <a:extLst>
                <a:ext uri="{FF2B5EF4-FFF2-40B4-BE49-F238E27FC236}">
                  <a16:creationId xmlns:a16="http://schemas.microsoft.com/office/drawing/2014/main" id="{51A45677-C66C-47A1-AFF8-5D2375B183E1}"/>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9" name="Group 28">
            <a:extLst>
              <a:ext uri="{FF2B5EF4-FFF2-40B4-BE49-F238E27FC236}">
                <a16:creationId xmlns:a16="http://schemas.microsoft.com/office/drawing/2014/main" id="{4C8F9BAD-D505-475C-A174-DCF7A46DA0BA}"/>
              </a:ext>
            </a:extLst>
          </p:cNvPr>
          <p:cNvGrpSpPr>
            <a:grpSpLocks noChangeAspect="1"/>
          </p:cNvGrpSpPr>
          <p:nvPr/>
        </p:nvGrpSpPr>
        <p:grpSpPr>
          <a:xfrm>
            <a:off x="4524068" y="3806197"/>
            <a:ext cx="246841" cy="457574"/>
            <a:chOff x="5434013" y="2201863"/>
            <a:chExt cx="1323975" cy="2454275"/>
          </a:xfrm>
        </p:grpSpPr>
        <p:sp>
          <p:nvSpPr>
            <p:cNvPr id="94" name="Freeform 5">
              <a:extLst>
                <a:ext uri="{FF2B5EF4-FFF2-40B4-BE49-F238E27FC236}">
                  <a16:creationId xmlns:a16="http://schemas.microsoft.com/office/drawing/2014/main" id="{481A554D-179E-47EC-8EBB-A839BE42E3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5" name="Freeform: Shape 15">
              <a:extLst>
                <a:ext uri="{FF2B5EF4-FFF2-40B4-BE49-F238E27FC236}">
                  <a16:creationId xmlns:a16="http://schemas.microsoft.com/office/drawing/2014/main" id="{CEBB8602-402C-417E-8DD4-8A3F16C42C63}"/>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30" name="Group 29">
            <a:extLst>
              <a:ext uri="{FF2B5EF4-FFF2-40B4-BE49-F238E27FC236}">
                <a16:creationId xmlns:a16="http://schemas.microsoft.com/office/drawing/2014/main" id="{418DF1B7-E337-48D1-979B-0291A4A3EA5D}"/>
              </a:ext>
            </a:extLst>
          </p:cNvPr>
          <p:cNvGrpSpPr/>
          <p:nvPr/>
        </p:nvGrpSpPr>
        <p:grpSpPr>
          <a:xfrm>
            <a:off x="3756861" y="3962127"/>
            <a:ext cx="273446" cy="86025"/>
            <a:chOff x="9118112" y="3943518"/>
            <a:chExt cx="1446677" cy="455123"/>
          </a:xfrm>
        </p:grpSpPr>
        <p:sp>
          <p:nvSpPr>
            <p:cNvPr id="87" name="Freeform 176">
              <a:extLst>
                <a:ext uri="{FF2B5EF4-FFF2-40B4-BE49-F238E27FC236}">
                  <a16:creationId xmlns:a16="http://schemas.microsoft.com/office/drawing/2014/main" id="{F9F24486-73D3-4657-956B-044F1E37108F}"/>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8" name="Group 87">
              <a:extLst>
                <a:ext uri="{FF2B5EF4-FFF2-40B4-BE49-F238E27FC236}">
                  <a16:creationId xmlns:a16="http://schemas.microsoft.com/office/drawing/2014/main" id="{C020D132-F03F-4667-B80A-9EBF99913661}"/>
                </a:ext>
              </a:extLst>
            </p:cNvPr>
            <p:cNvGrpSpPr/>
            <p:nvPr/>
          </p:nvGrpSpPr>
          <p:grpSpPr>
            <a:xfrm>
              <a:off x="9308116" y="4049967"/>
              <a:ext cx="1066991" cy="242231"/>
              <a:chOff x="11132070" y="3308794"/>
              <a:chExt cx="208750" cy="47391"/>
            </a:xfrm>
          </p:grpSpPr>
          <p:sp>
            <p:nvSpPr>
              <p:cNvPr id="89" name="Freeform 177">
                <a:extLst>
                  <a:ext uri="{FF2B5EF4-FFF2-40B4-BE49-F238E27FC236}">
                    <a16:creationId xmlns:a16="http://schemas.microsoft.com/office/drawing/2014/main" id="{833F86EC-6676-4D18-9616-AA31245266F2}"/>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0" name="Freeform 178">
                <a:extLst>
                  <a:ext uri="{FF2B5EF4-FFF2-40B4-BE49-F238E27FC236}">
                    <a16:creationId xmlns:a16="http://schemas.microsoft.com/office/drawing/2014/main" id="{B576CCFB-9F5F-4B64-86B2-EBB5498889E5}"/>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1" name="Freeform 179">
                <a:extLst>
                  <a:ext uri="{FF2B5EF4-FFF2-40B4-BE49-F238E27FC236}">
                    <a16:creationId xmlns:a16="http://schemas.microsoft.com/office/drawing/2014/main" id="{7C33411F-76FE-492C-AA44-A19E539B05DC}"/>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2" name="Rectangle 91">
                <a:extLst>
                  <a:ext uri="{FF2B5EF4-FFF2-40B4-BE49-F238E27FC236}">
                    <a16:creationId xmlns:a16="http://schemas.microsoft.com/office/drawing/2014/main" id="{E8C421EE-235C-4462-B393-677CE003696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3" name="Freeform 194">
                <a:extLst>
                  <a:ext uri="{FF2B5EF4-FFF2-40B4-BE49-F238E27FC236}">
                    <a16:creationId xmlns:a16="http://schemas.microsoft.com/office/drawing/2014/main" id="{36D799F8-89D7-4BC1-9363-86BBF013275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1" name="Group 30">
            <a:extLst>
              <a:ext uri="{FF2B5EF4-FFF2-40B4-BE49-F238E27FC236}">
                <a16:creationId xmlns:a16="http://schemas.microsoft.com/office/drawing/2014/main" id="{6D4B966F-273A-4D58-A6C4-A003B8D19B07}"/>
              </a:ext>
            </a:extLst>
          </p:cNvPr>
          <p:cNvGrpSpPr/>
          <p:nvPr/>
        </p:nvGrpSpPr>
        <p:grpSpPr>
          <a:xfrm>
            <a:off x="4215585" y="3980524"/>
            <a:ext cx="186767" cy="58756"/>
            <a:chOff x="9118112" y="3943518"/>
            <a:chExt cx="1446677" cy="455123"/>
          </a:xfrm>
        </p:grpSpPr>
        <p:sp>
          <p:nvSpPr>
            <p:cNvPr id="80" name="Freeform 176">
              <a:extLst>
                <a:ext uri="{FF2B5EF4-FFF2-40B4-BE49-F238E27FC236}">
                  <a16:creationId xmlns:a16="http://schemas.microsoft.com/office/drawing/2014/main" id="{25C28930-A8E3-44E7-8E55-7C254A99DC5A}"/>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1" name="Group 80">
              <a:extLst>
                <a:ext uri="{FF2B5EF4-FFF2-40B4-BE49-F238E27FC236}">
                  <a16:creationId xmlns:a16="http://schemas.microsoft.com/office/drawing/2014/main" id="{A590B161-6190-497F-9873-1B9ABA209E1A}"/>
                </a:ext>
              </a:extLst>
            </p:cNvPr>
            <p:cNvGrpSpPr/>
            <p:nvPr/>
          </p:nvGrpSpPr>
          <p:grpSpPr>
            <a:xfrm>
              <a:off x="9308116" y="4049967"/>
              <a:ext cx="1066991" cy="242231"/>
              <a:chOff x="11132070" y="3308794"/>
              <a:chExt cx="208750" cy="47391"/>
            </a:xfrm>
          </p:grpSpPr>
          <p:sp>
            <p:nvSpPr>
              <p:cNvPr id="82" name="Freeform 177">
                <a:extLst>
                  <a:ext uri="{FF2B5EF4-FFF2-40B4-BE49-F238E27FC236}">
                    <a16:creationId xmlns:a16="http://schemas.microsoft.com/office/drawing/2014/main" id="{197840F2-7643-4DCD-81DF-868C31CCAAB3}"/>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3" name="Freeform 178">
                <a:extLst>
                  <a:ext uri="{FF2B5EF4-FFF2-40B4-BE49-F238E27FC236}">
                    <a16:creationId xmlns:a16="http://schemas.microsoft.com/office/drawing/2014/main" id="{21737293-D68F-419D-98A1-6A3BECAA4E5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4" name="Freeform 179">
                <a:extLst>
                  <a:ext uri="{FF2B5EF4-FFF2-40B4-BE49-F238E27FC236}">
                    <a16:creationId xmlns:a16="http://schemas.microsoft.com/office/drawing/2014/main" id="{29A4F673-5EC1-4ABA-A88B-0B47E141B3AD}"/>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5" name="Rectangle 84">
                <a:extLst>
                  <a:ext uri="{FF2B5EF4-FFF2-40B4-BE49-F238E27FC236}">
                    <a16:creationId xmlns:a16="http://schemas.microsoft.com/office/drawing/2014/main" id="{0D259677-5BF0-4FEA-9A40-118CE5BAE60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6" name="Freeform 194">
                <a:extLst>
                  <a:ext uri="{FF2B5EF4-FFF2-40B4-BE49-F238E27FC236}">
                    <a16:creationId xmlns:a16="http://schemas.microsoft.com/office/drawing/2014/main" id="{247630FF-016C-49A9-A910-3DC0E96E0855}"/>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2" name="Group 31">
            <a:extLst>
              <a:ext uri="{FF2B5EF4-FFF2-40B4-BE49-F238E27FC236}">
                <a16:creationId xmlns:a16="http://schemas.microsoft.com/office/drawing/2014/main" id="{AE4C4AA8-C564-46AC-AB93-79C5D89F7C56}"/>
              </a:ext>
            </a:extLst>
          </p:cNvPr>
          <p:cNvGrpSpPr/>
          <p:nvPr/>
        </p:nvGrpSpPr>
        <p:grpSpPr>
          <a:xfrm>
            <a:off x="4554056" y="3980524"/>
            <a:ext cx="186767" cy="58756"/>
            <a:chOff x="9118112" y="3943518"/>
            <a:chExt cx="1446677" cy="455123"/>
          </a:xfrm>
        </p:grpSpPr>
        <p:sp>
          <p:nvSpPr>
            <p:cNvPr id="73" name="Freeform 176">
              <a:extLst>
                <a:ext uri="{FF2B5EF4-FFF2-40B4-BE49-F238E27FC236}">
                  <a16:creationId xmlns:a16="http://schemas.microsoft.com/office/drawing/2014/main" id="{80992BBB-FB9E-4FA8-B6D5-B0E9BA3DF73B}"/>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7BA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74" name="Group 73">
              <a:extLst>
                <a:ext uri="{FF2B5EF4-FFF2-40B4-BE49-F238E27FC236}">
                  <a16:creationId xmlns:a16="http://schemas.microsoft.com/office/drawing/2014/main" id="{826C1125-83B3-488F-A9F7-D648AEF600DE}"/>
                </a:ext>
              </a:extLst>
            </p:cNvPr>
            <p:cNvGrpSpPr/>
            <p:nvPr/>
          </p:nvGrpSpPr>
          <p:grpSpPr>
            <a:xfrm>
              <a:off x="9308116" y="4049967"/>
              <a:ext cx="1066991" cy="242231"/>
              <a:chOff x="11132070" y="3308794"/>
              <a:chExt cx="208750" cy="47391"/>
            </a:xfrm>
          </p:grpSpPr>
          <p:sp>
            <p:nvSpPr>
              <p:cNvPr id="75" name="Freeform 177">
                <a:extLst>
                  <a:ext uri="{FF2B5EF4-FFF2-40B4-BE49-F238E27FC236}">
                    <a16:creationId xmlns:a16="http://schemas.microsoft.com/office/drawing/2014/main" id="{EA8CA285-0DB3-4F8C-B8D5-E4A6A651D654}"/>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6" name="Freeform 178">
                <a:extLst>
                  <a:ext uri="{FF2B5EF4-FFF2-40B4-BE49-F238E27FC236}">
                    <a16:creationId xmlns:a16="http://schemas.microsoft.com/office/drawing/2014/main" id="{3CB4BD6F-56FC-4082-AF09-7B7D399B4B3E}"/>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7" name="Freeform 179">
                <a:extLst>
                  <a:ext uri="{FF2B5EF4-FFF2-40B4-BE49-F238E27FC236}">
                    <a16:creationId xmlns:a16="http://schemas.microsoft.com/office/drawing/2014/main" id="{FD66432B-DCFB-4FB0-A6BF-B27385A72D82}"/>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8" name="Rectangle 77">
                <a:extLst>
                  <a:ext uri="{FF2B5EF4-FFF2-40B4-BE49-F238E27FC236}">
                    <a16:creationId xmlns:a16="http://schemas.microsoft.com/office/drawing/2014/main" id="{4FF645D7-CF57-4358-9E0A-0B95F6557C8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9" name="Freeform 194">
                <a:extLst>
                  <a:ext uri="{FF2B5EF4-FFF2-40B4-BE49-F238E27FC236}">
                    <a16:creationId xmlns:a16="http://schemas.microsoft.com/office/drawing/2014/main" id="{12665EED-29A2-4948-BF19-A8BAD4EC4410}"/>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3" name="Group 32">
            <a:extLst>
              <a:ext uri="{FF2B5EF4-FFF2-40B4-BE49-F238E27FC236}">
                <a16:creationId xmlns:a16="http://schemas.microsoft.com/office/drawing/2014/main" id="{C07D4CC3-85DB-44BB-9476-2749876EF7D4}"/>
              </a:ext>
            </a:extLst>
          </p:cNvPr>
          <p:cNvGrpSpPr/>
          <p:nvPr/>
        </p:nvGrpSpPr>
        <p:grpSpPr>
          <a:xfrm>
            <a:off x="4898165" y="3980524"/>
            <a:ext cx="186767" cy="58756"/>
            <a:chOff x="9118112" y="3943518"/>
            <a:chExt cx="1446677" cy="455123"/>
          </a:xfrm>
        </p:grpSpPr>
        <p:sp>
          <p:nvSpPr>
            <p:cNvPr id="66" name="Freeform 176">
              <a:extLst>
                <a:ext uri="{FF2B5EF4-FFF2-40B4-BE49-F238E27FC236}">
                  <a16:creationId xmlns:a16="http://schemas.microsoft.com/office/drawing/2014/main" id="{22087C53-9214-45A4-86B6-D5DE096FA793}"/>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4A5A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7" name="Group 66">
              <a:extLst>
                <a:ext uri="{FF2B5EF4-FFF2-40B4-BE49-F238E27FC236}">
                  <a16:creationId xmlns:a16="http://schemas.microsoft.com/office/drawing/2014/main" id="{54B74D30-E9BB-4D68-BD68-0DE4B5D0672C}"/>
                </a:ext>
              </a:extLst>
            </p:cNvPr>
            <p:cNvGrpSpPr/>
            <p:nvPr/>
          </p:nvGrpSpPr>
          <p:grpSpPr>
            <a:xfrm>
              <a:off x="9308116" y="4049967"/>
              <a:ext cx="1066991" cy="242231"/>
              <a:chOff x="11132070" y="3308794"/>
              <a:chExt cx="208750" cy="47391"/>
            </a:xfrm>
          </p:grpSpPr>
          <p:sp>
            <p:nvSpPr>
              <p:cNvPr id="68" name="Freeform 177">
                <a:extLst>
                  <a:ext uri="{FF2B5EF4-FFF2-40B4-BE49-F238E27FC236}">
                    <a16:creationId xmlns:a16="http://schemas.microsoft.com/office/drawing/2014/main" id="{651EB500-864E-4B0D-AB60-29BD28EC177C}"/>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9" name="Freeform 178">
                <a:extLst>
                  <a:ext uri="{FF2B5EF4-FFF2-40B4-BE49-F238E27FC236}">
                    <a16:creationId xmlns:a16="http://schemas.microsoft.com/office/drawing/2014/main" id="{7A09C7B0-715B-42C8-B065-418E6EB1CE0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0" name="Freeform 179">
                <a:extLst>
                  <a:ext uri="{FF2B5EF4-FFF2-40B4-BE49-F238E27FC236}">
                    <a16:creationId xmlns:a16="http://schemas.microsoft.com/office/drawing/2014/main" id="{BD238009-C02A-4CBB-8BE2-0E74D3AB763A}"/>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1" name="Rectangle 70">
                <a:extLst>
                  <a:ext uri="{FF2B5EF4-FFF2-40B4-BE49-F238E27FC236}">
                    <a16:creationId xmlns:a16="http://schemas.microsoft.com/office/drawing/2014/main" id="{51D55E03-E93B-410F-810D-1500EF667887}"/>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2" name="Freeform 194">
                <a:extLst>
                  <a:ext uri="{FF2B5EF4-FFF2-40B4-BE49-F238E27FC236}">
                    <a16:creationId xmlns:a16="http://schemas.microsoft.com/office/drawing/2014/main" id="{6B1767BB-55B1-4A45-AAC5-0FAC7E0EC30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4" name="Group 33">
            <a:extLst>
              <a:ext uri="{FF2B5EF4-FFF2-40B4-BE49-F238E27FC236}">
                <a16:creationId xmlns:a16="http://schemas.microsoft.com/office/drawing/2014/main" id="{79C5CB42-D7A9-44AB-BDCE-14B95E47184E}"/>
              </a:ext>
            </a:extLst>
          </p:cNvPr>
          <p:cNvGrpSpPr/>
          <p:nvPr/>
        </p:nvGrpSpPr>
        <p:grpSpPr>
          <a:xfrm>
            <a:off x="5247966" y="3980524"/>
            <a:ext cx="186767" cy="58756"/>
            <a:chOff x="9118112" y="3943518"/>
            <a:chExt cx="1446677" cy="455123"/>
          </a:xfrm>
        </p:grpSpPr>
        <p:sp>
          <p:nvSpPr>
            <p:cNvPr id="59" name="Freeform 176">
              <a:extLst>
                <a:ext uri="{FF2B5EF4-FFF2-40B4-BE49-F238E27FC236}">
                  <a16:creationId xmlns:a16="http://schemas.microsoft.com/office/drawing/2014/main" id="{A0B5C14C-39E2-4BEA-8971-75E9740CC13E}"/>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6AB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0" name="Group 59">
              <a:extLst>
                <a:ext uri="{FF2B5EF4-FFF2-40B4-BE49-F238E27FC236}">
                  <a16:creationId xmlns:a16="http://schemas.microsoft.com/office/drawing/2014/main" id="{2F7D7704-5379-4C39-8F79-5EF105DEA6C6}"/>
                </a:ext>
              </a:extLst>
            </p:cNvPr>
            <p:cNvGrpSpPr/>
            <p:nvPr/>
          </p:nvGrpSpPr>
          <p:grpSpPr>
            <a:xfrm>
              <a:off x="9308116" y="4049967"/>
              <a:ext cx="1066991" cy="242231"/>
              <a:chOff x="11132070" y="3308794"/>
              <a:chExt cx="208750" cy="47391"/>
            </a:xfrm>
          </p:grpSpPr>
          <p:sp>
            <p:nvSpPr>
              <p:cNvPr id="61" name="Freeform 177">
                <a:extLst>
                  <a:ext uri="{FF2B5EF4-FFF2-40B4-BE49-F238E27FC236}">
                    <a16:creationId xmlns:a16="http://schemas.microsoft.com/office/drawing/2014/main" id="{A6FCB66C-1E62-42C7-94E5-4A6AE2A61CED}"/>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2" name="Freeform 178">
                <a:extLst>
                  <a:ext uri="{FF2B5EF4-FFF2-40B4-BE49-F238E27FC236}">
                    <a16:creationId xmlns:a16="http://schemas.microsoft.com/office/drawing/2014/main" id="{02AC179A-EC0B-478D-9729-DAD936A7B634}"/>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3" name="Freeform 179">
                <a:extLst>
                  <a:ext uri="{FF2B5EF4-FFF2-40B4-BE49-F238E27FC236}">
                    <a16:creationId xmlns:a16="http://schemas.microsoft.com/office/drawing/2014/main" id="{2078AFA9-D1A7-429C-BD18-FF0DB542FFDF}"/>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2D4A9569-2E22-4E50-9131-AED198943888}"/>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5" name="Freeform 194">
                <a:extLst>
                  <a:ext uri="{FF2B5EF4-FFF2-40B4-BE49-F238E27FC236}">
                    <a16:creationId xmlns:a16="http://schemas.microsoft.com/office/drawing/2014/main" id="{AE1F4274-E203-42CB-B829-6FDCCE50C488}"/>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sp>
        <p:nvSpPr>
          <p:cNvPr id="35" name="Freeform: Shape 34">
            <a:extLst>
              <a:ext uri="{FF2B5EF4-FFF2-40B4-BE49-F238E27FC236}">
                <a16:creationId xmlns:a16="http://schemas.microsoft.com/office/drawing/2014/main" id="{C4FA4006-5615-4531-B9DE-E04055B8ECB2}"/>
              </a:ext>
            </a:extLst>
          </p:cNvPr>
          <p:cNvSpPr/>
          <p:nvPr/>
        </p:nvSpPr>
        <p:spPr>
          <a:xfrm>
            <a:off x="991697" y="3642444"/>
            <a:ext cx="566057" cy="870857"/>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Lst>
            <a:ahLst/>
            <a:cxnLst>
              <a:cxn ang="0">
                <a:pos x="connsiteX0" y="connsiteY0"/>
              </a:cxn>
              <a:cxn ang="0">
                <a:pos x="connsiteX1" y="connsiteY1"/>
              </a:cxn>
              <a:cxn ang="0">
                <a:pos x="connsiteX2" y="connsiteY2"/>
              </a:cxn>
              <a:cxn ang="0">
                <a:pos x="connsiteX3" y="connsiteY3"/>
              </a:cxn>
            </a:cxnLst>
            <a:rect l="l" t="t" r="r" b="b"/>
            <a:pathLst>
              <a:path w="566057" h="870857">
                <a:moveTo>
                  <a:pt x="0" y="0"/>
                </a:moveTo>
                <a:cubicBezTo>
                  <a:pt x="105229" y="39914"/>
                  <a:pt x="210458" y="79829"/>
                  <a:pt x="283029" y="195943"/>
                </a:cubicBezTo>
                <a:cubicBezTo>
                  <a:pt x="355601" y="312057"/>
                  <a:pt x="388258" y="584200"/>
                  <a:pt x="435429" y="696686"/>
                </a:cubicBezTo>
                <a:cubicBezTo>
                  <a:pt x="482600" y="809172"/>
                  <a:pt x="524328" y="840014"/>
                  <a:pt x="566057" y="870857"/>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6" name="Freeform: Shape 35">
            <a:extLst>
              <a:ext uri="{FF2B5EF4-FFF2-40B4-BE49-F238E27FC236}">
                <a16:creationId xmlns:a16="http://schemas.microsoft.com/office/drawing/2014/main" id="{251E0955-EA7D-48A5-BEED-C58266C19C05}"/>
              </a:ext>
            </a:extLst>
          </p:cNvPr>
          <p:cNvSpPr/>
          <p:nvPr/>
        </p:nvSpPr>
        <p:spPr>
          <a:xfrm>
            <a:off x="1002583" y="3440004"/>
            <a:ext cx="500743" cy="191554"/>
          </a:xfrm>
          <a:custGeom>
            <a:avLst/>
            <a:gdLst>
              <a:gd name="connsiteX0" fmla="*/ 0 w 500743"/>
              <a:gd name="connsiteY0" fmla="*/ 318483 h 318483"/>
              <a:gd name="connsiteX1" fmla="*/ 283028 w 500743"/>
              <a:gd name="connsiteY1" fmla="*/ 35455 h 318483"/>
              <a:gd name="connsiteX2" fmla="*/ 500743 w 500743"/>
              <a:gd name="connsiteY2" fmla="*/ 13683 h 318483"/>
            </a:gdLst>
            <a:ahLst/>
            <a:cxnLst>
              <a:cxn ang="0">
                <a:pos x="connsiteX0" y="connsiteY0"/>
              </a:cxn>
              <a:cxn ang="0">
                <a:pos x="connsiteX1" y="connsiteY1"/>
              </a:cxn>
              <a:cxn ang="0">
                <a:pos x="connsiteX2" y="connsiteY2"/>
              </a:cxn>
            </a:cxnLst>
            <a:rect l="l" t="t" r="r" b="b"/>
            <a:pathLst>
              <a:path w="500743" h="318483">
                <a:moveTo>
                  <a:pt x="0" y="318483"/>
                </a:moveTo>
                <a:cubicBezTo>
                  <a:pt x="99785" y="202369"/>
                  <a:pt x="199571" y="86255"/>
                  <a:pt x="283028" y="35455"/>
                </a:cubicBezTo>
                <a:cubicBezTo>
                  <a:pt x="366485" y="-15345"/>
                  <a:pt x="433614" y="-831"/>
                  <a:pt x="500743" y="13683"/>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7" name="Freeform: Shape 36">
            <a:extLst>
              <a:ext uri="{FF2B5EF4-FFF2-40B4-BE49-F238E27FC236}">
                <a16:creationId xmlns:a16="http://schemas.microsoft.com/office/drawing/2014/main" id="{EA89251B-D7DD-4283-8148-F42A64FBA97B}"/>
              </a:ext>
            </a:extLst>
          </p:cNvPr>
          <p:cNvSpPr/>
          <p:nvPr/>
        </p:nvSpPr>
        <p:spPr>
          <a:xfrm>
            <a:off x="991697" y="2934884"/>
            <a:ext cx="406658" cy="696673"/>
          </a:xfrm>
          <a:custGeom>
            <a:avLst/>
            <a:gdLst>
              <a:gd name="connsiteX0" fmla="*/ 0 w 381000"/>
              <a:gd name="connsiteY0" fmla="*/ 827314 h 827314"/>
              <a:gd name="connsiteX1" fmla="*/ 293914 w 381000"/>
              <a:gd name="connsiteY1" fmla="*/ 326571 h 827314"/>
              <a:gd name="connsiteX2" fmla="*/ 381000 w 381000"/>
              <a:gd name="connsiteY2" fmla="*/ 0 h 827314"/>
            </a:gdLst>
            <a:ahLst/>
            <a:cxnLst>
              <a:cxn ang="0">
                <a:pos x="connsiteX0" y="connsiteY0"/>
              </a:cxn>
              <a:cxn ang="0">
                <a:pos x="connsiteX1" y="connsiteY1"/>
              </a:cxn>
              <a:cxn ang="0">
                <a:pos x="connsiteX2" y="connsiteY2"/>
              </a:cxn>
            </a:cxnLst>
            <a:rect l="l" t="t" r="r" b="b"/>
            <a:pathLst>
              <a:path w="381000" h="827314">
                <a:moveTo>
                  <a:pt x="0" y="827314"/>
                </a:moveTo>
                <a:cubicBezTo>
                  <a:pt x="115207" y="645885"/>
                  <a:pt x="230414" y="464457"/>
                  <a:pt x="293914" y="326571"/>
                </a:cubicBezTo>
                <a:cubicBezTo>
                  <a:pt x="357414" y="188685"/>
                  <a:pt x="369207" y="94342"/>
                  <a:pt x="381000" y="0"/>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38" name="Group 37">
            <a:extLst>
              <a:ext uri="{FF2B5EF4-FFF2-40B4-BE49-F238E27FC236}">
                <a16:creationId xmlns:a16="http://schemas.microsoft.com/office/drawing/2014/main" id="{60474718-24CB-45B0-A308-190ECEC79282}"/>
              </a:ext>
            </a:extLst>
          </p:cNvPr>
          <p:cNvGrpSpPr>
            <a:grpSpLocks noChangeAspect="1"/>
          </p:cNvGrpSpPr>
          <p:nvPr/>
        </p:nvGrpSpPr>
        <p:grpSpPr>
          <a:xfrm>
            <a:off x="378982" y="3382492"/>
            <a:ext cx="596972" cy="572979"/>
            <a:chOff x="879510" y="2849109"/>
            <a:chExt cx="1879449" cy="1803914"/>
          </a:xfrm>
        </p:grpSpPr>
        <p:sp>
          <p:nvSpPr>
            <p:cNvPr id="54" name="Freeform 24">
              <a:extLst>
                <a:ext uri="{FF2B5EF4-FFF2-40B4-BE49-F238E27FC236}">
                  <a16:creationId xmlns:a16="http://schemas.microsoft.com/office/drawing/2014/main" id="{A90B90C0-E4DD-4B14-8E9F-AEEA92ECBA9B}"/>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6">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55" name="Group 54">
              <a:extLst>
                <a:ext uri="{FF2B5EF4-FFF2-40B4-BE49-F238E27FC236}">
                  <a16:creationId xmlns:a16="http://schemas.microsoft.com/office/drawing/2014/main" id="{B3AB873C-EE00-4729-BA2A-96945F90DF3E}"/>
                </a:ext>
              </a:extLst>
            </p:cNvPr>
            <p:cNvGrpSpPr/>
            <p:nvPr/>
          </p:nvGrpSpPr>
          <p:grpSpPr>
            <a:xfrm>
              <a:off x="1261322" y="3570504"/>
              <a:ext cx="1115825" cy="1082519"/>
              <a:chOff x="1261322" y="3570504"/>
              <a:chExt cx="1115825" cy="1082519"/>
            </a:xfrm>
          </p:grpSpPr>
          <p:sp>
            <p:nvSpPr>
              <p:cNvPr id="56" name="Rectangle: Rounded Corners 27">
                <a:extLst>
                  <a:ext uri="{FF2B5EF4-FFF2-40B4-BE49-F238E27FC236}">
                    <a16:creationId xmlns:a16="http://schemas.microsoft.com/office/drawing/2014/main" id="{5C5F1899-41CC-41D1-A0C6-6F498FC743B4}"/>
                  </a:ext>
                </a:extLst>
              </p:cNvPr>
              <p:cNvSpPr/>
              <p:nvPr/>
            </p:nvSpPr>
            <p:spPr>
              <a:xfrm>
                <a:off x="1261322" y="3570504"/>
                <a:ext cx="1115825" cy="1082519"/>
              </a:xfrm>
              <a:prstGeom prst="roundRect">
                <a:avLst>
                  <a:gd name="adj" fmla="val 5597"/>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7" name="Freeform: Shape 28">
                <a:extLst>
                  <a:ext uri="{FF2B5EF4-FFF2-40B4-BE49-F238E27FC236}">
                    <a16:creationId xmlns:a16="http://schemas.microsoft.com/office/drawing/2014/main" id="{82E11D2A-0B73-4405-9E20-8DAC2B827AEB}"/>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8" name="Freeform: Shape 29">
                <a:extLst>
                  <a:ext uri="{FF2B5EF4-FFF2-40B4-BE49-F238E27FC236}">
                    <a16:creationId xmlns:a16="http://schemas.microsoft.com/office/drawing/2014/main" id="{61180FDC-3903-46AB-A086-947E5FB0CCA2}"/>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6">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39" name="Group 38">
            <a:extLst>
              <a:ext uri="{FF2B5EF4-FFF2-40B4-BE49-F238E27FC236}">
                <a16:creationId xmlns:a16="http://schemas.microsoft.com/office/drawing/2014/main" id="{17CE0FFD-1752-4B05-901C-20D5529D0A5E}"/>
              </a:ext>
            </a:extLst>
          </p:cNvPr>
          <p:cNvGrpSpPr/>
          <p:nvPr/>
        </p:nvGrpSpPr>
        <p:grpSpPr>
          <a:xfrm>
            <a:off x="1552030" y="3602625"/>
            <a:ext cx="803098" cy="914400"/>
            <a:chOff x="1156464" y="4353768"/>
            <a:chExt cx="803098" cy="914400"/>
          </a:xfrm>
        </p:grpSpPr>
        <p:grpSp>
          <p:nvGrpSpPr>
            <p:cNvPr id="50" name="Group 49">
              <a:extLst>
                <a:ext uri="{FF2B5EF4-FFF2-40B4-BE49-F238E27FC236}">
                  <a16:creationId xmlns:a16="http://schemas.microsoft.com/office/drawing/2014/main" id="{4B116100-290C-43D2-9E01-4243294AF8A3}"/>
                </a:ext>
              </a:extLst>
            </p:cNvPr>
            <p:cNvGrpSpPr/>
            <p:nvPr/>
          </p:nvGrpSpPr>
          <p:grpSpPr>
            <a:xfrm>
              <a:off x="1274137" y="4353768"/>
              <a:ext cx="564412" cy="560867"/>
              <a:chOff x="2744787" y="87313"/>
              <a:chExt cx="6702426" cy="6683376"/>
            </a:xfrm>
            <a:solidFill>
              <a:schemeClr val="accent5"/>
            </a:solidFill>
          </p:grpSpPr>
          <p:sp>
            <p:nvSpPr>
              <p:cNvPr id="52" name="Oval 12">
                <a:extLst>
                  <a:ext uri="{FF2B5EF4-FFF2-40B4-BE49-F238E27FC236}">
                    <a16:creationId xmlns:a16="http://schemas.microsoft.com/office/drawing/2014/main" id="{43B39BD4-63A2-4C49-B8FA-0C3CDDE84235}"/>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3" name="Freeform: Shape 52">
                <a:extLst>
                  <a:ext uri="{FF2B5EF4-FFF2-40B4-BE49-F238E27FC236}">
                    <a16:creationId xmlns:a16="http://schemas.microsoft.com/office/drawing/2014/main" id="{E2D7C528-2C37-4E55-806B-8A24B9F3EE49}"/>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51" name="Freeform: Shape 23">
              <a:extLst>
                <a:ext uri="{FF2B5EF4-FFF2-40B4-BE49-F238E27FC236}">
                  <a16:creationId xmlns:a16="http://schemas.microsoft.com/office/drawing/2014/main" id="{2F323CE5-FC01-41B3-99A8-18467EE37E8B}"/>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0" name="Group 39">
            <a:extLst>
              <a:ext uri="{FF2B5EF4-FFF2-40B4-BE49-F238E27FC236}">
                <a16:creationId xmlns:a16="http://schemas.microsoft.com/office/drawing/2014/main" id="{BF07C61E-A529-4864-8BD6-DBB7AFB06086}"/>
              </a:ext>
            </a:extLst>
          </p:cNvPr>
          <p:cNvGrpSpPr/>
          <p:nvPr/>
        </p:nvGrpSpPr>
        <p:grpSpPr>
          <a:xfrm>
            <a:off x="1492157" y="2979445"/>
            <a:ext cx="421933" cy="480410"/>
            <a:chOff x="1156464" y="4353768"/>
            <a:chExt cx="803098" cy="914400"/>
          </a:xfrm>
        </p:grpSpPr>
        <p:grpSp>
          <p:nvGrpSpPr>
            <p:cNvPr id="46" name="Group 45">
              <a:extLst>
                <a:ext uri="{FF2B5EF4-FFF2-40B4-BE49-F238E27FC236}">
                  <a16:creationId xmlns:a16="http://schemas.microsoft.com/office/drawing/2014/main" id="{BAAB3904-001E-4FAA-9F72-8D0E6870E700}"/>
                </a:ext>
              </a:extLst>
            </p:cNvPr>
            <p:cNvGrpSpPr/>
            <p:nvPr/>
          </p:nvGrpSpPr>
          <p:grpSpPr>
            <a:xfrm>
              <a:off x="1274137" y="4353768"/>
              <a:ext cx="564412" cy="560867"/>
              <a:chOff x="2744787" y="87313"/>
              <a:chExt cx="6702426" cy="6683376"/>
            </a:xfrm>
            <a:solidFill>
              <a:schemeClr val="accent5"/>
            </a:solidFill>
          </p:grpSpPr>
          <p:sp>
            <p:nvSpPr>
              <p:cNvPr id="48" name="Oval 12">
                <a:extLst>
                  <a:ext uri="{FF2B5EF4-FFF2-40B4-BE49-F238E27FC236}">
                    <a16:creationId xmlns:a16="http://schemas.microsoft.com/office/drawing/2014/main" id="{3E2BEBAF-D105-41B2-BDC6-DC867D5CE344}"/>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9" name="Freeform: Shape 48">
                <a:extLst>
                  <a:ext uri="{FF2B5EF4-FFF2-40B4-BE49-F238E27FC236}">
                    <a16:creationId xmlns:a16="http://schemas.microsoft.com/office/drawing/2014/main" id="{56D13952-27E5-49A3-B4AC-3E4990748048}"/>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7" name="Freeform: Shape 23">
              <a:extLst>
                <a:ext uri="{FF2B5EF4-FFF2-40B4-BE49-F238E27FC236}">
                  <a16:creationId xmlns:a16="http://schemas.microsoft.com/office/drawing/2014/main" id="{61B2D724-65C2-40FC-AD94-5D0BDDBFAC80}"/>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1" name="Group 40">
            <a:extLst>
              <a:ext uri="{FF2B5EF4-FFF2-40B4-BE49-F238E27FC236}">
                <a16:creationId xmlns:a16="http://schemas.microsoft.com/office/drawing/2014/main" id="{3336140F-CE97-4003-9C0C-BC34C109D674}"/>
              </a:ext>
            </a:extLst>
          </p:cNvPr>
          <p:cNvGrpSpPr/>
          <p:nvPr/>
        </p:nvGrpSpPr>
        <p:grpSpPr>
          <a:xfrm>
            <a:off x="1381488" y="2559216"/>
            <a:ext cx="329942" cy="375669"/>
            <a:chOff x="1156464" y="4353768"/>
            <a:chExt cx="803098" cy="914400"/>
          </a:xfrm>
        </p:grpSpPr>
        <p:grpSp>
          <p:nvGrpSpPr>
            <p:cNvPr id="42" name="Group 41">
              <a:extLst>
                <a:ext uri="{FF2B5EF4-FFF2-40B4-BE49-F238E27FC236}">
                  <a16:creationId xmlns:a16="http://schemas.microsoft.com/office/drawing/2014/main" id="{6625E704-B515-4FCB-8711-80BEE8DEC9B1}"/>
                </a:ext>
              </a:extLst>
            </p:cNvPr>
            <p:cNvGrpSpPr/>
            <p:nvPr/>
          </p:nvGrpSpPr>
          <p:grpSpPr>
            <a:xfrm>
              <a:off x="1274137" y="4353768"/>
              <a:ext cx="564412" cy="560867"/>
              <a:chOff x="2744787" y="87313"/>
              <a:chExt cx="6702426" cy="6683376"/>
            </a:xfrm>
            <a:solidFill>
              <a:schemeClr val="accent5"/>
            </a:solidFill>
          </p:grpSpPr>
          <p:sp>
            <p:nvSpPr>
              <p:cNvPr id="44" name="Oval 12">
                <a:extLst>
                  <a:ext uri="{FF2B5EF4-FFF2-40B4-BE49-F238E27FC236}">
                    <a16:creationId xmlns:a16="http://schemas.microsoft.com/office/drawing/2014/main" id="{A24FCFBB-174D-453B-99DC-EDD9D2A96FBE}"/>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5" name="Freeform: Shape 44">
                <a:extLst>
                  <a:ext uri="{FF2B5EF4-FFF2-40B4-BE49-F238E27FC236}">
                    <a16:creationId xmlns:a16="http://schemas.microsoft.com/office/drawing/2014/main" id="{713C7FD4-2FA0-4687-B30E-A6EBB5053F5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3" name="Freeform: Shape 23">
              <a:extLst>
                <a:ext uri="{FF2B5EF4-FFF2-40B4-BE49-F238E27FC236}">
                  <a16:creationId xmlns:a16="http://schemas.microsoft.com/office/drawing/2014/main" id="{71FFCE8D-1407-4E5B-A0C1-B639164770ED}"/>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115" name="Group 114">
            <a:extLst>
              <a:ext uri="{FF2B5EF4-FFF2-40B4-BE49-F238E27FC236}">
                <a16:creationId xmlns:a16="http://schemas.microsoft.com/office/drawing/2014/main" id="{92E6E4FF-FFE7-4C60-A5DA-778C600CA40A}"/>
              </a:ext>
            </a:extLst>
          </p:cNvPr>
          <p:cNvGrpSpPr>
            <a:grpSpLocks noChangeAspect="1"/>
          </p:cNvGrpSpPr>
          <p:nvPr/>
        </p:nvGrpSpPr>
        <p:grpSpPr>
          <a:xfrm>
            <a:off x="6907955" y="2902964"/>
            <a:ext cx="564662" cy="541969"/>
            <a:chOff x="879510" y="2849109"/>
            <a:chExt cx="1879449" cy="1803914"/>
          </a:xfrm>
        </p:grpSpPr>
        <p:sp>
          <p:nvSpPr>
            <p:cNvPr id="178" name="Freeform 24">
              <a:extLst>
                <a:ext uri="{FF2B5EF4-FFF2-40B4-BE49-F238E27FC236}">
                  <a16:creationId xmlns:a16="http://schemas.microsoft.com/office/drawing/2014/main" id="{2A2BA087-DA74-43D7-B0B0-C790058B4849}"/>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2">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79" name="Group 178">
              <a:extLst>
                <a:ext uri="{FF2B5EF4-FFF2-40B4-BE49-F238E27FC236}">
                  <a16:creationId xmlns:a16="http://schemas.microsoft.com/office/drawing/2014/main" id="{21132285-C0A1-49C5-AB9C-B754DABAFC59}"/>
                </a:ext>
              </a:extLst>
            </p:cNvPr>
            <p:cNvGrpSpPr/>
            <p:nvPr/>
          </p:nvGrpSpPr>
          <p:grpSpPr>
            <a:xfrm>
              <a:off x="1261322" y="3570504"/>
              <a:ext cx="1115825" cy="1082519"/>
              <a:chOff x="1261322" y="3570504"/>
              <a:chExt cx="1115825" cy="1082519"/>
            </a:xfrm>
          </p:grpSpPr>
          <p:sp>
            <p:nvSpPr>
              <p:cNvPr id="180" name="Rectangle: Rounded Corners 34">
                <a:extLst>
                  <a:ext uri="{FF2B5EF4-FFF2-40B4-BE49-F238E27FC236}">
                    <a16:creationId xmlns:a16="http://schemas.microsoft.com/office/drawing/2014/main" id="{109AB968-A8B8-41AA-BD5C-3E1976244919}"/>
                  </a:ext>
                </a:extLst>
              </p:cNvPr>
              <p:cNvSpPr/>
              <p:nvPr/>
            </p:nvSpPr>
            <p:spPr>
              <a:xfrm>
                <a:off x="1261322" y="3570504"/>
                <a:ext cx="1115825" cy="1082519"/>
              </a:xfrm>
              <a:prstGeom prst="roundRect">
                <a:avLst>
                  <a:gd name="adj" fmla="val 559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81" name="Freeform: Shape 36">
                <a:extLst>
                  <a:ext uri="{FF2B5EF4-FFF2-40B4-BE49-F238E27FC236}">
                    <a16:creationId xmlns:a16="http://schemas.microsoft.com/office/drawing/2014/main" id="{1D0281DC-3E7E-4734-8F50-D7022435297E}"/>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82" name="Freeform: Shape 37">
                <a:extLst>
                  <a:ext uri="{FF2B5EF4-FFF2-40B4-BE49-F238E27FC236}">
                    <a16:creationId xmlns:a16="http://schemas.microsoft.com/office/drawing/2014/main" id="{C0AEE76D-D939-4E42-8B90-A4F5AA908FCA}"/>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2">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116" name="Group 115">
            <a:extLst>
              <a:ext uri="{FF2B5EF4-FFF2-40B4-BE49-F238E27FC236}">
                <a16:creationId xmlns:a16="http://schemas.microsoft.com/office/drawing/2014/main" id="{FECB562B-901D-410F-AE00-846C1A5EDE01}"/>
              </a:ext>
            </a:extLst>
          </p:cNvPr>
          <p:cNvGrpSpPr/>
          <p:nvPr/>
        </p:nvGrpSpPr>
        <p:grpSpPr>
          <a:xfrm>
            <a:off x="7824543" y="3301463"/>
            <a:ext cx="588051" cy="1001109"/>
            <a:chOff x="1263988" y="2256055"/>
            <a:chExt cx="588051" cy="1001109"/>
          </a:xfrm>
        </p:grpSpPr>
        <p:grpSp>
          <p:nvGrpSpPr>
            <p:cNvPr id="171" name="Group 170">
              <a:extLst>
                <a:ext uri="{FF2B5EF4-FFF2-40B4-BE49-F238E27FC236}">
                  <a16:creationId xmlns:a16="http://schemas.microsoft.com/office/drawing/2014/main" id="{9B6A0CCC-6C98-489B-B902-847C676356E2}"/>
                </a:ext>
              </a:extLst>
            </p:cNvPr>
            <p:cNvGrpSpPr/>
            <p:nvPr/>
          </p:nvGrpSpPr>
          <p:grpSpPr>
            <a:xfrm>
              <a:off x="1279490" y="2256055"/>
              <a:ext cx="564752" cy="561286"/>
              <a:chOff x="4054863" y="1116013"/>
              <a:chExt cx="4654550" cy="4625975"/>
            </a:xfrm>
          </p:grpSpPr>
          <p:sp>
            <p:nvSpPr>
              <p:cNvPr id="175" name="Oval 5">
                <a:extLst>
                  <a:ext uri="{FF2B5EF4-FFF2-40B4-BE49-F238E27FC236}">
                    <a16:creationId xmlns:a16="http://schemas.microsoft.com/office/drawing/2014/main" id="{319A3252-CEA4-40B3-A6DA-ED4A5F9416C6}"/>
                  </a:ext>
                </a:extLst>
              </p:cNvPr>
              <p:cNvSpPr>
                <a:spLocks noChangeArrowheads="1"/>
              </p:cNvSpPr>
              <p:nvPr/>
            </p:nvSpPr>
            <p:spPr bwMode="auto">
              <a:xfrm>
                <a:off x="4869253" y="1925641"/>
                <a:ext cx="3013071" cy="2995618"/>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6" name="Freeform 6">
                <a:extLst>
                  <a:ext uri="{FF2B5EF4-FFF2-40B4-BE49-F238E27FC236}">
                    <a16:creationId xmlns:a16="http://schemas.microsoft.com/office/drawing/2014/main" id="{D1B7E0FE-00DB-4F71-B44A-23CB42E22AE3}"/>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7" name="Oval 7">
                <a:extLst>
                  <a:ext uri="{FF2B5EF4-FFF2-40B4-BE49-F238E27FC236}">
                    <a16:creationId xmlns:a16="http://schemas.microsoft.com/office/drawing/2014/main" id="{3ACA33AB-ADCF-4D64-929F-E2F3462AEB07}"/>
                  </a:ext>
                </a:extLst>
              </p:cNvPr>
              <p:cNvSpPr>
                <a:spLocks noChangeArrowheads="1"/>
              </p:cNvSpPr>
              <p:nvPr/>
            </p:nvSpPr>
            <p:spPr bwMode="auto">
              <a:xfrm>
                <a:off x="5642366" y="2667002"/>
                <a:ext cx="1466852" cy="1511298"/>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72" name="Group 171">
              <a:extLst>
                <a:ext uri="{FF2B5EF4-FFF2-40B4-BE49-F238E27FC236}">
                  <a16:creationId xmlns:a16="http://schemas.microsoft.com/office/drawing/2014/main" id="{FAD8E66D-39C9-4B65-8487-C443DCD17EB7}"/>
                </a:ext>
              </a:extLst>
            </p:cNvPr>
            <p:cNvGrpSpPr/>
            <p:nvPr/>
          </p:nvGrpSpPr>
          <p:grpSpPr>
            <a:xfrm>
              <a:off x="1263988" y="2552114"/>
              <a:ext cx="588051" cy="705050"/>
              <a:chOff x="1268187" y="3395208"/>
              <a:chExt cx="1097423" cy="1315771"/>
            </a:xfrm>
          </p:grpSpPr>
          <p:sp>
            <p:nvSpPr>
              <p:cNvPr id="173" name="Rectangle 172">
                <a:extLst>
                  <a:ext uri="{FF2B5EF4-FFF2-40B4-BE49-F238E27FC236}">
                    <a16:creationId xmlns:a16="http://schemas.microsoft.com/office/drawing/2014/main" id="{9DA1DB65-7838-4C9B-BBD2-1571C551B77F}"/>
                  </a:ext>
                </a:extLst>
              </p:cNvPr>
              <p:cNvSpPr>
                <a:spLocks noChangeArrowheads="1"/>
              </p:cNvSpPr>
              <p:nvPr/>
            </p:nvSpPr>
            <p:spPr bwMode="auto">
              <a:xfrm>
                <a:off x="1337459" y="3740760"/>
                <a:ext cx="958878" cy="143812"/>
              </a:xfrm>
              <a:prstGeom prst="rect">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74" name="Freeform 10">
                <a:extLst>
                  <a:ext uri="{FF2B5EF4-FFF2-40B4-BE49-F238E27FC236}">
                    <a16:creationId xmlns:a16="http://schemas.microsoft.com/office/drawing/2014/main" id="{5260CFFB-F34E-4F76-838E-B10C5D2D966E}"/>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sp>
        <p:nvSpPr>
          <p:cNvPr id="117" name="TextBox 116">
            <a:extLst>
              <a:ext uri="{FF2B5EF4-FFF2-40B4-BE49-F238E27FC236}">
                <a16:creationId xmlns:a16="http://schemas.microsoft.com/office/drawing/2014/main" id="{01402684-5065-4E9C-ABF8-A03B7BE970FD}"/>
              </a:ext>
            </a:extLst>
          </p:cNvPr>
          <p:cNvSpPr txBox="1"/>
          <p:nvPr/>
        </p:nvSpPr>
        <p:spPr>
          <a:xfrm>
            <a:off x="6875204" y="4527161"/>
            <a:ext cx="2688058"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n-cs"/>
              </a:rPr>
              <a:t>Dynamic switching between broadcast and unicast, e.g., SC-PTM</a:t>
            </a:r>
            <a:r>
              <a:rPr kumimoji="0" lang="en-US" sz="1200" b="0" i="0" u="none" strike="noStrike" kern="1200" cap="none" spc="0" normalizeH="0" baseline="30000" noProof="0">
                <a:ln>
                  <a:noFill/>
                </a:ln>
                <a:solidFill>
                  <a:srgbClr val="2853DC"/>
                </a:solidFill>
                <a:effectLst/>
                <a:uLnTx/>
                <a:uFillTx/>
                <a:latin typeface="Microsoft Sans Serif"/>
                <a:ea typeface="+mn-ea"/>
                <a:cs typeface="+mn-cs"/>
              </a:rPr>
              <a:t>1</a:t>
            </a:r>
            <a:endParaRPr kumimoji="0" lang="en-US" sz="1200" b="0" i="0" u="none" strike="noStrike" kern="1200" cap="none" spc="0" normalizeH="0" baseline="0" noProof="0">
              <a:ln>
                <a:noFill/>
              </a:ln>
              <a:solidFill>
                <a:srgbClr val="2853DC"/>
              </a:solidFill>
              <a:effectLst/>
              <a:uLnTx/>
              <a:uFillTx/>
              <a:latin typeface="Microsoft Sans Serif"/>
              <a:ea typeface="+mn-ea"/>
              <a:cs typeface="+mn-cs"/>
            </a:endParaRPr>
          </a:p>
        </p:txBody>
      </p:sp>
      <p:sp>
        <p:nvSpPr>
          <p:cNvPr id="118" name="Freeform: Shape 117">
            <a:extLst>
              <a:ext uri="{FF2B5EF4-FFF2-40B4-BE49-F238E27FC236}">
                <a16:creationId xmlns:a16="http://schemas.microsoft.com/office/drawing/2014/main" id="{E5FAC529-BBAB-4793-914F-2968725E27BC}"/>
              </a:ext>
            </a:extLst>
          </p:cNvPr>
          <p:cNvSpPr/>
          <p:nvPr/>
        </p:nvSpPr>
        <p:spPr>
          <a:xfrm>
            <a:off x="7354871" y="3357957"/>
            <a:ext cx="732918" cy="902201"/>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341553 w 566057"/>
              <a:gd name="connsiteY2" fmla="*/ 754182 h 870857"/>
              <a:gd name="connsiteX3" fmla="*/ 566057 w 566057"/>
              <a:gd name="connsiteY3" fmla="*/ 870857 h 870857"/>
              <a:gd name="connsiteX0" fmla="*/ 0 w 574591"/>
              <a:gd name="connsiteY0" fmla="*/ 0 h 795566"/>
              <a:gd name="connsiteX1" fmla="*/ 206221 w 574591"/>
              <a:gd name="connsiteY1" fmla="*/ 291769 h 795566"/>
              <a:gd name="connsiteX2" fmla="*/ 341553 w 574591"/>
              <a:gd name="connsiteY2" fmla="*/ 754182 h 795566"/>
              <a:gd name="connsiteX3" fmla="*/ 574591 w 574591"/>
              <a:gd name="connsiteY3" fmla="*/ 794196 h 795566"/>
              <a:gd name="connsiteX0" fmla="*/ 0 w 574591"/>
              <a:gd name="connsiteY0" fmla="*/ 0 h 794196"/>
              <a:gd name="connsiteX1" fmla="*/ 206221 w 574591"/>
              <a:gd name="connsiteY1" fmla="*/ 291769 h 794196"/>
              <a:gd name="connsiteX2" fmla="*/ 367155 w 574591"/>
              <a:gd name="connsiteY2" fmla="*/ 696686 h 794196"/>
              <a:gd name="connsiteX3" fmla="*/ 574591 w 574591"/>
              <a:gd name="connsiteY3" fmla="*/ 794196 h 794196"/>
            </a:gdLst>
            <a:ahLst/>
            <a:cxnLst>
              <a:cxn ang="0">
                <a:pos x="connsiteX0" y="connsiteY0"/>
              </a:cxn>
              <a:cxn ang="0">
                <a:pos x="connsiteX1" y="connsiteY1"/>
              </a:cxn>
              <a:cxn ang="0">
                <a:pos x="connsiteX2" y="connsiteY2"/>
              </a:cxn>
              <a:cxn ang="0">
                <a:pos x="connsiteX3" y="connsiteY3"/>
              </a:cxn>
            </a:cxnLst>
            <a:rect l="l" t="t" r="r" b="b"/>
            <a:pathLst>
              <a:path w="574591" h="794196">
                <a:moveTo>
                  <a:pt x="0" y="0"/>
                </a:moveTo>
                <a:cubicBezTo>
                  <a:pt x="105229" y="39914"/>
                  <a:pt x="145029" y="175655"/>
                  <a:pt x="206221" y="291769"/>
                </a:cubicBezTo>
                <a:cubicBezTo>
                  <a:pt x="267413" y="407883"/>
                  <a:pt x="305760" y="612948"/>
                  <a:pt x="367155" y="696686"/>
                </a:cubicBezTo>
                <a:cubicBezTo>
                  <a:pt x="428550" y="780424"/>
                  <a:pt x="532862" y="763353"/>
                  <a:pt x="574591" y="7941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156" name="Group 155">
            <a:extLst>
              <a:ext uri="{FF2B5EF4-FFF2-40B4-BE49-F238E27FC236}">
                <a16:creationId xmlns:a16="http://schemas.microsoft.com/office/drawing/2014/main" id="{F47147DB-9745-4224-A23B-B2F2E34D15DA}"/>
              </a:ext>
            </a:extLst>
          </p:cNvPr>
          <p:cNvGrpSpPr/>
          <p:nvPr/>
        </p:nvGrpSpPr>
        <p:grpSpPr>
          <a:xfrm>
            <a:off x="9506396" y="3028391"/>
            <a:ext cx="412626" cy="255643"/>
            <a:chOff x="16516350" y="0"/>
            <a:chExt cx="11074400" cy="6861175"/>
          </a:xfrm>
        </p:grpSpPr>
        <p:sp>
          <p:nvSpPr>
            <p:cNvPr id="167" name="Freeform 5">
              <a:extLst>
                <a:ext uri="{FF2B5EF4-FFF2-40B4-BE49-F238E27FC236}">
                  <a16:creationId xmlns:a16="http://schemas.microsoft.com/office/drawing/2014/main" id="{B98C4994-2E0C-49C1-B5E2-B49CD6536AFB}"/>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8" name="Freeform 6">
              <a:extLst>
                <a:ext uri="{FF2B5EF4-FFF2-40B4-BE49-F238E27FC236}">
                  <a16:creationId xmlns:a16="http://schemas.microsoft.com/office/drawing/2014/main" id="{F5D21956-3F7F-4738-A5E6-AD72EB52F431}"/>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9" name="Freeform 7">
              <a:extLst>
                <a:ext uri="{FF2B5EF4-FFF2-40B4-BE49-F238E27FC236}">
                  <a16:creationId xmlns:a16="http://schemas.microsoft.com/office/drawing/2014/main" id="{31647AB4-9A60-427E-81AD-737B15EA14FE}"/>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0" name="Freeform 8">
              <a:extLst>
                <a:ext uri="{FF2B5EF4-FFF2-40B4-BE49-F238E27FC236}">
                  <a16:creationId xmlns:a16="http://schemas.microsoft.com/office/drawing/2014/main" id="{8D8CEC23-37A4-4F71-9879-FCE399F5BC8D}"/>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7" name="Group 156">
            <a:extLst>
              <a:ext uri="{FF2B5EF4-FFF2-40B4-BE49-F238E27FC236}">
                <a16:creationId xmlns:a16="http://schemas.microsoft.com/office/drawing/2014/main" id="{0CE8F4D9-A069-4947-A6D6-8D59E8CB50B4}"/>
              </a:ext>
            </a:extLst>
          </p:cNvPr>
          <p:cNvGrpSpPr/>
          <p:nvPr/>
        </p:nvGrpSpPr>
        <p:grpSpPr>
          <a:xfrm>
            <a:off x="9260450" y="3361342"/>
            <a:ext cx="412626" cy="255643"/>
            <a:chOff x="16516350" y="0"/>
            <a:chExt cx="11074400" cy="6861175"/>
          </a:xfrm>
        </p:grpSpPr>
        <p:sp>
          <p:nvSpPr>
            <p:cNvPr id="163" name="Freeform 5">
              <a:extLst>
                <a:ext uri="{FF2B5EF4-FFF2-40B4-BE49-F238E27FC236}">
                  <a16:creationId xmlns:a16="http://schemas.microsoft.com/office/drawing/2014/main" id="{86AB15AC-7EED-4014-9CC4-11984FAEBC6D}"/>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4" name="Freeform 6">
              <a:extLst>
                <a:ext uri="{FF2B5EF4-FFF2-40B4-BE49-F238E27FC236}">
                  <a16:creationId xmlns:a16="http://schemas.microsoft.com/office/drawing/2014/main" id="{C1F19F74-19F7-4D6B-B7AB-052AA05F826A}"/>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5" name="Freeform 7">
              <a:extLst>
                <a:ext uri="{FF2B5EF4-FFF2-40B4-BE49-F238E27FC236}">
                  <a16:creationId xmlns:a16="http://schemas.microsoft.com/office/drawing/2014/main" id="{89691CEA-FE15-4BB3-8793-1D7D5EFE76B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6" name="Freeform 8">
              <a:extLst>
                <a:ext uri="{FF2B5EF4-FFF2-40B4-BE49-F238E27FC236}">
                  <a16:creationId xmlns:a16="http://schemas.microsoft.com/office/drawing/2014/main" id="{68274EA2-750F-42A3-A0FC-1AF9ECB1F796}"/>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8" name="Group 157">
            <a:extLst>
              <a:ext uri="{FF2B5EF4-FFF2-40B4-BE49-F238E27FC236}">
                <a16:creationId xmlns:a16="http://schemas.microsoft.com/office/drawing/2014/main" id="{44359AED-31FB-4D26-BB9E-7EEF236E0094}"/>
              </a:ext>
            </a:extLst>
          </p:cNvPr>
          <p:cNvGrpSpPr/>
          <p:nvPr/>
        </p:nvGrpSpPr>
        <p:grpSpPr>
          <a:xfrm>
            <a:off x="9752342" y="3361342"/>
            <a:ext cx="412626" cy="255643"/>
            <a:chOff x="16516350" y="0"/>
            <a:chExt cx="11074400" cy="6861175"/>
          </a:xfrm>
        </p:grpSpPr>
        <p:sp>
          <p:nvSpPr>
            <p:cNvPr id="159" name="Freeform 5">
              <a:extLst>
                <a:ext uri="{FF2B5EF4-FFF2-40B4-BE49-F238E27FC236}">
                  <a16:creationId xmlns:a16="http://schemas.microsoft.com/office/drawing/2014/main" id="{B41088C2-D738-4E3F-B4F2-A06CE9776BA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0" name="Freeform 6">
              <a:extLst>
                <a:ext uri="{FF2B5EF4-FFF2-40B4-BE49-F238E27FC236}">
                  <a16:creationId xmlns:a16="http://schemas.microsoft.com/office/drawing/2014/main" id="{4C22C56D-AC4D-4905-BE55-3ADB8DCA3F2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1" name="Freeform 7">
              <a:extLst>
                <a:ext uri="{FF2B5EF4-FFF2-40B4-BE49-F238E27FC236}">
                  <a16:creationId xmlns:a16="http://schemas.microsoft.com/office/drawing/2014/main" id="{6C848E5A-145A-4ED1-AD64-24ACCFD8AB5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2" name="Freeform 8">
              <a:extLst>
                <a:ext uri="{FF2B5EF4-FFF2-40B4-BE49-F238E27FC236}">
                  <a16:creationId xmlns:a16="http://schemas.microsoft.com/office/drawing/2014/main" id="{A1A6D6D7-F627-40CC-879B-EDD9BDC005B9}"/>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21" name="Group 120">
            <a:extLst>
              <a:ext uri="{FF2B5EF4-FFF2-40B4-BE49-F238E27FC236}">
                <a16:creationId xmlns:a16="http://schemas.microsoft.com/office/drawing/2014/main" id="{77A3DA02-481B-4C58-8194-921DEFEF63B5}"/>
              </a:ext>
            </a:extLst>
          </p:cNvPr>
          <p:cNvGrpSpPr>
            <a:grpSpLocks noChangeAspect="1"/>
          </p:cNvGrpSpPr>
          <p:nvPr/>
        </p:nvGrpSpPr>
        <p:grpSpPr>
          <a:xfrm>
            <a:off x="9837063" y="4152976"/>
            <a:ext cx="246841" cy="457574"/>
            <a:chOff x="5434013" y="2201863"/>
            <a:chExt cx="1323975" cy="2454275"/>
          </a:xfrm>
        </p:grpSpPr>
        <p:sp>
          <p:nvSpPr>
            <p:cNvPr id="154" name="Freeform 5">
              <a:extLst>
                <a:ext uri="{FF2B5EF4-FFF2-40B4-BE49-F238E27FC236}">
                  <a16:creationId xmlns:a16="http://schemas.microsoft.com/office/drawing/2014/main" id="{9D5740F3-9699-4493-B0E9-1D730F43510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5" name="Freeform: Shape 15">
              <a:extLst>
                <a:ext uri="{FF2B5EF4-FFF2-40B4-BE49-F238E27FC236}">
                  <a16:creationId xmlns:a16="http://schemas.microsoft.com/office/drawing/2014/main" id="{BF77DC51-14F1-4061-A477-5F2D6D7EDE85}"/>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2" name="Group 121">
            <a:extLst>
              <a:ext uri="{FF2B5EF4-FFF2-40B4-BE49-F238E27FC236}">
                <a16:creationId xmlns:a16="http://schemas.microsoft.com/office/drawing/2014/main" id="{CB58FBD1-F72F-4289-BC80-E5B4C7888D55}"/>
              </a:ext>
            </a:extLst>
          </p:cNvPr>
          <p:cNvGrpSpPr>
            <a:grpSpLocks noChangeAspect="1"/>
          </p:cNvGrpSpPr>
          <p:nvPr/>
        </p:nvGrpSpPr>
        <p:grpSpPr>
          <a:xfrm>
            <a:off x="10124616" y="4152976"/>
            <a:ext cx="246841" cy="457574"/>
            <a:chOff x="5434013" y="2201863"/>
            <a:chExt cx="1323975" cy="2454275"/>
          </a:xfrm>
        </p:grpSpPr>
        <p:sp>
          <p:nvSpPr>
            <p:cNvPr id="152" name="Freeform 5">
              <a:extLst>
                <a:ext uri="{FF2B5EF4-FFF2-40B4-BE49-F238E27FC236}">
                  <a16:creationId xmlns:a16="http://schemas.microsoft.com/office/drawing/2014/main" id="{D9399F81-18A6-45F1-B643-B301F75A87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3" name="Freeform: Shape 15">
              <a:extLst>
                <a:ext uri="{FF2B5EF4-FFF2-40B4-BE49-F238E27FC236}">
                  <a16:creationId xmlns:a16="http://schemas.microsoft.com/office/drawing/2014/main" id="{0B1283DE-93B4-40EA-A8E0-9A306B0008F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3" name="Group 122">
            <a:extLst>
              <a:ext uri="{FF2B5EF4-FFF2-40B4-BE49-F238E27FC236}">
                <a16:creationId xmlns:a16="http://schemas.microsoft.com/office/drawing/2014/main" id="{3BBF93F1-592C-4E3C-9795-05CB8630870B}"/>
              </a:ext>
            </a:extLst>
          </p:cNvPr>
          <p:cNvGrpSpPr>
            <a:grpSpLocks noChangeAspect="1"/>
          </p:cNvGrpSpPr>
          <p:nvPr/>
        </p:nvGrpSpPr>
        <p:grpSpPr>
          <a:xfrm>
            <a:off x="10412170" y="4152976"/>
            <a:ext cx="246841" cy="457574"/>
            <a:chOff x="5434013" y="2201863"/>
            <a:chExt cx="1323975" cy="2454275"/>
          </a:xfrm>
        </p:grpSpPr>
        <p:sp>
          <p:nvSpPr>
            <p:cNvPr id="150" name="Freeform 5">
              <a:extLst>
                <a:ext uri="{FF2B5EF4-FFF2-40B4-BE49-F238E27FC236}">
                  <a16:creationId xmlns:a16="http://schemas.microsoft.com/office/drawing/2014/main" id="{EF94FE5C-FAB1-4097-8B05-AF7BBFA2DDB3}"/>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1" name="Freeform: Shape 15">
              <a:extLst>
                <a:ext uri="{FF2B5EF4-FFF2-40B4-BE49-F238E27FC236}">
                  <a16:creationId xmlns:a16="http://schemas.microsoft.com/office/drawing/2014/main" id="{BFFBD468-2438-48BA-B958-15347A09BDD2}"/>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sp>
        <p:nvSpPr>
          <p:cNvPr id="124" name="Freeform 19">
            <a:extLst>
              <a:ext uri="{FF2B5EF4-FFF2-40B4-BE49-F238E27FC236}">
                <a16:creationId xmlns:a16="http://schemas.microsoft.com/office/drawing/2014/main" id="{1E10ECCD-240E-46EA-BF09-6F4ABD98DBE9}"/>
              </a:ext>
            </a:extLst>
          </p:cNvPr>
          <p:cNvSpPr>
            <a:spLocks/>
          </p:cNvSpPr>
          <p:nvPr/>
        </p:nvSpPr>
        <p:spPr bwMode="auto">
          <a:xfrm>
            <a:off x="9579742" y="3733091"/>
            <a:ext cx="265935" cy="394001"/>
          </a:xfrm>
          <a:custGeom>
            <a:avLst/>
            <a:gdLst>
              <a:gd name="T0" fmla="*/ 1681 w 1913"/>
              <a:gd name="T1" fmla="*/ 2831 h 2832"/>
              <a:gd name="T2" fmla="*/ 1543 w 1913"/>
              <a:gd name="T3" fmla="*/ 2774 h 2832"/>
              <a:gd name="T4" fmla="*/ 31 w 1913"/>
              <a:gd name="T5" fmla="*/ 287 h 2832"/>
              <a:gd name="T6" fmla="*/ 173 w 1913"/>
              <a:gd name="T7" fmla="*/ 31 h 2832"/>
              <a:gd name="T8" fmla="*/ 428 w 1913"/>
              <a:gd name="T9" fmla="*/ 173 h 2832"/>
              <a:gd name="T10" fmla="*/ 1827 w 1913"/>
              <a:gd name="T11" fmla="*/ 2475 h 2832"/>
              <a:gd name="T12" fmla="*/ 1835 w 1913"/>
              <a:gd name="T13" fmla="*/ 2767 h 2832"/>
              <a:gd name="T14" fmla="*/ 1681 w 1913"/>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3" h="2832">
                <a:moveTo>
                  <a:pt x="1681" y="2831"/>
                </a:moveTo>
                <a:cubicBezTo>
                  <a:pt x="1631" y="2830"/>
                  <a:pt x="1582" y="2811"/>
                  <a:pt x="1543" y="2774"/>
                </a:cubicBezTo>
                <a:cubicBezTo>
                  <a:pt x="825" y="2093"/>
                  <a:pt x="302" y="1233"/>
                  <a:pt x="31" y="287"/>
                </a:cubicBezTo>
                <a:cubicBezTo>
                  <a:pt x="0" y="177"/>
                  <a:pt x="63" y="63"/>
                  <a:pt x="173" y="31"/>
                </a:cubicBezTo>
                <a:cubicBezTo>
                  <a:pt x="283" y="0"/>
                  <a:pt x="397" y="63"/>
                  <a:pt x="428" y="173"/>
                </a:cubicBezTo>
                <a:cubicBezTo>
                  <a:pt x="679" y="1048"/>
                  <a:pt x="1162" y="1844"/>
                  <a:pt x="1827" y="2475"/>
                </a:cubicBezTo>
                <a:cubicBezTo>
                  <a:pt x="1910" y="2553"/>
                  <a:pt x="1913" y="2684"/>
                  <a:pt x="1835" y="2767"/>
                </a:cubicBezTo>
                <a:cubicBezTo>
                  <a:pt x="1793" y="2811"/>
                  <a:pt x="1737" y="2832"/>
                  <a:pt x="1681"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5" name="Freeform 20">
            <a:extLst>
              <a:ext uri="{FF2B5EF4-FFF2-40B4-BE49-F238E27FC236}">
                <a16:creationId xmlns:a16="http://schemas.microsoft.com/office/drawing/2014/main" id="{081D3F2A-6696-4E6E-ABA5-7822021C004B}"/>
              </a:ext>
            </a:extLst>
          </p:cNvPr>
          <p:cNvSpPr>
            <a:spLocks/>
          </p:cNvSpPr>
          <p:nvPr/>
        </p:nvSpPr>
        <p:spPr bwMode="auto">
          <a:xfrm>
            <a:off x="10664828" y="3733091"/>
            <a:ext cx="265935" cy="394001"/>
          </a:xfrm>
          <a:custGeom>
            <a:avLst/>
            <a:gdLst>
              <a:gd name="T0" fmla="*/ 233 w 1914"/>
              <a:gd name="T1" fmla="*/ 2831 h 2832"/>
              <a:gd name="T2" fmla="*/ 371 w 1914"/>
              <a:gd name="T3" fmla="*/ 2774 h 2832"/>
              <a:gd name="T4" fmla="*/ 1882 w 1914"/>
              <a:gd name="T5" fmla="*/ 287 h 2832"/>
              <a:gd name="T6" fmla="*/ 1741 w 1914"/>
              <a:gd name="T7" fmla="*/ 31 h 2832"/>
              <a:gd name="T8" fmla="*/ 1486 w 1914"/>
              <a:gd name="T9" fmla="*/ 173 h 2832"/>
              <a:gd name="T10" fmla="*/ 87 w 1914"/>
              <a:gd name="T11" fmla="*/ 2475 h 2832"/>
              <a:gd name="T12" fmla="*/ 79 w 1914"/>
              <a:gd name="T13" fmla="*/ 2767 h 2832"/>
              <a:gd name="T14" fmla="*/ 233 w 1914"/>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4" h="2832">
                <a:moveTo>
                  <a:pt x="233" y="2831"/>
                </a:moveTo>
                <a:cubicBezTo>
                  <a:pt x="283" y="2830"/>
                  <a:pt x="332" y="2811"/>
                  <a:pt x="371" y="2774"/>
                </a:cubicBezTo>
                <a:cubicBezTo>
                  <a:pt x="1089" y="2093"/>
                  <a:pt x="1612" y="1233"/>
                  <a:pt x="1882" y="287"/>
                </a:cubicBezTo>
                <a:cubicBezTo>
                  <a:pt x="1914" y="177"/>
                  <a:pt x="1850" y="63"/>
                  <a:pt x="1741" y="31"/>
                </a:cubicBezTo>
                <a:cubicBezTo>
                  <a:pt x="1631" y="0"/>
                  <a:pt x="1517" y="63"/>
                  <a:pt x="1486" y="173"/>
                </a:cubicBezTo>
                <a:cubicBezTo>
                  <a:pt x="1235" y="1048"/>
                  <a:pt x="751" y="1844"/>
                  <a:pt x="87" y="2475"/>
                </a:cubicBezTo>
                <a:cubicBezTo>
                  <a:pt x="4" y="2553"/>
                  <a:pt x="0" y="2684"/>
                  <a:pt x="79" y="2767"/>
                </a:cubicBezTo>
                <a:cubicBezTo>
                  <a:pt x="121" y="2811"/>
                  <a:pt x="177" y="2832"/>
                  <a:pt x="233"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6" name="Freeform 21">
            <a:extLst>
              <a:ext uri="{FF2B5EF4-FFF2-40B4-BE49-F238E27FC236}">
                <a16:creationId xmlns:a16="http://schemas.microsoft.com/office/drawing/2014/main" id="{3BFC802B-8089-4E85-B6E8-93BA5FC06438}"/>
              </a:ext>
            </a:extLst>
          </p:cNvPr>
          <p:cNvSpPr>
            <a:spLocks/>
          </p:cNvSpPr>
          <p:nvPr/>
        </p:nvSpPr>
        <p:spPr bwMode="auto">
          <a:xfrm>
            <a:off x="10026814" y="2937593"/>
            <a:ext cx="451687" cy="95760"/>
          </a:xfrm>
          <a:custGeom>
            <a:avLst/>
            <a:gdLst>
              <a:gd name="T0" fmla="*/ 3206 w 3247"/>
              <a:gd name="T1" fmla="*/ 348 h 689"/>
              <a:gd name="T2" fmla="*/ 3086 w 3247"/>
              <a:gd name="T3" fmla="*/ 260 h 689"/>
              <a:gd name="T4" fmla="*/ 175 w 3247"/>
              <a:gd name="T5" fmla="*/ 260 h 689"/>
              <a:gd name="T6" fmla="*/ 30 w 3247"/>
              <a:gd name="T7" fmla="*/ 514 h 689"/>
              <a:gd name="T8" fmla="*/ 284 w 3247"/>
              <a:gd name="T9" fmla="*/ 658 h 689"/>
              <a:gd name="T10" fmla="*/ 2978 w 3247"/>
              <a:gd name="T11" fmla="*/ 658 h 689"/>
              <a:gd name="T12" fmla="*/ 3231 w 3247"/>
              <a:gd name="T13" fmla="*/ 513 h 689"/>
              <a:gd name="T14" fmla="*/ 3206 w 3247"/>
              <a:gd name="T15" fmla="*/ 348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7" h="689">
                <a:moveTo>
                  <a:pt x="3206" y="348"/>
                </a:moveTo>
                <a:cubicBezTo>
                  <a:pt x="3179" y="306"/>
                  <a:pt x="3138" y="274"/>
                  <a:pt x="3086" y="260"/>
                </a:cubicBezTo>
                <a:cubicBezTo>
                  <a:pt x="2131" y="0"/>
                  <a:pt x="1124" y="0"/>
                  <a:pt x="175" y="260"/>
                </a:cubicBezTo>
                <a:cubicBezTo>
                  <a:pt x="65" y="290"/>
                  <a:pt x="0" y="404"/>
                  <a:pt x="30" y="514"/>
                </a:cubicBezTo>
                <a:cubicBezTo>
                  <a:pt x="60" y="624"/>
                  <a:pt x="174" y="689"/>
                  <a:pt x="284" y="658"/>
                </a:cubicBezTo>
                <a:cubicBezTo>
                  <a:pt x="1162" y="418"/>
                  <a:pt x="2094" y="418"/>
                  <a:pt x="2978" y="658"/>
                </a:cubicBezTo>
                <a:cubicBezTo>
                  <a:pt x="3088" y="688"/>
                  <a:pt x="3201" y="624"/>
                  <a:pt x="3231" y="513"/>
                </a:cubicBezTo>
                <a:cubicBezTo>
                  <a:pt x="3247" y="455"/>
                  <a:pt x="3236" y="396"/>
                  <a:pt x="3206" y="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7" name="Freeform 4">
            <a:extLst>
              <a:ext uri="{FF2B5EF4-FFF2-40B4-BE49-F238E27FC236}">
                <a16:creationId xmlns:a16="http://schemas.microsoft.com/office/drawing/2014/main" id="{9785602C-11C4-496D-BF37-EA0BA22510E4}"/>
              </a:ext>
            </a:extLst>
          </p:cNvPr>
          <p:cNvSpPr>
            <a:spLocks noChangeAspect="1"/>
          </p:cNvSpPr>
          <p:nvPr/>
        </p:nvSpPr>
        <p:spPr bwMode="auto">
          <a:xfrm>
            <a:off x="9869694"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8" name="Freeform 4">
            <a:extLst>
              <a:ext uri="{FF2B5EF4-FFF2-40B4-BE49-F238E27FC236}">
                <a16:creationId xmlns:a16="http://schemas.microsoft.com/office/drawing/2014/main" id="{797D4545-A77C-468C-B8A3-67DF300CB155}"/>
              </a:ext>
            </a:extLst>
          </p:cNvPr>
          <p:cNvSpPr>
            <a:spLocks noChangeAspect="1"/>
          </p:cNvSpPr>
          <p:nvPr/>
        </p:nvSpPr>
        <p:spPr bwMode="auto">
          <a:xfrm>
            <a:off x="10155967"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9" name="Freeform 4">
            <a:extLst>
              <a:ext uri="{FF2B5EF4-FFF2-40B4-BE49-F238E27FC236}">
                <a16:creationId xmlns:a16="http://schemas.microsoft.com/office/drawing/2014/main" id="{10894FDE-FAAB-4615-AFC3-C95782CC335F}"/>
              </a:ext>
            </a:extLst>
          </p:cNvPr>
          <p:cNvSpPr>
            <a:spLocks noChangeAspect="1"/>
          </p:cNvSpPr>
          <p:nvPr/>
        </p:nvSpPr>
        <p:spPr bwMode="auto">
          <a:xfrm>
            <a:off x="10449496"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0" name="Group 129">
            <a:extLst>
              <a:ext uri="{FF2B5EF4-FFF2-40B4-BE49-F238E27FC236}">
                <a16:creationId xmlns:a16="http://schemas.microsoft.com/office/drawing/2014/main" id="{65B12708-0640-48E4-B11E-7D2E4FAA6E08}"/>
              </a:ext>
            </a:extLst>
          </p:cNvPr>
          <p:cNvGrpSpPr/>
          <p:nvPr/>
        </p:nvGrpSpPr>
        <p:grpSpPr>
          <a:xfrm>
            <a:off x="10983002" y="2894675"/>
            <a:ext cx="249989" cy="354658"/>
            <a:chOff x="6911903" y="1228430"/>
            <a:chExt cx="618756" cy="877824"/>
          </a:xfrm>
        </p:grpSpPr>
        <p:sp>
          <p:nvSpPr>
            <p:cNvPr id="146" name="Freeform 25">
              <a:extLst>
                <a:ext uri="{FF2B5EF4-FFF2-40B4-BE49-F238E27FC236}">
                  <a16:creationId xmlns:a16="http://schemas.microsoft.com/office/drawing/2014/main" id="{CF98DB8C-FE7D-43C5-9AE4-294A6776F41D}"/>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7" name="Oval 26">
              <a:extLst>
                <a:ext uri="{FF2B5EF4-FFF2-40B4-BE49-F238E27FC236}">
                  <a16:creationId xmlns:a16="http://schemas.microsoft.com/office/drawing/2014/main" id="{42878C5F-944B-45FB-A68C-277CB0F1FB49}"/>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8" name="Oval 27">
              <a:extLst>
                <a:ext uri="{FF2B5EF4-FFF2-40B4-BE49-F238E27FC236}">
                  <a16:creationId xmlns:a16="http://schemas.microsoft.com/office/drawing/2014/main" id="{C5FA190C-69E2-46B2-8849-91B9A6E9B1E2}"/>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9" name="Freeform 28">
              <a:extLst>
                <a:ext uri="{FF2B5EF4-FFF2-40B4-BE49-F238E27FC236}">
                  <a16:creationId xmlns:a16="http://schemas.microsoft.com/office/drawing/2014/main" id="{C65D7A29-EDE9-480B-B971-DE23D36251EB}"/>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31" name="Group 130">
            <a:extLst>
              <a:ext uri="{FF2B5EF4-FFF2-40B4-BE49-F238E27FC236}">
                <a16:creationId xmlns:a16="http://schemas.microsoft.com/office/drawing/2014/main" id="{B1C69A4D-153E-4E85-982C-C0E4E2DA646D}"/>
              </a:ext>
            </a:extLst>
          </p:cNvPr>
          <p:cNvGrpSpPr>
            <a:grpSpLocks noChangeAspect="1"/>
          </p:cNvGrpSpPr>
          <p:nvPr/>
        </p:nvGrpSpPr>
        <p:grpSpPr>
          <a:xfrm>
            <a:off x="10557210" y="2884746"/>
            <a:ext cx="373553" cy="370949"/>
            <a:chOff x="6415005" y="3149663"/>
            <a:chExt cx="2535582" cy="2517209"/>
          </a:xfrm>
        </p:grpSpPr>
        <p:sp>
          <p:nvSpPr>
            <p:cNvPr id="141" name="Oval 8">
              <a:extLst>
                <a:ext uri="{FF2B5EF4-FFF2-40B4-BE49-F238E27FC236}">
                  <a16:creationId xmlns:a16="http://schemas.microsoft.com/office/drawing/2014/main" id="{378C1A18-C5FE-44DB-801A-C50538A054B3}"/>
                </a:ext>
              </a:extLst>
            </p:cNvPr>
            <p:cNvSpPr>
              <a:spLocks noChangeArrowheads="1"/>
            </p:cNvSpPr>
            <p:nvPr/>
          </p:nvSpPr>
          <p:spPr bwMode="auto">
            <a:xfrm>
              <a:off x="6415005" y="3149663"/>
              <a:ext cx="2535582" cy="2517209"/>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2" name="Freeform: Shape 20">
              <a:extLst>
                <a:ext uri="{FF2B5EF4-FFF2-40B4-BE49-F238E27FC236}">
                  <a16:creationId xmlns:a16="http://schemas.microsoft.com/office/drawing/2014/main" id="{95078F98-0FAB-49BB-A1DE-E12EDCF30D81}"/>
                </a:ext>
              </a:extLst>
            </p:cNvPr>
            <p:cNvSpPr>
              <a:spLocks/>
            </p:cNvSpPr>
            <p:nvPr/>
          </p:nvSpPr>
          <p:spPr bwMode="auto">
            <a:xfrm>
              <a:off x="6653865" y="3385180"/>
              <a:ext cx="2058992" cy="2046172"/>
            </a:xfrm>
            <a:custGeom>
              <a:avLst/>
              <a:gdLst>
                <a:gd name="connsiteX0" fmla="*/ 26024 w 2058992"/>
                <a:gd name="connsiteY0" fmla="*/ 1189285 h 2046172"/>
                <a:gd name="connsiteX1" fmla="*/ 1891146 w 2058992"/>
                <a:gd name="connsiteY1" fmla="*/ 1189285 h 2046172"/>
                <a:gd name="connsiteX2" fmla="*/ 1897510 w 2058992"/>
                <a:gd name="connsiteY2" fmla="*/ 1195624 h 2046172"/>
                <a:gd name="connsiteX3" fmla="*/ 1897510 w 2058992"/>
                <a:gd name="connsiteY3" fmla="*/ 1197353 h 2046172"/>
                <a:gd name="connsiteX4" fmla="*/ 1892303 w 2058992"/>
                <a:gd name="connsiteY4" fmla="*/ 1204268 h 2046172"/>
                <a:gd name="connsiteX5" fmla="*/ 1038998 w 2058992"/>
                <a:gd name="connsiteY5" fmla="*/ 2039833 h 2046172"/>
                <a:gd name="connsiteX6" fmla="*/ 1032635 w 2058992"/>
                <a:gd name="connsiteY6" fmla="*/ 2046172 h 2046172"/>
                <a:gd name="connsiteX7" fmla="*/ 16189 w 2058992"/>
                <a:gd name="connsiteY7" fmla="*/ 1201387 h 2046172"/>
                <a:gd name="connsiteX8" fmla="*/ 26024 w 2058992"/>
                <a:gd name="connsiteY8" fmla="*/ 1189285 h 2046172"/>
                <a:gd name="connsiteX9" fmla="*/ 1032948 w 2058992"/>
                <a:gd name="connsiteY9" fmla="*/ 0 h 2046172"/>
                <a:gd name="connsiteX10" fmla="*/ 2058956 w 2058992"/>
                <a:gd name="connsiteY10" fmla="*/ 996747 h 2046172"/>
                <a:gd name="connsiteX11" fmla="*/ 2045653 w 2058992"/>
                <a:gd name="connsiteY11" fmla="*/ 1010559 h 2046172"/>
                <a:gd name="connsiteX12" fmla="*/ 13881 w 2058992"/>
                <a:gd name="connsiteY12" fmla="*/ 1010559 h 2046172"/>
                <a:gd name="connsiteX13" fmla="*/ 0 w 2058992"/>
                <a:gd name="connsiteY13" fmla="*/ 996747 h 2046172"/>
                <a:gd name="connsiteX14" fmla="*/ 1032948 w 2058992"/>
                <a:gd name="connsiteY14" fmla="*/ 0 h 204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8992" h="2046172">
                  <a:moveTo>
                    <a:pt x="26024" y="1189285"/>
                  </a:moveTo>
                  <a:cubicBezTo>
                    <a:pt x="26024" y="1189285"/>
                    <a:pt x="26024" y="1189285"/>
                    <a:pt x="1891146" y="1189285"/>
                  </a:cubicBezTo>
                  <a:cubicBezTo>
                    <a:pt x="1894617" y="1189285"/>
                    <a:pt x="1897510" y="1192167"/>
                    <a:pt x="1897510" y="1195624"/>
                  </a:cubicBezTo>
                  <a:cubicBezTo>
                    <a:pt x="1897510" y="1195624"/>
                    <a:pt x="1897510" y="1195624"/>
                    <a:pt x="1897510" y="1197353"/>
                  </a:cubicBezTo>
                  <a:cubicBezTo>
                    <a:pt x="1897510" y="1200810"/>
                    <a:pt x="1895196" y="1203692"/>
                    <a:pt x="1892303" y="1204268"/>
                  </a:cubicBezTo>
                  <a:cubicBezTo>
                    <a:pt x="1414453" y="1279757"/>
                    <a:pt x="1051726" y="1623779"/>
                    <a:pt x="1038998" y="2039833"/>
                  </a:cubicBezTo>
                  <a:cubicBezTo>
                    <a:pt x="1038998" y="2043867"/>
                    <a:pt x="1036106" y="2046172"/>
                    <a:pt x="1032635" y="2046172"/>
                  </a:cubicBezTo>
                  <a:cubicBezTo>
                    <a:pt x="524123" y="2046172"/>
                    <a:pt x="100652" y="1680828"/>
                    <a:pt x="16189" y="1201387"/>
                  </a:cubicBezTo>
                  <a:cubicBezTo>
                    <a:pt x="15032" y="1195048"/>
                    <a:pt x="20239" y="1189285"/>
                    <a:pt x="26024" y="1189285"/>
                  </a:cubicBezTo>
                  <a:close/>
                  <a:moveTo>
                    <a:pt x="1032948" y="0"/>
                  </a:moveTo>
                  <a:cubicBezTo>
                    <a:pt x="1590486" y="0"/>
                    <a:pt x="2045653" y="444853"/>
                    <a:pt x="2058956" y="996747"/>
                  </a:cubicBezTo>
                  <a:cubicBezTo>
                    <a:pt x="2059534" y="1004229"/>
                    <a:pt x="2053172" y="1010559"/>
                    <a:pt x="2045653" y="1010559"/>
                  </a:cubicBezTo>
                  <a:lnTo>
                    <a:pt x="13881" y="1010559"/>
                  </a:lnTo>
                  <a:cubicBezTo>
                    <a:pt x="6362" y="1010559"/>
                    <a:pt x="0" y="1004229"/>
                    <a:pt x="0" y="996747"/>
                  </a:cubicBezTo>
                  <a:cubicBezTo>
                    <a:pt x="13881" y="444853"/>
                    <a:pt x="473097" y="0"/>
                    <a:pt x="1032948"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3" name="Freeform 11">
              <a:extLst>
                <a:ext uri="{FF2B5EF4-FFF2-40B4-BE49-F238E27FC236}">
                  <a16:creationId xmlns:a16="http://schemas.microsoft.com/office/drawing/2014/main" id="{AA14BC31-B3C3-49C7-84C2-857D933A0B43}"/>
                </a:ext>
              </a:extLst>
            </p:cNvPr>
            <p:cNvSpPr>
              <a:spLocks/>
            </p:cNvSpPr>
            <p:nvPr/>
          </p:nvSpPr>
          <p:spPr bwMode="auto">
            <a:xfrm>
              <a:off x="6996285" y="3809449"/>
              <a:ext cx="1373023" cy="444311"/>
            </a:xfrm>
            <a:custGeom>
              <a:avLst/>
              <a:gdLst>
                <a:gd name="T0" fmla="*/ 2223 w 2375"/>
                <a:gd name="T1" fmla="*/ 0 h 771"/>
                <a:gd name="T2" fmla="*/ 152 w 2375"/>
                <a:gd name="T3" fmla="*/ 0 h 771"/>
                <a:gd name="T4" fmla="*/ 0 w 2375"/>
                <a:gd name="T5" fmla="*/ 152 h 771"/>
                <a:gd name="T6" fmla="*/ 0 w 2375"/>
                <a:gd name="T7" fmla="*/ 622 h 771"/>
                <a:gd name="T8" fmla="*/ 152 w 2375"/>
                <a:gd name="T9" fmla="*/ 771 h 771"/>
                <a:gd name="T10" fmla="*/ 2223 w 2375"/>
                <a:gd name="T11" fmla="*/ 771 h 771"/>
                <a:gd name="T12" fmla="*/ 2375 w 2375"/>
                <a:gd name="T13" fmla="*/ 622 h 771"/>
                <a:gd name="T14" fmla="*/ 2375 w 2375"/>
                <a:gd name="T15" fmla="*/ 152 h 771"/>
                <a:gd name="T16" fmla="*/ 2223 w 2375"/>
                <a:gd name="T17"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5" h="771">
                  <a:moveTo>
                    <a:pt x="2223" y="0"/>
                  </a:moveTo>
                  <a:cubicBezTo>
                    <a:pt x="152" y="0"/>
                    <a:pt x="152" y="0"/>
                    <a:pt x="152" y="0"/>
                  </a:cubicBezTo>
                  <a:cubicBezTo>
                    <a:pt x="69" y="0"/>
                    <a:pt x="0" y="65"/>
                    <a:pt x="0" y="152"/>
                  </a:cubicBezTo>
                  <a:cubicBezTo>
                    <a:pt x="0" y="622"/>
                    <a:pt x="0" y="622"/>
                    <a:pt x="0" y="622"/>
                  </a:cubicBezTo>
                  <a:cubicBezTo>
                    <a:pt x="0" y="706"/>
                    <a:pt x="69" y="771"/>
                    <a:pt x="152" y="771"/>
                  </a:cubicBezTo>
                  <a:cubicBezTo>
                    <a:pt x="2223" y="771"/>
                    <a:pt x="2223" y="771"/>
                    <a:pt x="2223" y="771"/>
                  </a:cubicBezTo>
                  <a:cubicBezTo>
                    <a:pt x="2306" y="771"/>
                    <a:pt x="2375" y="706"/>
                    <a:pt x="2375" y="622"/>
                  </a:cubicBezTo>
                  <a:cubicBezTo>
                    <a:pt x="2375" y="152"/>
                    <a:pt x="2375" y="152"/>
                    <a:pt x="2375" y="152"/>
                  </a:cubicBezTo>
                  <a:cubicBezTo>
                    <a:pt x="2375" y="65"/>
                    <a:pt x="2306" y="0"/>
                    <a:pt x="2223" y="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4" name="Freeform 13">
              <a:extLst>
                <a:ext uri="{FF2B5EF4-FFF2-40B4-BE49-F238E27FC236}">
                  <a16:creationId xmlns:a16="http://schemas.microsoft.com/office/drawing/2014/main" id="{AD9F5997-8C02-451B-B0FD-F9366211D744}"/>
                </a:ext>
              </a:extLst>
            </p:cNvPr>
            <p:cNvSpPr>
              <a:spLocks/>
            </p:cNvSpPr>
            <p:nvPr/>
          </p:nvSpPr>
          <p:spPr bwMode="auto">
            <a:xfrm>
              <a:off x="8095371" y="4786600"/>
              <a:ext cx="415916" cy="611346"/>
            </a:xfrm>
            <a:custGeom>
              <a:avLst/>
              <a:gdLst>
                <a:gd name="T0" fmla="*/ 15 w 722"/>
                <a:gd name="T1" fmla="*/ 1050 h 1062"/>
                <a:gd name="T2" fmla="*/ 288 w 722"/>
                <a:gd name="T3" fmla="*/ 602 h 1062"/>
                <a:gd name="T4" fmla="*/ 284 w 722"/>
                <a:gd name="T5" fmla="*/ 594 h 1062"/>
                <a:gd name="T6" fmla="*/ 25 w 722"/>
                <a:gd name="T7" fmla="*/ 594 h 1062"/>
                <a:gd name="T8" fmla="*/ 9 w 722"/>
                <a:gd name="T9" fmla="*/ 567 h 1062"/>
                <a:gd name="T10" fmla="*/ 345 w 722"/>
                <a:gd name="T11" fmla="*/ 20 h 1062"/>
                <a:gd name="T12" fmla="*/ 379 w 722"/>
                <a:gd name="T13" fmla="*/ 0 h 1062"/>
                <a:gd name="T14" fmla="*/ 639 w 722"/>
                <a:gd name="T15" fmla="*/ 0 h 1062"/>
                <a:gd name="T16" fmla="*/ 653 w 722"/>
                <a:gd name="T17" fmla="*/ 27 h 1062"/>
                <a:gd name="T18" fmla="*/ 393 w 722"/>
                <a:gd name="T19" fmla="*/ 388 h 1062"/>
                <a:gd name="T20" fmla="*/ 397 w 722"/>
                <a:gd name="T21" fmla="*/ 396 h 1062"/>
                <a:gd name="T22" fmla="*/ 694 w 722"/>
                <a:gd name="T23" fmla="*/ 396 h 1062"/>
                <a:gd name="T24" fmla="*/ 708 w 722"/>
                <a:gd name="T25" fmla="*/ 434 h 1062"/>
                <a:gd name="T26" fmla="*/ 24 w 722"/>
                <a:gd name="T27" fmla="*/ 1057 h 1062"/>
                <a:gd name="T28" fmla="*/ 15 w 722"/>
                <a:gd name="T29" fmla="*/ 105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2" h="1062">
                  <a:moveTo>
                    <a:pt x="15" y="1050"/>
                  </a:moveTo>
                  <a:cubicBezTo>
                    <a:pt x="288" y="602"/>
                    <a:pt x="288" y="602"/>
                    <a:pt x="288" y="602"/>
                  </a:cubicBezTo>
                  <a:cubicBezTo>
                    <a:pt x="290" y="598"/>
                    <a:pt x="288" y="594"/>
                    <a:pt x="284" y="594"/>
                  </a:cubicBezTo>
                  <a:cubicBezTo>
                    <a:pt x="25" y="594"/>
                    <a:pt x="25" y="594"/>
                    <a:pt x="25" y="594"/>
                  </a:cubicBezTo>
                  <a:cubicBezTo>
                    <a:pt x="7" y="594"/>
                    <a:pt x="0" y="581"/>
                    <a:pt x="9" y="567"/>
                  </a:cubicBezTo>
                  <a:cubicBezTo>
                    <a:pt x="345" y="20"/>
                    <a:pt x="345" y="20"/>
                    <a:pt x="345" y="20"/>
                  </a:cubicBezTo>
                  <a:cubicBezTo>
                    <a:pt x="352" y="8"/>
                    <a:pt x="365" y="0"/>
                    <a:pt x="379" y="0"/>
                  </a:cubicBezTo>
                  <a:cubicBezTo>
                    <a:pt x="639" y="0"/>
                    <a:pt x="639" y="0"/>
                    <a:pt x="639" y="0"/>
                  </a:cubicBezTo>
                  <a:cubicBezTo>
                    <a:pt x="657" y="0"/>
                    <a:pt x="662" y="13"/>
                    <a:pt x="653" y="27"/>
                  </a:cubicBezTo>
                  <a:cubicBezTo>
                    <a:pt x="393" y="388"/>
                    <a:pt x="393" y="388"/>
                    <a:pt x="393" y="388"/>
                  </a:cubicBezTo>
                  <a:cubicBezTo>
                    <a:pt x="391" y="391"/>
                    <a:pt x="393" y="396"/>
                    <a:pt x="397" y="396"/>
                  </a:cubicBezTo>
                  <a:cubicBezTo>
                    <a:pt x="694" y="396"/>
                    <a:pt x="694" y="396"/>
                    <a:pt x="694" y="396"/>
                  </a:cubicBezTo>
                  <a:cubicBezTo>
                    <a:pt x="713" y="396"/>
                    <a:pt x="722" y="421"/>
                    <a:pt x="708" y="434"/>
                  </a:cubicBezTo>
                  <a:cubicBezTo>
                    <a:pt x="24" y="1057"/>
                    <a:pt x="24" y="1057"/>
                    <a:pt x="24" y="1057"/>
                  </a:cubicBezTo>
                  <a:cubicBezTo>
                    <a:pt x="18" y="1062"/>
                    <a:pt x="11" y="1056"/>
                    <a:pt x="15" y="105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5" name="Freeform: Shape 23">
              <a:extLst>
                <a:ext uri="{FF2B5EF4-FFF2-40B4-BE49-F238E27FC236}">
                  <a16:creationId xmlns:a16="http://schemas.microsoft.com/office/drawing/2014/main" id="{FDF29980-405D-4335-A108-59A027078E17}"/>
                </a:ext>
              </a:extLst>
            </p:cNvPr>
            <p:cNvSpPr/>
            <p:nvPr/>
          </p:nvSpPr>
          <p:spPr>
            <a:xfrm>
              <a:off x="7066368" y="3889625"/>
              <a:ext cx="1264522" cy="299810"/>
            </a:xfrm>
            <a:custGeom>
              <a:avLst/>
              <a:gdLst>
                <a:gd name="connsiteX0" fmla="*/ 500029 w 1264522"/>
                <a:gd name="connsiteY0" fmla="*/ 240384 h 299810"/>
                <a:gd name="connsiteX1" fmla="*/ 520301 w 1264522"/>
                <a:gd name="connsiteY1" fmla="*/ 248740 h 299810"/>
                <a:gd name="connsiteX2" fmla="*/ 528502 w 1264522"/>
                <a:gd name="connsiteY2" fmla="*/ 268856 h 299810"/>
                <a:gd name="connsiteX3" fmla="*/ 520301 w 1264522"/>
                <a:gd name="connsiteY3" fmla="*/ 288405 h 299810"/>
                <a:gd name="connsiteX4" fmla="*/ 500029 w 1264522"/>
                <a:gd name="connsiteY4" fmla="*/ 296504 h 299810"/>
                <a:gd name="connsiteX5" fmla="*/ 480325 w 1264522"/>
                <a:gd name="connsiteY5" fmla="*/ 288405 h 299810"/>
                <a:gd name="connsiteX6" fmla="*/ 472382 w 1264522"/>
                <a:gd name="connsiteY6" fmla="*/ 268856 h 299810"/>
                <a:gd name="connsiteX7" fmla="*/ 480325 w 1264522"/>
                <a:gd name="connsiteY7" fmla="*/ 248740 h 299810"/>
                <a:gd name="connsiteX8" fmla="*/ 500029 w 1264522"/>
                <a:gd name="connsiteY8" fmla="*/ 240384 h 299810"/>
                <a:gd name="connsiteX9" fmla="*/ 1157986 w 1264522"/>
                <a:gd name="connsiteY9" fmla="*/ 33818 h 299810"/>
                <a:gd name="connsiteX10" fmla="*/ 1111657 w 1264522"/>
                <a:gd name="connsiteY10" fmla="*/ 61549 h 299810"/>
                <a:gd name="connsiteX11" fmla="*/ 1092288 w 1264522"/>
                <a:gd name="connsiteY11" fmla="*/ 150318 h 299810"/>
                <a:gd name="connsiteX12" fmla="*/ 1111657 w 1264522"/>
                <a:gd name="connsiteY12" fmla="*/ 238210 h 299810"/>
                <a:gd name="connsiteX13" fmla="*/ 1157986 w 1264522"/>
                <a:gd name="connsiteY13" fmla="*/ 265993 h 299810"/>
                <a:gd name="connsiteX14" fmla="*/ 1204314 w 1264522"/>
                <a:gd name="connsiteY14" fmla="*/ 238210 h 299810"/>
                <a:gd name="connsiteX15" fmla="*/ 1223683 w 1264522"/>
                <a:gd name="connsiteY15" fmla="*/ 150318 h 299810"/>
                <a:gd name="connsiteX16" fmla="*/ 1204314 w 1264522"/>
                <a:gd name="connsiteY16" fmla="*/ 61549 h 299810"/>
                <a:gd name="connsiteX17" fmla="*/ 1157986 w 1264522"/>
                <a:gd name="connsiteY17" fmla="*/ 33818 h 299810"/>
                <a:gd name="connsiteX18" fmla="*/ 910168 w 1264522"/>
                <a:gd name="connsiteY18" fmla="*/ 33818 h 299810"/>
                <a:gd name="connsiteX19" fmla="*/ 863839 w 1264522"/>
                <a:gd name="connsiteY19" fmla="*/ 61549 h 299810"/>
                <a:gd name="connsiteX20" fmla="*/ 844470 w 1264522"/>
                <a:gd name="connsiteY20" fmla="*/ 150318 h 299810"/>
                <a:gd name="connsiteX21" fmla="*/ 863839 w 1264522"/>
                <a:gd name="connsiteY21" fmla="*/ 238210 h 299810"/>
                <a:gd name="connsiteX22" fmla="*/ 910168 w 1264522"/>
                <a:gd name="connsiteY22" fmla="*/ 265993 h 299810"/>
                <a:gd name="connsiteX23" fmla="*/ 956496 w 1264522"/>
                <a:gd name="connsiteY23" fmla="*/ 238210 h 299810"/>
                <a:gd name="connsiteX24" fmla="*/ 975865 w 1264522"/>
                <a:gd name="connsiteY24" fmla="*/ 150318 h 299810"/>
                <a:gd name="connsiteX25" fmla="*/ 956496 w 1264522"/>
                <a:gd name="connsiteY25" fmla="*/ 61549 h 299810"/>
                <a:gd name="connsiteX26" fmla="*/ 910168 w 1264522"/>
                <a:gd name="connsiteY26" fmla="*/ 33818 h 299810"/>
                <a:gd name="connsiteX27" fmla="*/ 662350 w 1264522"/>
                <a:gd name="connsiteY27" fmla="*/ 33818 h 299810"/>
                <a:gd name="connsiteX28" fmla="*/ 616021 w 1264522"/>
                <a:gd name="connsiteY28" fmla="*/ 61549 h 299810"/>
                <a:gd name="connsiteX29" fmla="*/ 596652 w 1264522"/>
                <a:gd name="connsiteY29" fmla="*/ 150318 h 299810"/>
                <a:gd name="connsiteX30" fmla="*/ 616021 w 1264522"/>
                <a:gd name="connsiteY30" fmla="*/ 238210 h 299810"/>
                <a:gd name="connsiteX31" fmla="*/ 662350 w 1264522"/>
                <a:gd name="connsiteY31" fmla="*/ 265993 h 299810"/>
                <a:gd name="connsiteX32" fmla="*/ 708678 w 1264522"/>
                <a:gd name="connsiteY32" fmla="*/ 238210 h 299810"/>
                <a:gd name="connsiteX33" fmla="*/ 728047 w 1264522"/>
                <a:gd name="connsiteY33" fmla="*/ 150318 h 299810"/>
                <a:gd name="connsiteX34" fmla="*/ 708678 w 1264522"/>
                <a:gd name="connsiteY34" fmla="*/ 61549 h 299810"/>
                <a:gd name="connsiteX35" fmla="*/ 662350 w 1264522"/>
                <a:gd name="connsiteY35" fmla="*/ 33818 h 299810"/>
                <a:gd name="connsiteX36" fmla="*/ 345693 w 1264522"/>
                <a:gd name="connsiteY36" fmla="*/ 33818 h 299810"/>
                <a:gd name="connsiteX37" fmla="*/ 299365 w 1264522"/>
                <a:gd name="connsiteY37" fmla="*/ 61549 h 299810"/>
                <a:gd name="connsiteX38" fmla="*/ 279996 w 1264522"/>
                <a:gd name="connsiteY38" fmla="*/ 150318 h 299810"/>
                <a:gd name="connsiteX39" fmla="*/ 299365 w 1264522"/>
                <a:gd name="connsiteY39" fmla="*/ 238210 h 299810"/>
                <a:gd name="connsiteX40" fmla="*/ 345693 w 1264522"/>
                <a:gd name="connsiteY40" fmla="*/ 265993 h 299810"/>
                <a:gd name="connsiteX41" fmla="*/ 392022 w 1264522"/>
                <a:gd name="connsiteY41" fmla="*/ 238210 h 299810"/>
                <a:gd name="connsiteX42" fmla="*/ 411391 w 1264522"/>
                <a:gd name="connsiteY42" fmla="*/ 150318 h 299810"/>
                <a:gd name="connsiteX43" fmla="*/ 392022 w 1264522"/>
                <a:gd name="connsiteY43" fmla="*/ 61549 h 299810"/>
                <a:gd name="connsiteX44" fmla="*/ 345693 w 1264522"/>
                <a:gd name="connsiteY44" fmla="*/ 33818 h 299810"/>
                <a:gd name="connsiteX45" fmla="*/ 1157986 w 1264522"/>
                <a:gd name="connsiteY45" fmla="*/ 1 h 299810"/>
                <a:gd name="connsiteX46" fmla="*/ 1236819 w 1264522"/>
                <a:gd name="connsiteY46" fmla="*/ 41284 h 299810"/>
                <a:gd name="connsiteX47" fmla="*/ 1264522 w 1264522"/>
                <a:gd name="connsiteY47" fmla="*/ 149491 h 299810"/>
                <a:gd name="connsiteX48" fmla="*/ 1236819 w 1264522"/>
                <a:gd name="connsiteY48" fmla="*/ 258269 h 299810"/>
                <a:gd name="connsiteX49" fmla="*/ 1157986 w 1264522"/>
                <a:gd name="connsiteY49" fmla="*/ 299810 h 299810"/>
                <a:gd name="connsiteX50" fmla="*/ 1079152 w 1264522"/>
                <a:gd name="connsiteY50" fmla="*/ 258269 h 299810"/>
                <a:gd name="connsiteX51" fmla="*/ 1051449 w 1264522"/>
                <a:gd name="connsiteY51" fmla="*/ 149491 h 299810"/>
                <a:gd name="connsiteX52" fmla="*/ 1079152 w 1264522"/>
                <a:gd name="connsiteY52" fmla="*/ 41284 h 299810"/>
                <a:gd name="connsiteX53" fmla="*/ 1157986 w 1264522"/>
                <a:gd name="connsiteY53" fmla="*/ 1 h 299810"/>
                <a:gd name="connsiteX54" fmla="*/ 910168 w 1264522"/>
                <a:gd name="connsiteY54" fmla="*/ 1 h 299810"/>
                <a:gd name="connsiteX55" fmla="*/ 989001 w 1264522"/>
                <a:gd name="connsiteY55" fmla="*/ 41284 h 299810"/>
                <a:gd name="connsiteX56" fmla="*/ 1016704 w 1264522"/>
                <a:gd name="connsiteY56" fmla="*/ 149491 h 299810"/>
                <a:gd name="connsiteX57" fmla="*/ 989001 w 1264522"/>
                <a:gd name="connsiteY57" fmla="*/ 258269 h 299810"/>
                <a:gd name="connsiteX58" fmla="*/ 910168 w 1264522"/>
                <a:gd name="connsiteY58" fmla="*/ 299810 h 299810"/>
                <a:gd name="connsiteX59" fmla="*/ 831334 w 1264522"/>
                <a:gd name="connsiteY59" fmla="*/ 258269 h 299810"/>
                <a:gd name="connsiteX60" fmla="*/ 803631 w 1264522"/>
                <a:gd name="connsiteY60" fmla="*/ 149491 h 299810"/>
                <a:gd name="connsiteX61" fmla="*/ 831334 w 1264522"/>
                <a:gd name="connsiteY61" fmla="*/ 41284 h 299810"/>
                <a:gd name="connsiteX62" fmla="*/ 910168 w 1264522"/>
                <a:gd name="connsiteY62" fmla="*/ 1 h 299810"/>
                <a:gd name="connsiteX63" fmla="*/ 662350 w 1264522"/>
                <a:gd name="connsiteY63" fmla="*/ 1 h 299810"/>
                <a:gd name="connsiteX64" fmla="*/ 741182 w 1264522"/>
                <a:gd name="connsiteY64" fmla="*/ 41284 h 299810"/>
                <a:gd name="connsiteX65" fmla="*/ 768886 w 1264522"/>
                <a:gd name="connsiteY65" fmla="*/ 149491 h 299810"/>
                <a:gd name="connsiteX66" fmla="*/ 741182 w 1264522"/>
                <a:gd name="connsiteY66" fmla="*/ 258269 h 299810"/>
                <a:gd name="connsiteX67" fmla="*/ 662350 w 1264522"/>
                <a:gd name="connsiteY67" fmla="*/ 299810 h 299810"/>
                <a:gd name="connsiteX68" fmla="*/ 583516 w 1264522"/>
                <a:gd name="connsiteY68" fmla="*/ 258269 h 299810"/>
                <a:gd name="connsiteX69" fmla="*/ 555813 w 1264522"/>
                <a:gd name="connsiteY69" fmla="*/ 149491 h 299810"/>
                <a:gd name="connsiteX70" fmla="*/ 583516 w 1264522"/>
                <a:gd name="connsiteY70" fmla="*/ 41284 h 299810"/>
                <a:gd name="connsiteX71" fmla="*/ 662350 w 1264522"/>
                <a:gd name="connsiteY71" fmla="*/ 1 h 299810"/>
                <a:gd name="connsiteX72" fmla="*/ 345693 w 1264522"/>
                <a:gd name="connsiteY72" fmla="*/ 1 h 299810"/>
                <a:gd name="connsiteX73" fmla="*/ 424525 w 1264522"/>
                <a:gd name="connsiteY73" fmla="*/ 41284 h 299810"/>
                <a:gd name="connsiteX74" fmla="*/ 452230 w 1264522"/>
                <a:gd name="connsiteY74" fmla="*/ 149491 h 299810"/>
                <a:gd name="connsiteX75" fmla="*/ 424525 w 1264522"/>
                <a:gd name="connsiteY75" fmla="*/ 258269 h 299810"/>
                <a:gd name="connsiteX76" fmla="*/ 345693 w 1264522"/>
                <a:gd name="connsiteY76" fmla="*/ 299810 h 299810"/>
                <a:gd name="connsiteX77" fmla="*/ 266860 w 1264522"/>
                <a:gd name="connsiteY77" fmla="*/ 258269 h 299810"/>
                <a:gd name="connsiteX78" fmla="*/ 239157 w 1264522"/>
                <a:gd name="connsiteY78" fmla="*/ 149491 h 299810"/>
                <a:gd name="connsiteX79" fmla="*/ 266860 w 1264522"/>
                <a:gd name="connsiteY79" fmla="*/ 41284 h 299810"/>
                <a:gd name="connsiteX80" fmla="*/ 345693 w 1264522"/>
                <a:gd name="connsiteY80" fmla="*/ 1 h 299810"/>
                <a:gd name="connsiteX81" fmla="*/ 101756 w 1264522"/>
                <a:gd name="connsiteY81" fmla="*/ 0 h 299810"/>
                <a:gd name="connsiteX82" fmla="*/ 170603 w 1264522"/>
                <a:gd name="connsiteY82" fmla="*/ 23365 h 299810"/>
                <a:gd name="connsiteX83" fmla="*/ 197941 w 1264522"/>
                <a:gd name="connsiteY83" fmla="*/ 85458 h 299810"/>
                <a:gd name="connsiteX84" fmla="*/ 180915 w 1264522"/>
                <a:gd name="connsiteY84" fmla="*/ 138751 h 299810"/>
                <a:gd name="connsiteX85" fmla="*/ 126093 w 1264522"/>
                <a:gd name="connsiteY85" fmla="*/ 198241 h 299810"/>
                <a:gd name="connsiteX86" fmla="*/ 58787 w 1264522"/>
                <a:gd name="connsiteY86" fmla="*/ 258970 h 299810"/>
                <a:gd name="connsiteX87" fmla="*/ 196703 w 1264522"/>
                <a:gd name="connsiteY87" fmla="*/ 258970 h 299810"/>
                <a:gd name="connsiteX88" fmla="*/ 201968 w 1264522"/>
                <a:gd name="connsiteY88" fmla="*/ 261135 h 299810"/>
                <a:gd name="connsiteX89" fmla="*/ 204136 w 1264522"/>
                <a:gd name="connsiteY89" fmla="*/ 266394 h 299810"/>
                <a:gd name="connsiteX90" fmla="*/ 204136 w 1264522"/>
                <a:gd name="connsiteY90" fmla="*/ 286603 h 299810"/>
                <a:gd name="connsiteX91" fmla="*/ 201968 w 1264522"/>
                <a:gd name="connsiteY91" fmla="*/ 292069 h 299810"/>
                <a:gd name="connsiteX92" fmla="*/ 196703 w 1264522"/>
                <a:gd name="connsiteY92" fmla="*/ 294439 h 299810"/>
                <a:gd name="connsiteX93" fmla="*/ 12539 w 1264522"/>
                <a:gd name="connsiteY93" fmla="*/ 294439 h 299810"/>
                <a:gd name="connsiteX94" fmla="*/ 7068 w 1264522"/>
                <a:gd name="connsiteY94" fmla="*/ 292069 h 299810"/>
                <a:gd name="connsiteX95" fmla="*/ 4693 w 1264522"/>
                <a:gd name="connsiteY95" fmla="*/ 286603 h 299810"/>
                <a:gd name="connsiteX96" fmla="*/ 4693 w 1264522"/>
                <a:gd name="connsiteY96" fmla="*/ 269282 h 299810"/>
                <a:gd name="connsiteX97" fmla="*/ 6861 w 1264522"/>
                <a:gd name="connsiteY97" fmla="*/ 261135 h 299810"/>
                <a:gd name="connsiteX98" fmla="*/ 10888 w 1264522"/>
                <a:gd name="connsiteY98" fmla="*/ 256079 h 299810"/>
                <a:gd name="connsiteX99" fmla="*/ 96387 w 1264522"/>
                <a:gd name="connsiteY99" fmla="*/ 177998 h 299810"/>
                <a:gd name="connsiteX100" fmla="*/ 141149 w 1264522"/>
                <a:gd name="connsiteY100" fmla="*/ 131057 h 299810"/>
                <a:gd name="connsiteX101" fmla="*/ 157102 w 1264522"/>
                <a:gd name="connsiteY101" fmla="*/ 87523 h 299810"/>
                <a:gd name="connsiteX102" fmla="*/ 140633 w 1264522"/>
                <a:gd name="connsiteY102" fmla="*/ 49412 h 299810"/>
                <a:gd name="connsiteX103" fmla="*/ 100930 w 1264522"/>
                <a:gd name="connsiteY103" fmla="*/ 35469 h 299810"/>
                <a:gd name="connsiteX104" fmla="*/ 58647 w 1264522"/>
                <a:gd name="connsiteY104" fmla="*/ 52252 h 299810"/>
                <a:gd name="connsiteX105" fmla="*/ 37736 w 1264522"/>
                <a:gd name="connsiteY105" fmla="*/ 87937 h 299810"/>
                <a:gd name="connsiteX106" fmla="*/ 32883 w 1264522"/>
                <a:gd name="connsiteY106" fmla="*/ 95115 h 299810"/>
                <a:gd name="connsiteX107" fmla="*/ 24932 w 1264522"/>
                <a:gd name="connsiteY107" fmla="*/ 95785 h 299810"/>
                <a:gd name="connsiteX108" fmla="*/ 6345 w 1264522"/>
                <a:gd name="connsiteY108" fmla="*/ 91241 h 299810"/>
                <a:gd name="connsiteX109" fmla="*/ 1234 w 1264522"/>
                <a:gd name="connsiteY109" fmla="*/ 87058 h 299810"/>
                <a:gd name="connsiteX110" fmla="*/ 150 w 1264522"/>
                <a:gd name="connsiteY110" fmla="*/ 80087 h 299810"/>
                <a:gd name="connsiteX111" fmla="*/ 33606 w 1264522"/>
                <a:gd name="connsiteY111" fmla="*/ 23622 h 299810"/>
                <a:gd name="connsiteX112" fmla="*/ 101756 w 1264522"/>
                <a:gd name="connsiteY112" fmla="*/ 0 h 2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64522" h="299810">
                  <a:moveTo>
                    <a:pt x="500029" y="240384"/>
                  </a:moveTo>
                  <a:cubicBezTo>
                    <a:pt x="508256" y="240589"/>
                    <a:pt x="515013" y="243375"/>
                    <a:pt x="520301" y="248740"/>
                  </a:cubicBezTo>
                  <a:cubicBezTo>
                    <a:pt x="525588" y="254104"/>
                    <a:pt x="528321" y="260809"/>
                    <a:pt x="528502" y="268856"/>
                  </a:cubicBezTo>
                  <a:cubicBezTo>
                    <a:pt x="528321" y="276689"/>
                    <a:pt x="525588" y="283205"/>
                    <a:pt x="520301" y="288405"/>
                  </a:cubicBezTo>
                  <a:cubicBezTo>
                    <a:pt x="515013" y="293607"/>
                    <a:pt x="508256" y="296306"/>
                    <a:pt x="500029" y="296504"/>
                  </a:cubicBezTo>
                  <a:cubicBezTo>
                    <a:pt x="492017" y="296306"/>
                    <a:pt x="485449" y="293607"/>
                    <a:pt x="480325" y="288405"/>
                  </a:cubicBezTo>
                  <a:cubicBezTo>
                    <a:pt x="475202" y="283205"/>
                    <a:pt x="472554" y="276689"/>
                    <a:pt x="472382" y="268856"/>
                  </a:cubicBezTo>
                  <a:cubicBezTo>
                    <a:pt x="472554" y="260809"/>
                    <a:pt x="475202" y="254104"/>
                    <a:pt x="480325" y="248740"/>
                  </a:cubicBezTo>
                  <a:cubicBezTo>
                    <a:pt x="485449" y="243375"/>
                    <a:pt x="492017" y="240589"/>
                    <a:pt x="500029" y="240384"/>
                  </a:cubicBezTo>
                  <a:close/>
                  <a:moveTo>
                    <a:pt x="1157986" y="33818"/>
                  </a:moveTo>
                  <a:cubicBezTo>
                    <a:pt x="1139522" y="33585"/>
                    <a:pt x="1124077" y="42829"/>
                    <a:pt x="1111657" y="61549"/>
                  </a:cubicBezTo>
                  <a:cubicBezTo>
                    <a:pt x="1099235" y="80267"/>
                    <a:pt x="1092778" y="109858"/>
                    <a:pt x="1092288" y="150318"/>
                  </a:cubicBezTo>
                  <a:cubicBezTo>
                    <a:pt x="1092778" y="190202"/>
                    <a:pt x="1099235" y="219499"/>
                    <a:pt x="1111657" y="238210"/>
                  </a:cubicBezTo>
                  <a:cubicBezTo>
                    <a:pt x="1124077" y="256921"/>
                    <a:pt x="1139522" y="266182"/>
                    <a:pt x="1157986" y="265993"/>
                  </a:cubicBezTo>
                  <a:cubicBezTo>
                    <a:pt x="1176451" y="266182"/>
                    <a:pt x="1191894" y="256921"/>
                    <a:pt x="1204314" y="238210"/>
                  </a:cubicBezTo>
                  <a:cubicBezTo>
                    <a:pt x="1216736" y="219499"/>
                    <a:pt x="1223193" y="190202"/>
                    <a:pt x="1223683" y="150318"/>
                  </a:cubicBezTo>
                  <a:cubicBezTo>
                    <a:pt x="1223193" y="109858"/>
                    <a:pt x="1216736" y="80267"/>
                    <a:pt x="1204314" y="61549"/>
                  </a:cubicBezTo>
                  <a:cubicBezTo>
                    <a:pt x="1191894" y="42829"/>
                    <a:pt x="1176451" y="33585"/>
                    <a:pt x="1157986" y="33818"/>
                  </a:cubicBezTo>
                  <a:close/>
                  <a:moveTo>
                    <a:pt x="910168" y="33818"/>
                  </a:moveTo>
                  <a:cubicBezTo>
                    <a:pt x="891704" y="33585"/>
                    <a:pt x="876259" y="42829"/>
                    <a:pt x="863839" y="61549"/>
                  </a:cubicBezTo>
                  <a:cubicBezTo>
                    <a:pt x="851417" y="80267"/>
                    <a:pt x="844960" y="109858"/>
                    <a:pt x="844470" y="150318"/>
                  </a:cubicBezTo>
                  <a:cubicBezTo>
                    <a:pt x="844960" y="190202"/>
                    <a:pt x="851417" y="219499"/>
                    <a:pt x="863839" y="238210"/>
                  </a:cubicBezTo>
                  <a:cubicBezTo>
                    <a:pt x="876259" y="256921"/>
                    <a:pt x="891704" y="266182"/>
                    <a:pt x="910168" y="265993"/>
                  </a:cubicBezTo>
                  <a:cubicBezTo>
                    <a:pt x="928633" y="266182"/>
                    <a:pt x="944076" y="256921"/>
                    <a:pt x="956496" y="238210"/>
                  </a:cubicBezTo>
                  <a:cubicBezTo>
                    <a:pt x="968918" y="219499"/>
                    <a:pt x="975375" y="190202"/>
                    <a:pt x="975865" y="150318"/>
                  </a:cubicBezTo>
                  <a:cubicBezTo>
                    <a:pt x="975375" y="109858"/>
                    <a:pt x="968918" y="80267"/>
                    <a:pt x="956496" y="61549"/>
                  </a:cubicBezTo>
                  <a:cubicBezTo>
                    <a:pt x="944076" y="42829"/>
                    <a:pt x="928633" y="33585"/>
                    <a:pt x="910168" y="33818"/>
                  </a:cubicBezTo>
                  <a:close/>
                  <a:moveTo>
                    <a:pt x="662350" y="33818"/>
                  </a:moveTo>
                  <a:cubicBezTo>
                    <a:pt x="643886" y="33585"/>
                    <a:pt x="628441" y="42829"/>
                    <a:pt x="616021" y="61549"/>
                  </a:cubicBezTo>
                  <a:cubicBezTo>
                    <a:pt x="603599" y="80267"/>
                    <a:pt x="597142" y="109858"/>
                    <a:pt x="596652" y="150318"/>
                  </a:cubicBezTo>
                  <a:cubicBezTo>
                    <a:pt x="597142" y="190202"/>
                    <a:pt x="603599" y="219499"/>
                    <a:pt x="616021" y="238210"/>
                  </a:cubicBezTo>
                  <a:cubicBezTo>
                    <a:pt x="628441" y="256921"/>
                    <a:pt x="643886" y="266182"/>
                    <a:pt x="662350" y="265993"/>
                  </a:cubicBezTo>
                  <a:cubicBezTo>
                    <a:pt x="680815" y="266182"/>
                    <a:pt x="696258" y="256921"/>
                    <a:pt x="708678" y="238210"/>
                  </a:cubicBezTo>
                  <a:cubicBezTo>
                    <a:pt x="721100" y="219499"/>
                    <a:pt x="727557" y="190202"/>
                    <a:pt x="728047" y="150318"/>
                  </a:cubicBezTo>
                  <a:cubicBezTo>
                    <a:pt x="727557" y="109858"/>
                    <a:pt x="721100" y="80267"/>
                    <a:pt x="708678" y="61549"/>
                  </a:cubicBezTo>
                  <a:cubicBezTo>
                    <a:pt x="696258" y="42829"/>
                    <a:pt x="680815" y="33585"/>
                    <a:pt x="662350" y="33818"/>
                  </a:cubicBezTo>
                  <a:close/>
                  <a:moveTo>
                    <a:pt x="345693" y="33818"/>
                  </a:moveTo>
                  <a:cubicBezTo>
                    <a:pt x="327230" y="33585"/>
                    <a:pt x="311785" y="42829"/>
                    <a:pt x="299365" y="61549"/>
                  </a:cubicBezTo>
                  <a:cubicBezTo>
                    <a:pt x="286943" y="80267"/>
                    <a:pt x="280486" y="109858"/>
                    <a:pt x="279996" y="150318"/>
                  </a:cubicBezTo>
                  <a:cubicBezTo>
                    <a:pt x="280486" y="190202"/>
                    <a:pt x="286943" y="219499"/>
                    <a:pt x="299365" y="238210"/>
                  </a:cubicBezTo>
                  <a:cubicBezTo>
                    <a:pt x="311785" y="256921"/>
                    <a:pt x="327230" y="266182"/>
                    <a:pt x="345693" y="265993"/>
                  </a:cubicBezTo>
                  <a:cubicBezTo>
                    <a:pt x="364159" y="266182"/>
                    <a:pt x="379602" y="256921"/>
                    <a:pt x="392022" y="238210"/>
                  </a:cubicBezTo>
                  <a:cubicBezTo>
                    <a:pt x="404444" y="219499"/>
                    <a:pt x="410901" y="190202"/>
                    <a:pt x="411391" y="150318"/>
                  </a:cubicBezTo>
                  <a:cubicBezTo>
                    <a:pt x="410901" y="109858"/>
                    <a:pt x="404444" y="80267"/>
                    <a:pt x="392022" y="61549"/>
                  </a:cubicBezTo>
                  <a:cubicBezTo>
                    <a:pt x="379602" y="42829"/>
                    <a:pt x="364159" y="33585"/>
                    <a:pt x="345693" y="33818"/>
                  </a:cubicBezTo>
                  <a:close/>
                  <a:moveTo>
                    <a:pt x="1157986" y="1"/>
                  </a:moveTo>
                  <a:cubicBezTo>
                    <a:pt x="1192251" y="653"/>
                    <a:pt x="1218527" y="14413"/>
                    <a:pt x="1236819" y="41284"/>
                  </a:cubicBezTo>
                  <a:cubicBezTo>
                    <a:pt x="1255110" y="68153"/>
                    <a:pt x="1264343" y="104222"/>
                    <a:pt x="1264522" y="149491"/>
                  </a:cubicBezTo>
                  <a:cubicBezTo>
                    <a:pt x="1264343" y="194976"/>
                    <a:pt x="1255110" y="231234"/>
                    <a:pt x="1236819" y="258269"/>
                  </a:cubicBezTo>
                  <a:cubicBezTo>
                    <a:pt x="1218527" y="285302"/>
                    <a:pt x="1192251" y="299150"/>
                    <a:pt x="1157986" y="299810"/>
                  </a:cubicBezTo>
                  <a:cubicBezTo>
                    <a:pt x="1123722" y="299150"/>
                    <a:pt x="1097444" y="285302"/>
                    <a:pt x="1079152" y="258269"/>
                  </a:cubicBezTo>
                  <a:cubicBezTo>
                    <a:pt x="1060862" y="231234"/>
                    <a:pt x="1051628" y="194976"/>
                    <a:pt x="1051449" y="149491"/>
                  </a:cubicBezTo>
                  <a:cubicBezTo>
                    <a:pt x="1051628" y="104222"/>
                    <a:pt x="1060862" y="68153"/>
                    <a:pt x="1079152" y="41284"/>
                  </a:cubicBezTo>
                  <a:cubicBezTo>
                    <a:pt x="1097444" y="14413"/>
                    <a:pt x="1123722" y="653"/>
                    <a:pt x="1157986" y="1"/>
                  </a:cubicBezTo>
                  <a:close/>
                  <a:moveTo>
                    <a:pt x="910168" y="1"/>
                  </a:moveTo>
                  <a:cubicBezTo>
                    <a:pt x="944433" y="653"/>
                    <a:pt x="970709" y="14413"/>
                    <a:pt x="989001" y="41284"/>
                  </a:cubicBezTo>
                  <a:cubicBezTo>
                    <a:pt x="1007292" y="68153"/>
                    <a:pt x="1016525" y="104222"/>
                    <a:pt x="1016704" y="149491"/>
                  </a:cubicBezTo>
                  <a:cubicBezTo>
                    <a:pt x="1016525" y="194976"/>
                    <a:pt x="1007292" y="231234"/>
                    <a:pt x="989001" y="258269"/>
                  </a:cubicBezTo>
                  <a:cubicBezTo>
                    <a:pt x="970709" y="285302"/>
                    <a:pt x="944433" y="299150"/>
                    <a:pt x="910168" y="299810"/>
                  </a:cubicBezTo>
                  <a:cubicBezTo>
                    <a:pt x="875904" y="299150"/>
                    <a:pt x="849626" y="285302"/>
                    <a:pt x="831334" y="258269"/>
                  </a:cubicBezTo>
                  <a:cubicBezTo>
                    <a:pt x="813044" y="231234"/>
                    <a:pt x="803810" y="194976"/>
                    <a:pt x="803631" y="149491"/>
                  </a:cubicBezTo>
                  <a:cubicBezTo>
                    <a:pt x="803810" y="104222"/>
                    <a:pt x="813044" y="68153"/>
                    <a:pt x="831334" y="41284"/>
                  </a:cubicBezTo>
                  <a:cubicBezTo>
                    <a:pt x="849626" y="14413"/>
                    <a:pt x="875904" y="653"/>
                    <a:pt x="910168" y="1"/>
                  </a:cubicBezTo>
                  <a:close/>
                  <a:moveTo>
                    <a:pt x="662350" y="1"/>
                  </a:moveTo>
                  <a:cubicBezTo>
                    <a:pt x="696615" y="653"/>
                    <a:pt x="722891" y="14413"/>
                    <a:pt x="741182" y="41284"/>
                  </a:cubicBezTo>
                  <a:cubicBezTo>
                    <a:pt x="759474" y="68153"/>
                    <a:pt x="768707" y="104222"/>
                    <a:pt x="768886" y="149491"/>
                  </a:cubicBezTo>
                  <a:cubicBezTo>
                    <a:pt x="768707" y="194976"/>
                    <a:pt x="759474" y="231234"/>
                    <a:pt x="741182" y="258269"/>
                  </a:cubicBezTo>
                  <a:cubicBezTo>
                    <a:pt x="722891" y="285302"/>
                    <a:pt x="696615" y="299150"/>
                    <a:pt x="662350" y="299810"/>
                  </a:cubicBezTo>
                  <a:cubicBezTo>
                    <a:pt x="628084" y="299150"/>
                    <a:pt x="601808" y="285302"/>
                    <a:pt x="583516" y="258269"/>
                  </a:cubicBezTo>
                  <a:cubicBezTo>
                    <a:pt x="565226" y="231234"/>
                    <a:pt x="555992" y="194976"/>
                    <a:pt x="555813" y="149491"/>
                  </a:cubicBezTo>
                  <a:cubicBezTo>
                    <a:pt x="555992" y="104222"/>
                    <a:pt x="565226" y="68153"/>
                    <a:pt x="583516" y="41284"/>
                  </a:cubicBezTo>
                  <a:cubicBezTo>
                    <a:pt x="601808" y="14413"/>
                    <a:pt x="628084" y="653"/>
                    <a:pt x="662350" y="1"/>
                  </a:cubicBezTo>
                  <a:close/>
                  <a:moveTo>
                    <a:pt x="345693" y="1"/>
                  </a:moveTo>
                  <a:cubicBezTo>
                    <a:pt x="379957" y="653"/>
                    <a:pt x="406235" y="14413"/>
                    <a:pt x="424525" y="41284"/>
                  </a:cubicBezTo>
                  <a:cubicBezTo>
                    <a:pt x="442817" y="68153"/>
                    <a:pt x="452051" y="104222"/>
                    <a:pt x="452230" y="149491"/>
                  </a:cubicBezTo>
                  <a:cubicBezTo>
                    <a:pt x="452051" y="194976"/>
                    <a:pt x="442817" y="231234"/>
                    <a:pt x="424525" y="258269"/>
                  </a:cubicBezTo>
                  <a:cubicBezTo>
                    <a:pt x="406235" y="285302"/>
                    <a:pt x="379959" y="299150"/>
                    <a:pt x="345693" y="299810"/>
                  </a:cubicBezTo>
                  <a:cubicBezTo>
                    <a:pt x="311428" y="299150"/>
                    <a:pt x="285152" y="285302"/>
                    <a:pt x="266860" y="258269"/>
                  </a:cubicBezTo>
                  <a:cubicBezTo>
                    <a:pt x="248569" y="231234"/>
                    <a:pt x="239336" y="194976"/>
                    <a:pt x="239157" y="149491"/>
                  </a:cubicBezTo>
                  <a:cubicBezTo>
                    <a:pt x="239336" y="104222"/>
                    <a:pt x="248569" y="68153"/>
                    <a:pt x="266860" y="41284"/>
                  </a:cubicBezTo>
                  <a:cubicBezTo>
                    <a:pt x="285152" y="14413"/>
                    <a:pt x="311428" y="653"/>
                    <a:pt x="345693" y="1"/>
                  </a:cubicBezTo>
                  <a:close/>
                  <a:moveTo>
                    <a:pt x="101756" y="0"/>
                  </a:moveTo>
                  <a:cubicBezTo>
                    <a:pt x="129978" y="334"/>
                    <a:pt x="152926" y="8122"/>
                    <a:pt x="170603" y="23365"/>
                  </a:cubicBezTo>
                  <a:cubicBezTo>
                    <a:pt x="188280" y="38607"/>
                    <a:pt x="197392" y="59306"/>
                    <a:pt x="197941" y="85458"/>
                  </a:cubicBezTo>
                  <a:cubicBezTo>
                    <a:pt x="198097" y="103274"/>
                    <a:pt x="192422" y="121038"/>
                    <a:pt x="180915" y="138751"/>
                  </a:cubicBezTo>
                  <a:cubicBezTo>
                    <a:pt x="169410" y="156463"/>
                    <a:pt x="151135" y="176294"/>
                    <a:pt x="126093" y="198241"/>
                  </a:cubicBezTo>
                  <a:lnTo>
                    <a:pt x="58787" y="258970"/>
                  </a:lnTo>
                  <a:lnTo>
                    <a:pt x="196703" y="258970"/>
                  </a:lnTo>
                  <a:cubicBezTo>
                    <a:pt x="198820" y="259022"/>
                    <a:pt x="200574" y="259743"/>
                    <a:pt x="201968" y="261135"/>
                  </a:cubicBezTo>
                  <a:cubicBezTo>
                    <a:pt x="203361" y="262527"/>
                    <a:pt x="204084" y="264280"/>
                    <a:pt x="204136" y="266394"/>
                  </a:cubicBezTo>
                  <a:lnTo>
                    <a:pt x="204136" y="286603"/>
                  </a:lnTo>
                  <a:cubicBezTo>
                    <a:pt x="204084" y="288734"/>
                    <a:pt x="203361" y="290555"/>
                    <a:pt x="201968" y="292069"/>
                  </a:cubicBezTo>
                  <a:cubicBezTo>
                    <a:pt x="200574" y="293581"/>
                    <a:pt x="198820" y="294371"/>
                    <a:pt x="196703" y="294439"/>
                  </a:cubicBezTo>
                  <a:lnTo>
                    <a:pt x="12539" y="294439"/>
                  </a:lnTo>
                  <a:cubicBezTo>
                    <a:pt x="10405" y="294371"/>
                    <a:pt x="8583" y="293581"/>
                    <a:pt x="7068" y="292069"/>
                  </a:cubicBezTo>
                  <a:cubicBezTo>
                    <a:pt x="5555" y="290555"/>
                    <a:pt x="4763" y="288734"/>
                    <a:pt x="4693" y="286603"/>
                  </a:cubicBezTo>
                  <a:lnTo>
                    <a:pt x="4693" y="269282"/>
                  </a:lnTo>
                  <a:cubicBezTo>
                    <a:pt x="4797" y="265999"/>
                    <a:pt x="5520" y="263283"/>
                    <a:pt x="6861" y="261135"/>
                  </a:cubicBezTo>
                  <a:cubicBezTo>
                    <a:pt x="8204" y="258986"/>
                    <a:pt x="9545" y="257300"/>
                    <a:pt x="10888" y="256079"/>
                  </a:cubicBezTo>
                  <a:lnTo>
                    <a:pt x="96387" y="177998"/>
                  </a:lnTo>
                  <a:cubicBezTo>
                    <a:pt x="115722" y="160931"/>
                    <a:pt x="130642" y="145284"/>
                    <a:pt x="141149" y="131057"/>
                  </a:cubicBezTo>
                  <a:cubicBezTo>
                    <a:pt x="151655" y="116829"/>
                    <a:pt x="156973" y="102319"/>
                    <a:pt x="157102" y="87523"/>
                  </a:cubicBezTo>
                  <a:cubicBezTo>
                    <a:pt x="156697" y="71256"/>
                    <a:pt x="151207" y="58553"/>
                    <a:pt x="140633" y="49412"/>
                  </a:cubicBezTo>
                  <a:cubicBezTo>
                    <a:pt x="130058" y="40272"/>
                    <a:pt x="116823" y="35624"/>
                    <a:pt x="100930" y="35469"/>
                  </a:cubicBezTo>
                  <a:cubicBezTo>
                    <a:pt x="82886" y="36081"/>
                    <a:pt x="68791" y="41674"/>
                    <a:pt x="58647" y="52252"/>
                  </a:cubicBezTo>
                  <a:cubicBezTo>
                    <a:pt x="48501" y="62831"/>
                    <a:pt x="41531" y="74725"/>
                    <a:pt x="37736" y="87937"/>
                  </a:cubicBezTo>
                  <a:cubicBezTo>
                    <a:pt x="36686" y="91284"/>
                    <a:pt x="35069" y="93676"/>
                    <a:pt x="32883" y="95115"/>
                  </a:cubicBezTo>
                  <a:cubicBezTo>
                    <a:pt x="30698" y="96551"/>
                    <a:pt x="28047" y="96775"/>
                    <a:pt x="24932" y="95785"/>
                  </a:cubicBezTo>
                  <a:lnTo>
                    <a:pt x="6345" y="91241"/>
                  </a:lnTo>
                  <a:cubicBezTo>
                    <a:pt x="4049" y="90544"/>
                    <a:pt x="2344" y="89149"/>
                    <a:pt x="1234" y="87058"/>
                  </a:cubicBezTo>
                  <a:cubicBezTo>
                    <a:pt x="124" y="84968"/>
                    <a:pt x="-237" y="82644"/>
                    <a:pt x="150" y="80087"/>
                  </a:cubicBezTo>
                  <a:cubicBezTo>
                    <a:pt x="4900" y="57591"/>
                    <a:pt x="16053" y="38769"/>
                    <a:pt x="33606" y="23622"/>
                  </a:cubicBezTo>
                  <a:cubicBezTo>
                    <a:pt x="51159" y="8474"/>
                    <a:pt x="73877" y="600"/>
                    <a:pt x="101756" y="0"/>
                  </a:cubicBezTo>
                  <a:close/>
                </a:path>
              </a:pathLst>
            </a:custGeom>
            <a:solidFill>
              <a:schemeClr val="accent1">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132" name="Group 131">
            <a:extLst>
              <a:ext uri="{FF2B5EF4-FFF2-40B4-BE49-F238E27FC236}">
                <a16:creationId xmlns:a16="http://schemas.microsoft.com/office/drawing/2014/main" id="{918B8E3C-6236-4460-9046-E31FCAE9C98D}"/>
              </a:ext>
            </a:extLst>
          </p:cNvPr>
          <p:cNvGrpSpPr>
            <a:grpSpLocks noChangeAspect="1"/>
          </p:cNvGrpSpPr>
          <p:nvPr/>
        </p:nvGrpSpPr>
        <p:grpSpPr>
          <a:xfrm>
            <a:off x="10726692" y="3328077"/>
            <a:ext cx="411154" cy="328845"/>
            <a:chOff x="956681" y="3107337"/>
            <a:chExt cx="1698714" cy="1358646"/>
          </a:xfrm>
        </p:grpSpPr>
        <p:sp>
          <p:nvSpPr>
            <p:cNvPr id="133" name="Freeform 18">
              <a:extLst>
                <a:ext uri="{FF2B5EF4-FFF2-40B4-BE49-F238E27FC236}">
                  <a16:creationId xmlns:a16="http://schemas.microsoft.com/office/drawing/2014/main" id="{51940FA6-F66B-44C8-871E-00506E740EFB}"/>
                </a:ext>
              </a:extLst>
            </p:cNvPr>
            <p:cNvSpPr>
              <a:spLocks/>
            </p:cNvSpPr>
            <p:nvPr/>
          </p:nvSpPr>
          <p:spPr bwMode="auto">
            <a:xfrm>
              <a:off x="956681" y="3107337"/>
              <a:ext cx="1698714" cy="1358646"/>
            </a:xfrm>
            <a:custGeom>
              <a:avLst/>
              <a:gdLst>
                <a:gd name="T0" fmla="*/ 0 w 4616"/>
                <a:gd name="T1" fmla="*/ 297 h 3700"/>
                <a:gd name="T2" fmla="*/ 302 w 4616"/>
                <a:gd name="T3" fmla="*/ 0 h 3700"/>
                <a:gd name="T4" fmla="*/ 4318 w 4616"/>
                <a:gd name="T5" fmla="*/ 0 h 3700"/>
                <a:gd name="T6" fmla="*/ 4616 w 4616"/>
                <a:gd name="T7" fmla="*/ 297 h 3700"/>
                <a:gd name="T8" fmla="*/ 4616 w 4616"/>
                <a:gd name="T9" fmla="*/ 3403 h 3700"/>
                <a:gd name="T10" fmla="*/ 4318 w 4616"/>
                <a:gd name="T11" fmla="*/ 3700 h 3700"/>
                <a:gd name="T12" fmla="*/ 302 w 4616"/>
                <a:gd name="T13" fmla="*/ 3700 h 3700"/>
                <a:gd name="T14" fmla="*/ 0 w 4616"/>
                <a:gd name="T15" fmla="*/ 3403 h 3700"/>
                <a:gd name="T16" fmla="*/ 0 w 4616"/>
                <a:gd name="T17" fmla="*/ 297 h 3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6" h="3700">
                  <a:moveTo>
                    <a:pt x="0" y="297"/>
                  </a:moveTo>
                  <a:cubicBezTo>
                    <a:pt x="0" y="136"/>
                    <a:pt x="132" y="0"/>
                    <a:pt x="302" y="0"/>
                  </a:cubicBezTo>
                  <a:cubicBezTo>
                    <a:pt x="4318" y="0"/>
                    <a:pt x="4318" y="0"/>
                    <a:pt x="4318" y="0"/>
                  </a:cubicBezTo>
                  <a:cubicBezTo>
                    <a:pt x="4480" y="0"/>
                    <a:pt x="4616" y="136"/>
                    <a:pt x="4616" y="297"/>
                  </a:cubicBezTo>
                  <a:cubicBezTo>
                    <a:pt x="4616" y="3403"/>
                    <a:pt x="4616" y="3403"/>
                    <a:pt x="4616" y="3403"/>
                  </a:cubicBezTo>
                  <a:cubicBezTo>
                    <a:pt x="4616" y="3568"/>
                    <a:pt x="4480" y="3700"/>
                    <a:pt x="4318" y="3700"/>
                  </a:cubicBezTo>
                  <a:cubicBezTo>
                    <a:pt x="302" y="3700"/>
                    <a:pt x="302" y="3700"/>
                    <a:pt x="302" y="3700"/>
                  </a:cubicBezTo>
                  <a:cubicBezTo>
                    <a:pt x="132" y="3700"/>
                    <a:pt x="0" y="3568"/>
                    <a:pt x="0" y="3403"/>
                  </a:cubicBezTo>
                  <a:cubicBezTo>
                    <a:pt x="0" y="297"/>
                    <a:pt x="0" y="297"/>
                    <a:pt x="0" y="297"/>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4" name="Freeform 19">
              <a:extLst>
                <a:ext uri="{FF2B5EF4-FFF2-40B4-BE49-F238E27FC236}">
                  <a16:creationId xmlns:a16="http://schemas.microsoft.com/office/drawing/2014/main" id="{F13CD35F-EAEA-4066-B227-0F84B7EAE02E}"/>
                </a:ext>
              </a:extLst>
            </p:cNvPr>
            <p:cNvSpPr>
              <a:spLocks/>
            </p:cNvSpPr>
            <p:nvPr/>
          </p:nvSpPr>
          <p:spPr bwMode="auto">
            <a:xfrm>
              <a:off x="1011870" y="3469317"/>
              <a:ext cx="1587522" cy="792950"/>
            </a:xfrm>
            <a:custGeom>
              <a:avLst/>
              <a:gdLst>
                <a:gd name="T0" fmla="*/ 0 w 4314"/>
                <a:gd name="T1" fmla="*/ 132 h 2160"/>
                <a:gd name="T2" fmla="*/ 132 w 4314"/>
                <a:gd name="T3" fmla="*/ 0 h 2160"/>
                <a:gd name="T4" fmla="*/ 4182 w 4314"/>
                <a:gd name="T5" fmla="*/ 0 h 2160"/>
                <a:gd name="T6" fmla="*/ 4314 w 4314"/>
                <a:gd name="T7" fmla="*/ 132 h 2160"/>
                <a:gd name="T8" fmla="*/ 4314 w 4314"/>
                <a:gd name="T9" fmla="*/ 2028 h 2160"/>
                <a:gd name="T10" fmla="*/ 4182 w 4314"/>
                <a:gd name="T11" fmla="*/ 2160 h 2160"/>
                <a:gd name="T12" fmla="*/ 132 w 4314"/>
                <a:gd name="T13" fmla="*/ 2160 h 2160"/>
                <a:gd name="T14" fmla="*/ 0 w 4314"/>
                <a:gd name="T15" fmla="*/ 2028 h 2160"/>
                <a:gd name="T16" fmla="*/ 0 w 4314"/>
                <a:gd name="T17" fmla="*/ 132 h 2160"/>
                <a:gd name="T18" fmla="*/ 0 w 4314"/>
                <a:gd name="T19" fmla="*/ 1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4" h="2160">
                  <a:moveTo>
                    <a:pt x="0" y="132"/>
                  </a:moveTo>
                  <a:cubicBezTo>
                    <a:pt x="0" y="60"/>
                    <a:pt x="56" y="0"/>
                    <a:pt x="132" y="0"/>
                  </a:cubicBezTo>
                  <a:cubicBezTo>
                    <a:pt x="4182" y="0"/>
                    <a:pt x="4182" y="0"/>
                    <a:pt x="4182" y="0"/>
                  </a:cubicBezTo>
                  <a:cubicBezTo>
                    <a:pt x="4254" y="0"/>
                    <a:pt x="4314" y="60"/>
                    <a:pt x="4314" y="132"/>
                  </a:cubicBezTo>
                  <a:cubicBezTo>
                    <a:pt x="4314" y="2028"/>
                    <a:pt x="4314" y="2028"/>
                    <a:pt x="4314" y="2028"/>
                  </a:cubicBezTo>
                  <a:cubicBezTo>
                    <a:pt x="4314" y="2100"/>
                    <a:pt x="4254" y="2160"/>
                    <a:pt x="4182" y="2160"/>
                  </a:cubicBezTo>
                  <a:cubicBezTo>
                    <a:pt x="132" y="2160"/>
                    <a:pt x="132" y="2160"/>
                    <a:pt x="132" y="2160"/>
                  </a:cubicBezTo>
                  <a:cubicBezTo>
                    <a:pt x="56" y="2160"/>
                    <a:pt x="0" y="2100"/>
                    <a:pt x="0" y="2028"/>
                  </a:cubicBezTo>
                  <a:cubicBezTo>
                    <a:pt x="0" y="132"/>
                    <a:pt x="0" y="132"/>
                    <a:pt x="0" y="132"/>
                  </a:cubicBezTo>
                  <a:cubicBezTo>
                    <a:pt x="0" y="132"/>
                    <a:pt x="0" y="132"/>
                    <a:pt x="0" y="132"/>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5" name="Freeform: Shape 6">
              <a:extLst>
                <a:ext uri="{FF2B5EF4-FFF2-40B4-BE49-F238E27FC236}">
                  <a16:creationId xmlns:a16="http://schemas.microsoft.com/office/drawing/2014/main" id="{52FFFEEB-2962-4BE8-A29D-BDF5FD02B9BB}"/>
                </a:ext>
              </a:extLst>
            </p:cNvPr>
            <p:cNvSpPr>
              <a:spLocks/>
            </p:cNvSpPr>
            <p:nvPr/>
          </p:nvSpPr>
          <p:spPr bwMode="auto">
            <a:xfrm>
              <a:off x="1077612" y="4303660"/>
              <a:ext cx="1473084" cy="113627"/>
            </a:xfrm>
            <a:custGeom>
              <a:avLst/>
              <a:gdLst>
                <a:gd name="connsiteX0" fmla="*/ 870509 w 2881312"/>
                <a:gd name="connsiteY0" fmla="*/ 12700 h 222250"/>
                <a:gd name="connsiteX1" fmla="*/ 1158315 w 2881312"/>
                <a:gd name="connsiteY1" fmla="*/ 12700 h 222250"/>
                <a:gd name="connsiteX2" fmla="*/ 1214437 w 2881312"/>
                <a:gd name="connsiteY2" fmla="*/ 66059 h 222250"/>
                <a:gd name="connsiteX3" fmla="*/ 1214437 w 2881312"/>
                <a:gd name="connsiteY3" fmla="*/ 153307 h 222250"/>
                <a:gd name="connsiteX4" fmla="*/ 1158315 w 2881312"/>
                <a:gd name="connsiteY4" fmla="*/ 209550 h 222250"/>
                <a:gd name="connsiteX5" fmla="*/ 870509 w 2881312"/>
                <a:gd name="connsiteY5" fmla="*/ 209550 h 222250"/>
                <a:gd name="connsiteX6" fmla="*/ 814387 w 2881312"/>
                <a:gd name="connsiteY6" fmla="*/ 153307 h 222250"/>
                <a:gd name="connsiteX7" fmla="*/ 814387 w 2881312"/>
                <a:gd name="connsiteY7" fmla="*/ 66059 h 222250"/>
                <a:gd name="connsiteX8" fmla="*/ 870509 w 2881312"/>
                <a:gd name="connsiteY8" fmla="*/ 12700 h 222250"/>
                <a:gd name="connsiteX9" fmla="*/ 361846 w 2881312"/>
                <a:gd name="connsiteY9" fmla="*/ 12700 h 222250"/>
                <a:gd name="connsiteX10" fmla="*/ 652131 w 2881312"/>
                <a:gd name="connsiteY10" fmla="*/ 12700 h 222250"/>
                <a:gd name="connsiteX11" fmla="*/ 712788 w 2881312"/>
                <a:gd name="connsiteY11" fmla="*/ 66059 h 222250"/>
                <a:gd name="connsiteX12" fmla="*/ 712788 w 2881312"/>
                <a:gd name="connsiteY12" fmla="*/ 153307 h 222250"/>
                <a:gd name="connsiteX13" fmla="*/ 652131 w 2881312"/>
                <a:gd name="connsiteY13" fmla="*/ 209550 h 222250"/>
                <a:gd name="connsiteX14" fmla="*/ 361846 w 2881312"/>
                <a:gd name="connsiteY14" fmla="*/ 209550 h 222250"/>
                <a:gd name="connsiteX15" fmla="*/ 304800 w 2881312"/>
                <a:gd name="connsiteY15" fmla="*/ 153307 h 222250"/>
                <a:gd name="connsiteX16" fmla="*/ 304800 w 2881312"/>
                <a:gd name="connsiteY16" fmla="*/ 66059 h 222250"/>
                <a:gd name="connsiteX17" fmla="*/ 361846 w 2881312"/>
                <a:gd name="connsiteY17" fmla="*/ 12700 h 222250"/>
                <a:gd name="connsiteX18" fmla="*/ 105569 w 2881312"/>
                <a:gd name="connsiteY18" fmla="*/ 6350 h 222250"/>
                <a:gd name="connsiteX19" fmla="*/ 211138 w 2881312"/>
                <a:gd name="connsiteY19" fmla="*/ 111125 h 222250"/>
                <a:gd name="connsiteX20" fmla="*/ 105569 w 2881312"/>
                <a:gd name="connsiteY20" fmla="*/ 215900 h 222250"/>
                <a:gd name="connsiteX21" fmla="*/ 0 w 2881312"/>
                <a:gd name="connsiteY21" fmla="*/ 111125 h 222250"/>
                <a:gd name="connsiteX22" fmla="*/ 105569 w 2881312"/>
                <a:gd name="connsiteY22" fmla="*/ 6350 h 222250"/>
                <a:gd name="connsiteX23" fmla="*/ 2772286 w 2881312"/>
                <a:gd name="connsiteY23" fmla="*/ 0 h 222250"/>
                <a:gd name="connsiteX24" fmla="*/ 2881312 w 2881312"/>
                <a:gd name="connsiteY24" fmla="*/ 110766 h 222250"/>
                <a:gd name="connsiteX25" fmla="*/ 2772286 w 2881312"/>
                <a:gd name="connsiteY25" fmla="*/ 222250 h 222250"/>
                <a:gd name="connsiteX26" fmla="*/ 2665412 w 2881312"/>
                <a:gd name="connsiteY26" fmla="*/ 110766 h 222250"/>
                <a:gd name="connsiteX27" fmla="*/ 2772286 w 2881312"/>
                <a:gd name="connsiteY27" fmla="*/ 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81312" h="222250">
                  <a:moveTo>
                    <a:pt x="870509" y="12700"/>
                  </a:moveTo>
                  <a:cubicBezTo>
                    <a:pt x="870509" y="12700"/>
                    <a:pt x="870509" y="12700"/>
                    <a:pt x="1158315" y="12700"/>
                  </a:cubicBezTo>
                  <a:cubicBezTo>
                    <a:pt x="1189974" y="12700"/>
                    <a:pt x="1214437" y="36495"/>
                    <a:pt x="1214437" y="66059"/>
                  </a:cubicBezTo>
                  <a:cubicBezTo>
                    <a:pt x="1214437" y="66059"/>
                    <a:pt x="1214437" y="66059"/>
                    <a:pt x="1214437" y="153307"/>
                  </a:cubicBezTo>
                  <a:cubicBezTo>
                    <a:pt x="1214437" y="185034"/>
                    <a:pt x="1189974" y="209550"/>
                    <a:pt x="1158315" y="209550"/>
                  </a:cubicBezTo>
                  <a:cubicBezTo>
                    <a:pt x="1158315" y="209550"/>
                    <a:pt x="1158315" y="209550"/>
                    <a:pt x="870509" y="209550"/>
                  </a:cubicBezTo>
                  <a:cubicBezTo>
                    <a:pt x="838851" y="209550"/>
                    <a:pt x="814387" y="185034"/>
                    <a:pt x="814387" y="153307"/>
                  </a:cubicBezTo>
                  <a:cubicBezTo>
                    <a:pt x="814387" y="153307"/>
                    <a:pt x="814387" y="153307"/>
                    <a:pt x="814387" y="66059"/>
                  </a:cubicBezTo>
                  <a:cubicBezTo>
                    <a:pt x="814387" y="36495"/>
                    <a:pt x="838851" y="12700"/>
                    <a:pt x="870509" y="12700"/>
                  </a:cubicBezTo>
                  <a:close/>
                  <a:moveTo>
                    <a:pt x="361846" y="12700"/>
                  </a:moveTo>
                  <a:cubicBezTo>
                    <a:pt x="361846" y="12700"/>
                    <a:pt x="361846" y="12700"/>
                    <a:pt x="652131" y="12700"/>
                  </a:cubicBezTo>
                  <a:cubicBezTo>
                    <a:pt x="685348" y="12700"/>
                    <a:pt x="712788" y="36495"/>
                    <a:pt x="712788" y="66059"/>
                  </a:cubicBezTo>
                  <a:cubicBezTo>
                    <a:pt x="712788" y="66059"/>
                    <a:pt x="712788" y="66059"/>
                    <a:pt x="712788" y="153307"/>
                  </a:cubicBezTo>
                  <a:cubicBezTo>
                    <a:pt x="712788" y="185034"/>
                    <a:pt x="685348" y="209550"/>
                    <a:pt x="652131" y="209550"/>
                  </a:cubicBezTo>
                  <a:cubicBezTo>
                    <a:pt x="652131" y="209550"/>
                    <a:pt x="652131" y="209550"/>
                    <a:pt x="361846" y="209550"/>
                  </a:cubicBezTo>
                  <a:cubicBezTo>
                    <a:pt x="329351" y="209550"/>
                    <a:pt x="304800" y="185034"/>
                    <a:pt x="304800" y="153307"/>
                  </a:cubicBezTo>
                  <a:cubicBezTo>
                    <a:pt x="304800" y="153307"/>
                    <a:pt x="304800" y="153307"/>
                    <a:pt x="304800" y="66059"/>
                  </a:cubicBezTo>
                  <a:cubicBezTo>
                    <a:pt x="304800" y="36495"/>
                    <a:pt x="329351" y="12700"/>
                    <a:pt x="361846" y="12700"/>
                  </a:cubicBezTo>
                  <a:close/>
                  <a:moveTo>
                    <a:pt x="105569" y="6350"/>
                  </a:moveTo>
                  <a:cubicBezTo>
                    <a:pt x="163873" y="6350"/>
                    <a:pt x="211138" y="53259"/>
                    <a:pt x="211138" y="111125"/>
                  </a:cubicBezTo>
                  <a:cubicBezTo>
                    <a:pt x="211138" y="168991"/>
                    <a:pt x="163873" y="215900"/>
                    <a:pt x="105569" y="215900"/>
                  </a:cubicBezTo>
                  <a:cubicBezTo>
                    <a:pt x="47265" y="215900"/>
                    <a:pt x="0" y="168991"/>
                    <a:pt x="0" y="111125"/>
                  </a:cubicBezTo>
                  <a:cubicBezTo>
                    <a:pt x="0" y="53259"/>
                    <a:pt x="47265" y="6350"/>
                    <a:pt x="105569" y="6350"/>
                  </a:cubicBezTo>
                  <a:close/>
                  <a:moveTo>
                    <a:pt x="2772286" y="0"/>
                  </a:moveTo>
                  <a:cubicBezTo>
                    <a:pt x="2833255" y="0"/>
                    <a:pt x="2881312" y="48910"/>
                    <a:pt x="2881312" y="110766"/>
                  </a:cubicBezTo>
                  <a:cubicBezTo>
                    <a:pt x="2881312" y="173341"/>
                    <a:pt x="2833255" y="222250"/>
                    <a:pt x="2772286" y="222250"/>
                  </a:cubicBezTo>
                  <a:cubicBezTo>
                    <a:pt x="2713470" y="222250"/>
                    <a:pt x="2665412" y="173341"/>
                    <a:pt x="2665412" y="110766"/>
                  </a:cubicBezTo>
                  <a:cubicBezTo>
                    <a:pt x="2665412" y="48910"/>
                    <a:pt x="2713470" y="0"/>
                    <a:pt x="2772286"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6" name="Freeform 24">
              <a:extLst>
                <a:ext uri="{FF2B5EF4-FFF2-40B4-BE49-F238E27FC236}">
                  <a16:creationId xmlns:a16="http://schemas.microsoft.com/office/drawing/2014/main" id="{FF934BC4-7C37-4F4E-A57A-559685A48066}"/>
                </a:ext>
              </a:extLst>
            </p:cNvPr>
            <p:cNvSpPr>
              <a:spLocks/>
            </p:cNvSpPr>
            <p:nvPr/>
          </p:nvSpPr>
          <p:spPr bwMode="auto">
            <a:xfrm>
              <a:off x="1695253" y="3190934"/>
              <a:ext cx="224818" cy="223195"/>
            </a:xfrm>
            <a:custGeom>
              <a:avLst/>
              <a:gdLst>
                <a:gd name="T0" fmla="*/ 537 w 612"/>
                <a:gd name="T1" fmla="*/ 190 h 610"/>
                <a:gd name="T2" fmla="*/ 420 w 612"/>
                <a:gd name="T3" fmla="*/ 190 h 610"/>
                <a:gd name="T4" fmla="*/ 420 w 612"/>
                <a:gd name="T5" fmla="*/ 74 h 610"/>
                <a:gd name="T6" fmla="*/ 345 w 612"/>
                <a:gd name="T7" fmla="*/ 0 h 610"/>
                <a:gd name="T8" fmla="*/ 266 w 612"/>
                <a:gd name="T9" fmla="*/ 0 h 610"/>
                <a:gd name="T10" fmla="*/ 191 w 612"/>
                <a:gd name="T11" fmla="*/ 74 h 610"/>
                <a:gd name="T12" fmla="*/ 191 w 612"/>
                <a:gd name="T13" fmla="*/ 190 h 610"/>
                <a:gd name="T14" fmla="*/ 75 w 612"/>
                <a:gd name="T15" fmla="*/ 190 h 610"/>
                <a:gd name="T16" fmla="*/ 0 w 612"/>
                <a:gd name="T17" fmla="*/ 265 h 610"/>
                <a:gd name="T18" fmla="*/ 0 w 612"/>
                <a:gd name="T19" fmla="*/ 344 h 610"/>
                <a:gd name="T20" fmla="*/ 75 w 612"/>
                <a:gd name="T21" fmla="*/ 419 h 610"/>
                <a:gd name="T22" fmla="*/ 191 w 612"/>
                <a:gd name="T23" fmla="*/ 419 h 610"/>
                <a:gd name="T24" fmla="*/ 191 w 612"/>
                <a:gd name="T25" fmla="*/ 535 h 610"/>
                <a:gd name="T26" fmla="*/ 266 w 612"/>
                <a:gd name="T27" fmla="*/ 610 h 610"/>
                <a:gd name="T28" fmla="*/ 345 w 612"/>
                <a:gd name="T29" fmla="*/ 610 h 610"/>
                <a:gd name="T30" fmla="*/ 420 w 612"/>
                <a:gd name="T31" fmla="*/ 535 h 610"/>
                <a:gd name="T32" fmla="*/ 420 w 612"/>
                <a:gd name="T33" fmla="*/ 419 h 610"/>
                <a:gd name="T34" fmla="*/ 537 w 612"/>
                <a:gd name="T35" fmla="*/ 419 h 610"/>
                <a:gd name="T36" fmla="*/ 612 w 612"/>
                <a:gd name="T37" fmla="*/ 344 h 610"/>
                <a:gd name="T38" fmla="*/ 612 w 612"/>
                <a:gd name="T39" fmla="*/ 265 h 610"/>
                <a:gd name="T40" fmla="*/ 537 w 612"/>
                <a:gd name="T41" fmla="*/ 19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2" h="610">
                  <a:moveTo>
                    <a:pt x="537" y="190"/>
                  </a:moveTo>
                  <a:cubicBezTo>
                    <a:pt x="420" y="190"/>
                    <a:pt x="420" y="190"/>
                    <a:pt x="420" y="190"/>
                  </a:cubicBezTo>
                  <a:cubicBezTo>
                    <a:pt x="420" y="74"/>
                    <a:pt x="420" y="74"/>
                    <a:pt x="420" y="74"/>
                  </a:cubicBezTo>
                  <a:cubicBezTo>
                    <a:pt x="420" y="33"/>
                    <a:pt x="386" y="0"/>
                    <a:pt x="345" y="0"/>
                  </a:cubicBezTo>
                  <a:cubicBezTo>
                    <a:pt x="266" y="0"/>
                    <a:pt x="266" y="0"/>
                    <a:pt x="266" y="0"/>
                  </a:cubicBezTo>
                  <a:cubicBezTo>
                    <a:pt x="225" y="0"/>
                    <a:pt x="191" y="33"/>
                    <a:pt x="191" y="74"/>
                  </a:cubicBezTo>
                  <a:cubicBezTo>
                    <a:pt x="191" y="190"/>
                    <a:pt x="191" y="190"/>
                    <a:pt x="191" y="190"/>
                  </a:cubicBezTo>
                  <a:cubicBezTo>
                    <a:pt x="75" y="190"/>
                    <a:pt x="75" y="190"/>
                    <a:pt x="75" y="190"/>
                  </a:cubicBezTo>
                  <a:cubicBezTo>
                    <a:pt x="33" y="190"/>
                    <a:pt x="0" y="224"/>
                    <a:pt x="0" y="265"/>
                  </a:cubicBezTo>
                  <a:cubicBezTo>
                    <a:pt x="0" y="344"/>
                    <a:pt x="0" y="344"/>
                    <a:pt x="0" y="344"/>
                  </a:cubicBezTo>
                  <a:cubicBezTo>
                    <a:pt x="0" y="385"/>
                    <a:pt x="33" y="419"/>
                    <a:pt x="75" y="419"/>
                  </a:cubicBezTo>
                  <a:cubicBezTo>
                    <a:pt x="191" y="419"/>
                    <a:pt x="191" y="419"/>
                    <a:pt x="191" y="419"/>
                  </a:cubicBezTo>
                  <a:cubicBezTo>
                    <a:pt x="191" y="535"/>
                    <a:pt x="191" y="535"/>
                    <a:pt x="191" y="535"/>
                  </a:cubicBezTo>
                  <a:cubicBezTo>
                    <a:pt x="191" y="576"/>
                    <a:pt x="225" y="610"/>
                    <a:pt x="266" y="610"/>
                  </a:cubicBezTo>
                  <a:cubicBezTo>
                    <a:pt x="345" y="610"/>
                    <a:pt x="345" y="610"/>
                    <a:pt x="345" y="610"/>
                  </a:cubicBezTo>
                  <a:cubicBezTo>
                    <a:pt x="386" y="610"/>
                    <a:pt x="420" y="576"/>
                    <a:pt x="420" y="535"/>
                  </a:cubicBezTo>
                  <a:cubicBezTo>
                    <a:pt x="420" y="419"/>
                    <a:pt x="420" y="419"/>
                    <a:pt x="420" y="419"/>
                  </a:cubicBezTo>
                  <a:cubicBezTo>
                    <a:pt x="537" y="419"/>
                    <a:pt x="537" y="419"/>
                    <a:pt x="537" y="419"/>
                  </a:cubicBezTo>
                  <a:cubicBezTo>
                    <a:pt x="578" y="419"/>
                    <a:pt x="612" y="385"/>
                    <a:pt x="612" y="344"/>
                  </a:cubicBezTo>
                  <a:cubicBezTo>
                    <a:pt x="612" y="265"/>
                    <a:pt x="612" y="265"/>
                    <a:pt x="612" y="265"/>
                  </a:cubicBezTo>
                  <a:cubicBezTo>
                    <a:pt x="612" y="224"/>
                    <a:pt x="578" y="190"/>
                    <a:pt x="537" y="19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7" name="Freeform: Shape 25">
              <a:extLst>
                <a:ext uri="{FF2B5EF4-FFF2-40B4-BE49-F238E27FC236}">
                  <a16:creationId xmlns:a16="http://schemas.microsoft.com/office/drawing/2014/main" id="{49329398-5391-41E8-B1A0-B5BA3D3AC073}"/>
                </a:ext>
              </a:extLst>
            </p:cNvPr>
            <p:cNvSpPr/>
            <p:nvPr/>
          </p:nvSpPr>
          <p:spPr>
            <a:xfrm>
              <a:off x="1129305" y="3698641"/>
              <a:ext cx="654975" cy="369286"/>
            </a:xfrm>
            <a:custGeom>
              <a:avLst/>
              <a:gdLst>
                <a:gd name="connsiteX0" fmla="*/ 233016 w 866392"/>
                <a:gd name="connsiteY0" fmla="*/ 0 h 488487"/>
                <a:gd name="connsiteX1" fmla="*/ 251501 w 866392"/>
                <a:gd name="connsiteY1" fmla="*/ 14582 h 488487"/>
                <a:gd name="connsiteX2" fmla="*/ 346849 w 866392"/>
                <a:gd name="connsiteY2" fmla="*/ 435507 h 488487"/>
                <a:gd name="connsiteX3" fmla="*/ 401819 w 866392"/>
                <a:gd name="connsiteY3" fmla="*/ 227961 h 488487"/>
                <a:gd name="connsiteX4" fmla="*/ 416899 w 866392"/>
                <a:gd name="connsiteY4" fmla="*/ 213379 h 488487"/>
                <a:gd name="connsiteX5" fmla="*/ 434899 w 866392"/>
                <a:gd name="connsiteY5" fmla="*/ 222128 h 488487"/>
                <a:gd name="connsiteX6" fmla="*/ 449493 w 866392"/>
                <a:gd name="connsiteY6" fmla="*/ 242542 h 488487"/>
                <a:gd name="connsiteX7" fmla="*/ 489869 w 866392"/>
                <a:gd name="connsiteY7" fmla="*/ 182272 h 488487"/>
                <a:gd name="connsiteX8" fmla="*/ 506408 w 866392"/>
                <a:gd name="connsiteY8" fmla="*/ 174981 h 488487"/>
                <a:gd name="connsiteX9" fmla="*/ 522948 w 866392"/>
                <a:gd name="connsiteY9" fmla="*/ 182272 h 488487"/>
                <a:gd name="connsiteX10" fmla="*/ 548731 w 866392"/>
                <a:gd name="connsiteY10" fmla="*/ 226017 h 488487"/>
                <a:gd name="connsiteX11" fmla="*/ 550677 w 866392"/>
                <a:gd name="connsiteY11" fmla="*/ 227961 h 488487"/>
                <a:gd name="connsiteX12" fmla="*/ 847906 w 866392"/>
                <a:gd name="connsiteY12" fmla="*/ 227961 h 488487"/>
                <a:gd name="connsiteX13" fmla="*/ 866392 w 866392"/>
                <a:gd name="connsiteY13" fmla="*/ 245945 h 488487"/>
                <a:gd name="connsiteX14" fmla="*/ 847906 w 866392"/>
                <a:gd name="connsiteY14" fmla="*/ 264415 h 488487"/>
                <a:gd name="connsiteX15" fmla="*/ 545326 w 866392"/>
                <a:gd name="connsiteY15" fmla="*/ 264415 h 488487"/>
                <a:gd name="connsiteX16" fmla="*/ 517597 w 866392"/>
                <a:gd name="connsiteY16" fmla="*/ 244000 h 488487"/>
                <a:gd name="connsiteX17" fmla="*/ 504949 w 866392"/>
                <a:gd name="connsiteY17" fmla="*/ 227961 h 488487"/>
                <a:gd name="connsiteX18" fmla="*/ 475275 w 866392"/>
                <a:gd name="connsiteY18" fmla="*/ 267818 h 488487"/>
                <a:gd name="connsiteX19" fmla="*/ 446087 w 866392"/>
                <a:gd name="connsiteY19" fmla="*/ 284343 h 488487"/>
                <a:gd name="connsiteX20" fmla="*/ 427601 w 866392"/>
                <a:gd name="connsiteY20" fmla="*/ 277052 h 488487"/>
                <a:gd name="connsiteX21" fmla="*/ 381874 w 866392"/>
                <a:gd name="connsiteY21" fmla="*/ 461268 h 488487"/>
                <a:gd name="connsiteX22" fmla="*/ 346849 w 866392"/>
                <a:gd name="connsiteY22" fmla="*/ 488487 h 488487"/>
                <a:gd name="connsiteX23" fmla="*/ 315715 w 866392"/>
                <a:gd name="connsiteY23" fmla="*/ 462726 h 488487"/>
                <a:gd name="connsiteX24" fmla="*/ 315715 w 866392"/>
                <a:gd name="connsiteY24" fmla="*/ 457379 h 488487"/>
                <a:gd name="connsiteX25" fmla="*/ 233016 w 866392"/>
                <a:gd name="connsiteY25" fmla="*/ 104016 h 488487"/>
                <a:gd name="connsiteX26" fmla="*/ 205774 w 866392"/>
                <a:gd name="connsiteY26" fmla="*/ 222128 h 488487"/>
                <a:gd name="connsiteX27" fmla="*/ 205774 w 866392"/>
                <a:gd name="connsiteY27" fmla="*/ 226017 h 488487"/>
                <a:gd name="connsiteX28" fmla="*/ 174641 w 866392"/>
                <a:gd name="connsiteY28" fmla="*/ 245945 h 488487"/>
                <a:gd name="connsiteX29" fmla="*/ 18486 w 866392"/>
                <a:gd name="connsiteY29" fmla="*/ 245945 h 488487"/>
                <a:gd name="connsiteX30" fmla="*/ 0 w 866392"/>
                <a:gd name="connsiteY30" fmla="*/ 227961 h 488487"/>
                <a:gd name="connsiteX31" fmla="*/ 18486 w 866392"/>
                <a:gd name="connsiteY31" fmla="*/ 209491 h 488487"/>
                <a:gd name="connsiteX32" fmla="*/ 170749 w 866392"/>
                <a:gd name="connsiteY32" fmla="*/ 209491 h 488487"/>
                <a:gd name="connsiteX33" fmla="*/ 213071 w 866392"/>
                <a:gd name="connsiteY33" fmla="*/ 14582 h 488487"/>
                <a:gd name="connsiteX34" fmla="*/ 233016 w 866392"/>
                <a:gd name="connsiteY34" fmla="*/ 0 h 48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66392" h="488487">
                  <a:moveTo>
                    <a:pt x="233016" y="0"/>
                  </a:moveTo>
                  <a:cubicBezTo>
                    <a:pt x="242259" y="0"/>
                    <a:pt x="249556" y="5347"/>
                    <a:pt x="251501" y="14582"/>
                  </a:cubicBezTo>
                  <a:cubicBezTo>
                    <a:pt x="346849" y="435507"/>
                    <a:pt x="346849" y="435507"/>
                    <a:pt x="346849" y="435507"/>
                  </a:cubicBezTo>
                  <a:cubicBezTo>
                    <a:pt x="401819" y="227961"/>
                    <a:pt x="401819" y="227961"/>
                    <a:pt x="401819" y="227961"/>
                  </a:cubicBezTo>
                  <a:cubicBezTo>
                    <a:pt x="403765" y="220670"/>
                    <a:pt x="411062" y="214837"/>
                    <a:pt x="416899" y="213379"/>
                  </a:cubicBezTo>
                  <a:cubicBezTo>
                    <a:pt x="424196" y="213379"/>
                    <a:pt x="431493" y="214837"/>
                    <a:pt x="434899" y="222128"/>
                  </a:cubicBezTo>
                  <a:cubicBezTo>
                    <a:pt x="449493" y="242542"/>
                    <a:pt x="449493" y="242542"/>
                    <a:pt x="449493" y="242542"/>
                  </a:cubicBezTo>
                  <a:cubicBezTo>
                    <a:pt x="489869" y="182272"/>
                    <a:pt x="489869" y="182272"/>
                    <a:pt x="489869" y="182272"/>
                  </a:cubicBezTo>
                  <a:cubicBezTo>
                    <a:pt x="493761" y="176925"/>
                    <a:pt x="501058" y="174981"/>
                    <a:pt x="506408" y="174981"/>
                  </a:cubicBezTo>
                  <a:cubicBezTo>
                    <a:pt x="512246" y="174981"/>
                    <a:pt x="519543" y="178383"/>
                    <a:pt x="522948" y="182272"/>
                  </a:cubicBezTo>
                  <a:cubicBezTo>
                    <a:pt x="548731" y="226017"/>
                    <a:pt x="548731" y="226017"/>
                    <a:pt x="548731" y="226017"/>
                  </a:cubicBezTo>
                  <a:cubicBezTo>
                    <a:pt x="550677" y="227961"/>
                    <a:pt x="550677" y="227961"/>
                    <a:pt x="550677" y="227961"/>
                  </a:cubicBezTo>
                  <a:cubicBezTo>
                    <a:pt x="847906" y="227961"/>
                    <a:pt x="847906" y="227961"/>
                    <a:pt x="847906" y="227961"/>
                  </a:cubicBezTo>
                  <a:cubicBezTo>
                    <a:pt x="859095" y="227961"/>
                    <a:pt x="866392" y="235251"/>
                    <a:pt x="866392" y="245945"/>
                  </a:cubicBezTo>
                  <a:cubicBezTo>
                    <a:pt x="866392" y="255180"/>
                    <a:pt x="859095" y="264415"/>
                    <a:pt x="847906" y="264415"/>
                  </a:cubicBezTo>
                  <a:cubicBezTo>
                    <a:pt x="545326" y="264415"/>
                    <a:pt x="545326" y="264415"/>
                    <a:pt x="545326" y="264415"/>
                  </a:cubicBezTo>
                  <a:cubicBezTo>
                    <a:pt x="532191" y="264415"/>
                    <a:pt x="522948" y="257124"/>
                    <a:pt x="517597" y="244000"/>
                  </a:cubicBezTo>
                  <a:cubicBezTo>
                    <a:pt x="504949" y="227961"/>
                    <a:pt x="504949" y="227961"/>
                    <a:pt x="504949" y="227961"/>
                  </a:cubicBezTo>
                  <a:cubicBezTo>
                    <a:pt x="475275" y="267818"/>
                    <a:pt x="475275" y="267818"/>
                    <a:pt x="475275" y="267818"/>
                  </a:cubicBezTo>
                  <a:cubicBezTo>
                    <a:pt x="467978" y="284343"/>
                    <a:pt x="451438" y="284343"/>
                    <a:pt x="446087" y="284343"/>
                  </a:cubicBezTo>
                  <a:cubicBezTo>
                    <a:pt x="440736" y="284343"/>
                    <a:pt x="433439" y="280455"/>
                    <a:pt x="427601" y="277052"/>
                  </a:cubicBezTo>
                  <a:cubicBezTo>
                    <a:pt x="381874" y="461268"/>
                    <a:pt x="381874" y="461268"/>
                    <a:pt x="381874" y="461268"/>
                  </a:cubicBezTo>
                  <a:cubicBezTo>
                    <a:pt x="376523" y="477308"/>
                    <a:pt x="363389" y="488487"/>
                    <a:pt x="346849" y="488487"/>
                  </a:cubicBezTo>
                  <a:cubicBezTo>
                    <a:pt x="332255" y="488487"/>
                    <a:pt x="321066" y="473906"/>
                    <a:pt x="315715" y="462726"/>
                  </a:cubicBezTo>
                  <a:cubicBezTo>
                    <a:pt x="315715" y="461268"/>
                    <a:pt x="315715" y="461268"/>
                    <a:pt x="315715" y="457379"/>
                  </a:cubicBezTo>
                  <a:cubicBezTo>
                    <a:pt x="233016" y="104016"/>
                    <a:pt x="233016" y="104016"/>
                    <a:pt x="233016" y="104016"/>
                  </a:cubicBezTo>
                  <a:cubicBezTo>
                    <a:pt x="205774" y="222128"/>
                    <a:pt x="205774" y="222128"/>
                    <a:pt x="205774" y="222128"/>
                  </a:cubicBezTo>
                  <a:cubicBezTo>
                    <a:pt x="205774" y="222128"/>
                    <a:pt x="205774" y="224072"/>
                    <a:pt x="205774" y="226017"/>
                  </a:cubicBezTo>
                  <a:cubicBezTo>
                    <a:pt x="199936" y="238654"/>
                    <a:pt x="187289" y="245945"/>
                    <a:pt x="174641" y="245945"/>
                  </a:cubicBezTo>
                  <a:cubicBezTo>
                    <a:pt x="18486" y="245945"/>
                    <a:pt x="18486" y="245945"/>
                    <a:pt x="18486" y="245945"/>
                  </a:cubicBezTo>
                  <a:cubicBezTo>
                    <a:pt x="9243" y="245945"/>
                    <a:pt x="0" y="238654"/>
                    <a:pt x="0" y="227961"/>
                  </a:cubicBezTo>
                  <a:cubicBezTo>
                    <a:pt x="0" y="218726"/>
                    <a:pt x="9243" y="209491"/>
                    <a:pt x="18486" y="209491"/>
                  </a:cubicBezTo>
                  <a:cubicBezTo>
                    <a:pt x="170749" y="209491"/>
                    <a:pt x="170749" y="209491"/>
                    <a:pt x="170749" y="209491"/>
                  </a:cubicBezTo>
                  <a:cubicBezTo>
                    <a:pt x="213071" y="14582"/>
                    <a:pt x="213071" y="14582"/>
                    <a:pt x="213071" y="14582"/>
                  </a:cubicBezTo>
                  <a:cubicBezTo>
                    <a:pt x="215017" y="5347"/>
                    <a:pt x="222314" y="0"/>
                    <a:pt x="233016" y="0"/>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8" name="Group 137">
              <a:extLst>
                <a:ext uri="{FF2B5EF4-FFF2-40B4-BE49-F238E27FC236}">
                  <a16:creationId xmlns:a16="http://schemas.microsoft.com/office/drawing/2014/main" id="{E214DF97-5F53-45A1-AD5A-236BFE84B666}"/>
                </a:ext>
              </a:extLst>
            </p:cNvPr>
            <p:cNvGrpSpPr/>
            <p:nvPr/>
          </p:nvGrpSpPr>
          <p:grpSpPr>
            <a:xfrm>
              <a:off x="1868942" y="3698641"/>
              <a:ext cx="618888" cy="421937"/>
              <a:chOff x="1512888" y="5453063"/>
              <a:chExt cx="1632281" cy="1112837"/>
            </a:xfrm>
          </p:grpSpPr>
          <p:sp>
            <p:nvSpPr>
              <p:cNvPr id="139" name="Freeform: Shape 111">
                <a:extLst>
                  <a:ext uri="{FF2B5EF4-FFF2-40B4-BE49-F238E27FC236}">
                    <a16:creationId xmlns:a16="http://schemas.microsoft.com/office/drawing/2014/main" id="{86078878-87E0-480F-B4A5-6C09CAFD38E2}"/>
                  </a:ext>
                </a:extLst>
              </p:cNvPr>
              <p:cNvSpPr>
                <a:spLocks noChangeArrowheads="1"/>
              </p:cNvSpPr>
              <p:nvPr/>
            </p:nvSpPr>
            <p:spPr bwMode="auto">
              <a:xfrm>
                <a:off x="1512888" y="5453063"/>
                <a:ext cx="788988" cy="1112837"/>
              </a:xfrm>
              <a:custGeom>
                <a:avLst/>
                <a:gdLst>
                  <a:gd name="connsiteX0" fmla="*/ 395288 w 788988"/>
                  <a:gd name="connsiteY0" fmla="*/ 568325 h 1112837"/>
                  <a:gd name="connsiteX1" fmla="*/ 90488 w 788988"/>
                  <a:gd name="connsiteY1" fmla="*/ 801688 h 1112837"/>
                  <a:gd name="connsiteX2" fmla="*/ 395288 w 788988"/>
                  <a:gd name="connsiteY2" fmla="*/ 1035051 h 1112837"/>
                  <a:gd name="connsiteX3" fmla="*/ 700088 w 788988"/>
                  <a:gd name="connsiteY3" fmla="*/ 801688 h 1112837"/>
                  <a:gd name="connsiteX4" fmla="*/ 395288 w 788988"/>
                  <a:gd name="connsiteY4" fmla="*/ 568325 h 1112837"/>
                  <a:gd name="connsiteX5" fmla="*/ 394494 w 788988"/>
                  <a:gd name="connsiteY5" fmla="*/ 76200 h 1112837"/>
                  <a:gd name="connsiteX6" fmla="*/ 139700 w 788988"/>
                  <a:gd name="connsiteY6" fmla="*/ 280988 h 1112837"/>
                  <a:gd name="connsiteX7" fmla="*/ 394494 w 788988"/>
                  <a:gd name="connsiteY7" fmla="*/ 485776 h 1112837"/>
                  <a:gd name="connsiteX8" fmla="*/ 649288 w 788988"/>
                  <a:gd name="connsiteY8" fmla="*/ 280988 h 1112837"/>
                  <a:gd name="connsiteX9" fmla="*/ 394494 w 788988"/>
                  <a:gd name="connsiteY9" fmla="*/ 76200 h 1112837"/>
                  <a:gd name="connsiteX10" fmla="*/ 394494 w 788988"/>
                  <a:gd name="connsiteY10" fmla="*/ 0 h 1112837"/>
                  <a:gd name="connsiteX11" fmla="*/ 636387 w 788988"/>
                  <a:gd name="connsiteY11" fmla="*/ 77529 h 1112837"/>
                  <a:gd name="connsiteX12" fmla="*/ 736429 w 788988"/>
                  <a:gd name="connsiteY12" fmla="*/ 281191 h 1112837"/>
                  <a:gd name="connsiteX13" fmla="*/ 686258 w 788988"/>
                  <a:gd name="connsiteY13" fmla="*/ 434161 h 1112837"/>
                  <a:gd name="connsiteX14" fmla="*/ 575167 w 788988"/>
                  <a:gd name="connsiteY14" fmla="*/ 523618 h 1112837"/>
                  <a:gd name="connsiteX15" fmla="*/ 724483 w 788988"/>
                  <a:gd name="connsiteY15" fmla="*/ 626791 h 1112837"/>
                  <a:gd name="connsiteX16" fmla="*/ 788988 w 788988"/>
                  <a:gd name="connsiteY16" fmla="*/ 801529 h 1112837"/>
                  <a:gd name="connsiteX17" fmla="*/ 759722 w 788988"/>
                  <a:gd name="connsiteY17" fmla="*/ 928557 h 1112837"/>
                  <a:gd name="connsiteX18" fmla="*/ 677897 w 788988"/>
                  <a:gd name="connsiteY18" fmla="*/ 1027257 h 1112837"/>
                  <a:gd name="connsiteX19" fmla="*/ 553068 w 788988"/>
                  <a:gd name="connsiteY19" fmla="*/ 1090473 h 1112837"/>
                  <a:gd name="connsiteX20" fmla="*/ 394494 w 788988"/>
                  <a:gd name="connsiteY20" fmla="*/ 1112837 h 1112837"/>
                  <a:gd name="connsiteX21" fmla="*/ 235920 w 788988"/>
                  <a:gd name="connsiteY21" fmla="*/ 1090473 h 1112837"/>
                  <a:gd name="connsiteX22" fmla="*/ 111091 w 788988"/>
                  <a:gd name="connsiteY22" fmla="*/ 1027257 h 1112837"/>
                  <a:gd name="connsiteX23" fmla="*/ 29266 w 788988"/>
                  <a:gd name="connsiteY23" fmla="*/ 928557 h 1112837"/>
                  <a:gd name="connsiteX24" fmla="*/ 0 w 788988"/>
                  <a:gd name="connsiteY24" fmla="*/ 801529 h 1112837"/>
                  <a:gd name="connsiteX25" fmla="*/ 64803 w 788988"/>
                  <a:gd name="connsiteY25" fmla="*/ 626791 h 1112837"/>
                  <a:gd name="connsiteX26" fmla="*/ 215016 w 788988"/>
                  <a:gd name="connsiteY26" fmla="*/ 523618 h 1112837"/>
                  <a:gd name="connsiteX27" fmla="*/ 103028 w 788988"/>
                  <a:gd name="connsiteY27" fmla="*/ 434459 h 1112837"/>
                  <a:gd name="connsiteX28" fmla="*/ 52559 w 788988"/>
                  <a:gd name="connsiteY28" fmla="*/ 281191 h 1112837"/>
                  <a:gd name="connsiteX29" fmla="*/ 152601 w 788988"/>
                  <a:gd name="connsiteY29" fmla="*/ 77529 h 1112837"/>
                  <a:gd name="connsiteX30" fmla="*/ 394494 w 788988"/>
                  <a:gd name="connsiteY30"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8988" h="1112837">
                    <a:moveTo>
                      <a:pt x="395288" y="568325"/>
                    </a:moveTo>
                    <a:cubicBezTo>
                      <a:pt x="226952" y="568325"/>
                      <a:pt x="90488" y="672805"/>
                      <a:pt x="90488" y="801688"/>
                    </a:cubicBezTo>
                    <a:cubicBezTo>
                      <a:pt x="90488" y="930571"/>
                      <a:pt x="226952" y="1035051"/>
                      <a:pt x="395288" y="1035051"/>
                    </a:cubicBezTo>
                    <a:cubicBezTo>
                      <a:pt x="563624" y="1035051"/>
                      <a:pt x="700088" y="930571"/>
                      <a:pt x="700088" y="801688"/>
                    </a:cubicBezTo>
                    <a:cubicBezTo>
                      <a:pt x="700088" y="672805"/>
                      <a:pt x="563624" y="568325"/>
                      <a:pt x="395288" y="568325"/>
                    </a:cubicBezTo>
                    <a:close/>
                    <a:moveTo>
                      <a:pt x="394494" y="76200"/>
                    </a:moveTo>
                    <a:cubicBezTo>
                      <a:pt x="253775" y="76200"/>
                      <a:pt x="139700" y="167887"/>
                      <a:pt x="139700" y="280988"/>
                    </a:cubicBezTo>
                    <a:cubicBezTo>
                      <a:pt x="139700" y="394089"/>
                      <a:pt x="253775" y="485776"/>
                      <a:pt x="394494" y="485776"/>
                    </a:cubicBezTo>
                    <a:cubicBezTo>
                      <a:pt x="535213" y="485776"/>
                      <a:pt x="649288" y="394089"/>
                      <a:pt x="649288" y="280988"/>
                    </a:cubicBezTo>
                    <a:cubicBezTo>
                      <a:pt x="649288" y="167887"/>
                      <a:pt x="535213" y="76200"/>
                      <a:pt x="394494" y="76200"/>
                    </a:cubicBezTo>
                    <a:close/>
                    <a:moveTo>
                      <a:pt x="394494" y="0"/>
                    </a:moveTo>
                    <a:cubicBezTo>
                      <a:pt x="487966" y="0"/>
                      <a:pt x="573972" y="27433"/>
                      <a:pt x="636387" y="77529"/>
                    </a:cubicBezTo>
                    <a:cubicBezTo>
                      <a:pt x="700891" y="128817"/>
                      <a:pt x="736429" y="201277"/>
                      <a:pt x="736429" y="281191"/>
                    </a:cubicBezTo>
                    <a:cubicBezTo>
                      <a:pt x="736429" y="336654"/>
                      <a:pt x="719108" y="389433"/>
                      <a:pt x="686258" y="434161"/>
                    </a:cubicBezTo>
                    <a:cubicBezTo>
                      <a:pt x="658486" y="472329"/>
                      <a:pt x="620559" y="502744"/>
                      <a:pt x="575167" y="523618"/>
                    </a:cubicBezTo>
                    <a:cubicBezTo>
                      <a:pt x="636088" y="546578"/>
                      <a:pt x="687154" y="581765"/>
                      <a:pt x="724483" y="626791"/>
                    </a:cubicBezTo>
                    <a:cubicBezTo>
                      <a:pt x="766889" y="677781"/>
                      <a:pt x="788988" y="738313"/>
                      <a:pt x="788988" y="801529"/>
                    </a:cubicBezTo>
                    <a:cubicBezTo>
                      <a:pt x="788988" y="847152"/>
                      <a:pt x="779133" y="889793"/>
                      <a:pt x="759722" y="928557"/>
                    </a:cubicBezTo>
                    <a:cubicBezTo>
                      <a:pt x="740908" y="966427"/>
                      <a:pt x="713434" y="999526"/>
                      <a:pt x="677897" y="1027257"/>
                    </a:cubicBezTo>
                    <a:cubicBezTo>
                      <a:pt x="642658" y="1054691"/>
                      <a:pt x="600849" y="1075862"/>
                      <a:pt x="553068" y="1090473"/>
                    </a:cubicBezTo>
                    <a:cubicBezTo>
                      <a:pt x="504690" y="1105382"/>
                      <a:pt x="451234" y="1112837"/>
                      <a:pt x="394494" y="1112837"/>
                    </a:cubicBezTo>
                    <a:cubicBezTo>
                      <a:pt x="337754" y="1112837"/>
                      <a:pt x="284299" y="1105382"/>
                      <a:pt x="235920" y="1090473"/>
                    </a:cubicBezTo>
                    <a:cubicBezTo>
                      <a:pt x="188139" y="1075862"/>
                      <a:pt x="146330" y="1054691"/>
                      <a:pt x="111091" y="1027257"/>
                    </a:cubicBezTo>
                    <a:cubicBezTo>
                      <a:pt x="75853" y="999526"/>
                      <a:pt x="48080" y="966427"/>
                      <a:pt x="29266" y="928557"/>
                    </a:cubicBezTo>
                    <a:cubicBezTo>
                      <a:pt x="9855" y="889793"/>
                      <a:pt x="0" y="847152"/>
                      <a:pt x="0" y="801529"/>
                    </a:cubicBezTo>
                    <a:cubicBezTo>
                      <a:pt x="0" y="738313"/>
                      <a:pt x="22397" y="677781"/>
                      <a:pt x="64803" y="626791"/>
                    </a:cubicBezTo>
                    <a:cubicBezTo>
                      <a:pt x="102133" y="581765"/>
                      <a:pt x="153796" y="546578"/>
                      <a:pt x="215016" y="523618"/>
                    </a:cubicBezTo>
                    <a:cubicBezTo>
                      <a:pt x="169325" y="502744"/>
                      <a:pt x="131100" y="472329"/>
                      <a:pt x="103028" y="434459"/>
                    </a:cubicBezTo>
                    <a:cubicBezTo>
                      <a:pt x="70179" y="389731"/>
                      <a:pt x="52559" y="336654"/>
                      <a:pt x="52559" y="281191"/>
                    </a:cubicBezTo>
                    <a:cubicBezTo>
                      <a:pt x="52559" y="201277"/>
                      <a:pt x="88097" y="128817"/>
                      <a:pt x="152601" y="77529"/>
                    </a:cubicBezTo>
                    <a:cubicBezTo>
                      <a:pt x="215016" y="27433"/>
                      <a:pt x="301022" y="0"/>
                      <a:pt x="39449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0" name="Freeform: Shape 112">
                <a:extLst>
                  <a:ext uri="{FF2B5EF4-FFF2-40B4-BE49-F238E27FC236}">
                    <a16:creationId xmlns:a16="http://schemas.microsoft.com/office/drawing/2014/main" id="{19E9851A-B60B-46A1-97CB-937E4B1394EA}"/>
                  </a:ext>
                </a:extLst>
              </p:cNvPr>
              <p:cNvSpPr>
                <a:spLocks/>
              </p:cNvSpPr>
              <p:nvPr/>
            </p:nvSpPr>
            <p:spPr bwMode="auto">
              <a:xfrm>
                <a:off x="2386344" y="5453063"/>
                <a:ext cx="758825" cy="1112837"/>
              </a:xfrm>
              <a:custGeom>
                <a:avLst/>
                <a:gdLst>
                  <a:gd name="connsiteX0" fmla="*/ 378470 w 758825"/>
                  <a:gd name="connsiteY0" fmla="*/ 79375 h 1112837"/>
                  <a:gd name="connsiteX1" fmla="*/ 177446 w 758825"/>
                  <a:gd name="connsiteY1" fmla="*/ 195429 h 1112837"/>
                  <a:gd name="connsiteX2" fmla="*/ 88900 w 758825"/>
                  <a:gd name="connsiteY2" fmla="*/ 554927 h 1112837"/>
                  <a:gd name="connsiteX3" fmla="*/ 177745 w 758825"/>
                  <a:gd name="connsiteY3" fmla="*/ 916513 h 1112837"/>
                  <a:gd name="connsiteX4" fmla="*/ 378470 w 758825"/>
                  <a:gd name="connsiteY4" fmla="*/ 1033462 h 1112837"/>
                  <a:gd name="connsiteX5" fmla="*/ 579493 w 758825"/>
                  <a:gd name="connsiteY5" fmla="*/ 916513 h 1112837"/>
                  <a:gd name="connsiteX6" fmla="*/ 668338 w 758825"/>
                  <a:gd name="connsiteY6" fmla="*/ 554927 h 1112837"/>
                  <a:gd name="connsiteX7" fmla="*/ 579493 w 758825"/>
                  <a:gd name="connsiteY7" fmla="*/ 195429 h 1112837"/>
                  <a:gd name="connsiteX8" fmla="*/ 378470 w 758825"/>
                  <a:gd name="connsiteY8" fmla="*/ 79375 h 1112837"/>
                  <a:gd name="connsiteX9" fmla="*/ 379263 w 758825"/>
                  <a:gd name="connsiteY9" fmla="*/ 0 h 1112837"/>
                  <a:gd name="connsiteX10" fmla="*/ 658485 w 758825"/>
                  <a:gd name="connsiteY10" fmla="*/ 156847 h 1112837"/>
                  <a:gd name="connsiteX11" fmla="*/ 758825 w 758825"/>
                  <a:gd name="connsiteY11" fmla="*/ 554928 h 1112837"/>
                  <a:gd name="connsiteX12" fmla="*/ 658485 w 758825"/>
                  <a:gd name="connsiteY12" fmla="*/ 955692 h 1112837"/>
                  <a:gd name="connsiteX13" fmla="*/ 379263 w 758825"/>
                  <a:gd name="connsiteY13" fmla="*/ 1112837 h 1112837"/>
                  <a:gd name="connsiteX14" fmla="*/ 100341 w 758825"/>
                  <a:gd name="connsiteY14" fmla="*/ 955692 h 1112837"/>
                  <a:gd name="connsiteX15" fmla="*/ 0 w 758825"/>
                  <a:gd name="connsiteY15" fmla="*/ 554928 h 1112837"/>
                  <a:gd name="connsiteX16" fmla="*/ 100341 w 758825"/>
                  <a:gd name="connsiteY16" fmla="*/ 156847 h 1112837"/>
                  <a:gd name="connsiteX17" fmla="*/ 379263 w 758825"/>
                  <a:gd name="connsiteY17"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8825" h="1112837">
                    <a:moveTo>
                      <a:pt x="378470" y="79375"/>
                    </a:moveTo>
                    <a:cubicBezTo>
                      <a:pt x="300094" y="79375"/>
                      <a:pt x="228899" y="120546"/>
                      <a:pt x="177446" y="195429"/>
                    </a:cubicBezTo>
                    <a:cubicBezTo>
                      <a:pt x="119413" y="280455"/>
                      <a:pt x="88900" y="404564"/>
                      <a:pt x="88900" y="554927"/>
                    </a:cubicBezTo>
                    <a:cubicBezTo>
                      <a:pt x="88900" y="705886"/>
                      <a:pt x="119413" y="830890"/>
                      <a:pt x="177745" y="916513"/>
                    </a:cubicBezTo>
                    <a:cubicBezTo>
                      <a:pt x="228899" y="991993"/>
                      <a:pt x="300094" y="1033462"/>
                      <a:pt x="378470" y="1033462"/>
                    </a:cubicBezTo>
                    <a:cubicBezTo>
                      <a:pt x="456845" y="1033462"/>
                      <a:pt x="528340" y="991993"/>
                      <a:pt x="579493" y="916513"/>
                    </a:cubicBezTo>
                    <a:cubicBezTo>
                      <a:pt x="637527" y="830890"/>
                      <a:pt x="668338" y="705886"/>
                      <a:pt x="668338" y="554927"/>
                    </a:cubicBezTo>
                    <a:cubicBezTo>
                      <a:pt x="668338" y="404564"/>
                      <a:pt x="637527" y="280455"/>
                      <a:pt x="579493" y="195429"/>
                    </a:cubicBezTo>
                    <a:cubicBezTo>
                      <a:pt x="528340" y="120546"/>
                      <a:pt x="456845" y="79375"/>
                      <a:pt x="378470" y="79375"/>
                    </a:cubicBezTo>
                    <a:close/>
                    <a:moveTo>
                      <a:pt x="379263" y="0"/>
                    </a:moveTo>
                    <a:cubicBezTo>
                      <a:pt x="493938" y="0"/>
                      <a:pt x="590396" y="54270"/>
                      <a:pt x="658485" y="156847"/>
                    </a:cubicBezTo>
                    <a:cubicBezTo>
                      <a:pt x="724184" y="255845"/>
                      <a:pt x="758825" y="393608"/>
                      <a:pt x="758825" y="554928"/>
                    </a:cubicBezTo>
                    <a:cubicBezTo>
                      <a:pt x="758825" y="717738"/>
                      <a:pt x="724184" y="856396"/>
                      <a:pt x="658485" y="955692"/>
                    </a:cubicBezTo>
                    <a:cubicBezTo>
                      <a:pt x="590396" y="1058567"/>
                      <a:pt x="493938" y="1112837"/>
                      <a:pt x="379263" y="1112837"/>
                    </a:cubicBezTo>
                    <a:cubicBezTo>
                      <a:pt x="264588" y="1112837"/>
                      <a:pt x="168130" y="1058567"/>
                      <a:pt x="100341" y="955692"/>
                    </a:cubicBezTo>
                    <a:cubicBezTo>
                      <a:pt x="34641" y="856396"/>
                      <a:pt x="0" y="717738"/>
                      <a:pt x="0" y="554928"/>
                    </a:cubicBezTo>
                    <a:cubicBezTo>
                      <a:pt x="0" y="393608"/>
                      <a:pt x="34641" y="255845"/>
                      <a:pt x="100341" y="156847"/>
                    </a:cubicBezTo>
                    <a:cubicBezTo>
                      <a:pt x="168429" y="54270"/>
                      <a:pt x="264887" y="0"/>
                      <a:pt x="37926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sp>
        <p:nvSpPr>
          <p:cNvPr id="3" name="Rectangle: Rounded Corners 2">
            <a:extLst>
              <a:ext uri="{FF2B5EF4-FFF2-40B4-BE49-F238E27FC236}">
                <a16:creationId xmlns:a16="http://schemas.microsoft.com/office/drawing/2014/main" id="{CBB32042-9DA8-4772-82E8-11764D8FC6B3}"/>
              </a:ext>
            </a:extLst>
          </p:cNvPr>
          <p:cNvSpPr/>
          <p:nvPr/>
        </p:nvSpPr>
        <p:spPr>
          <a:xfrm>
            <a:off x="108514" y="306012"/>
            <a:ext cx="5623543" cy="4951212"/>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5" name="TextBox 4">
            <a:extLst>
              <a:ext uri="{FF2B5EF4-FFF2-40B4-BE49-F238E27FC236}">
                <a16:creationId xmlns:a16="http://schemas.microsoft.com/office/drawing/2014/main" id="{68DEAAEF-3C90-4CA4-9087-A6B599315DD2}"/>
              </a:ext>
            </a:extLst>
          </p:cNvPr>
          <p:cNvSpPr txBox="1"/>
          <p:nvPr/>
        </p:nvSpPr>
        <p:spPr>
          <a:xfrm>
            <a:off x="1549744" y="36985"/>
            <a:ext cx="2343590" cy="236347"/>
          </a:xfrm>
          <a:prstGeom prst="rect">
            <a:avLst/>
          </a:prstGeom>
        </p:spPr>
        <p:txBody>
          <a:bodyPr wrap="none" lIns="0" tIns="0" rIns="0" bIns="0" rtlCol="0">
            <a:spAutoFit/>
          </a:bodyPr>
          <a:lstStyle/>
          <a:p>
            <a:pPr algn="l">
              <a:lnSpc>
                <a:spcPct val="96000"/>
              </a:lnSpc>
            </a:pPr>
            <a:r>
              <a:rPr lang="en-US" sz="1600" b="1">
                <a:solidFill>
                  <a:schemeClr val="accent1"/>
                </a:solidFill>
                <a:latin typeface="Microsoft Sans Serif"/>
                <a:cs typeface="Microsoft Sans Serif" panose="020B0604020202020204" pitchFamily="34" charset="0"/>
              </a:rPr>
              <a:t>Focus of this presentation</a:t>
            </a:r>
          </a:p>
        </p:txBody>
      </p:sp>
      <p:grpSp>
        <p:nvGrpSpPr>
          <p:cNvPr id="186" name="Group 185">
            <a:extLst>
              <a:ext uri="{FF2B5EF4-FFF2-40B4-BE49-F238E27FC236}">
                <a16:creationId xmlns:a16="http://schemas.microsoft.com/office/drawing/2014/main" id="{B14160FD-FDA0-49DB-B839-8FC14B555EDB}"/>
              </a:ext>
            </a:extLst>
          </p:cNvPr>
          <p:cNvGrpSpPr/>
          <p:nvPr/>
        </p:nvGrpSpPr>
        <p:grpSpPr>
          <a:xfrm>
            <a:off x="4179402" y="4457878"/>
            <a:ext cx="412626" cy="255643"/>
            <a:chOff x="16516350" y="0"/>
            <a:chExt cx="11074400" cy="6861175"/>
          </a:xfrm>
        </p:grpSpPr>
        <p:sp>
          <p:nvSpPr>
            <p:cNvPr id="187" name="Freeform 5">
              <a:extLst>
                <a:ext uri="{FF2B5EF4-FFF2-40B4-BE49-F238E27FC236}">
                  <a16:creationId xmlns:a16="http://schemas.microsoft.com/office/drawing/2014/main" id="{94C004A3-F71C-4F2D-8B38-69972FB6C16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8" name="Freeform 6">
              <a:extLst>
                <a:ext uri="{FF2B5EF4-FFF2-40B4-BE49-F238E27FC236}">
                  <a16:creationId xmlns:a16="http://schemas.microsoft.com/office/drawing/2014/main" id="{19127074-8B36-4B83-B99C-A93A91E41EF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9" name="Freeform 7">
              <a:extLst>
                <a:ext uri="{FF2B5EF4-FFF2-40B4-BE49-F238E27FC236}">
                  <a16:creationId xmlns:a16="http://schemas.microsoft.com/office/drawing/2014/main" id="{878DD15A-7FED-44BB-A639-40ADAFA21858}"/>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0" name="Freeform 8">
              <a:extLst>
                <a:ext uri="{FF2B5EF4-FFF2-40B4-BE49-F238E27FC236}">
                  <a16:creationId xmlns:a16="http://schemas.microsoft.com/office/drawing/2014/main" id="{FAC3D4D0-8CAE-4123-A796-6697C1915D0B}"/>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91" name="Group 190">
            <a:extLst>
              <a:ext uri="{FF2B5EF4-FFF2-40B4-BE49-F238E27FC236}">
                <a16:creationId xmlns:a16="http://schemas.microsoft.com/office/drawing/2014/main" id="{DD20B6FE-8E30-49C7-976E-82492F87C560}"/>
              </a:ext>
            </a:extLst>
          </p:cNvPr>
          <p:cNvGrpSpPr/>
          <p:nvPr/>
        </p:nvGrpSpPr>
        <p:grpSpPr>
          <a:xfrm>
            <a:off x="3479169" y="3207003"/>
            <a:ext cx="249989" cy="354658"/>
            <a:chOff x="6911903" y="1228430"/>
            <a:chExt cx="618756" cy="877824"/>
          </a:xfrm>
        </p:grpSpPr>
        <p:sp>
          <p:nvSpPr>
            <p:cNvPr id="192" name="Freeform 25">
              <a:extLst>
                <a:ext uri="{FF2B5EF4-FFF2-40B4-BE49-F238E27FC236}">
                  <a16:creationId xmlns:a16="http://schemas.microsoft.com/office/drawing/2014/main" id="{012190DA-3B95-4BF5-BB36-58B5D91094EA}"/>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3" name="Oval 26">
              <a:extLst>
                <a:ext uri="{FF2B5EF4-FFF2-40B4-BE49-F238E27FC236}">
                  <a16:creationId xmlns:a16="http://schemas.microsoft.com/office/drawing/2014/main" id="{FA52EE95-BC5C-4F4F-8E6B-AF4937293225}"/>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4" name="Oval 27">
              <a:extLst>
                <a:ext uri="{FF2B5EF4-FFF2-40B4-BE49-F238E27FC236}">
                  <a16:creationId xmlns:a16="http://schemas.microsoft.com/office/drawing/2014/main" id="{7F872D01-15C0-4B12-98CF-1EB0AD93FE7C}"/>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5" name="Freeform 28">
              <a:extLst>
                <a:ext uri="{FF2B5EF4-FFF2-40B4-BE49-F238E27FC236}">
                  <a16:creationId xmlns:a16="http://schemas.microsoft.com/office/drawing/2014/main" id="{7C7E6438-0ACC-4393-8DA5-2FF9ACD01FF4}"/>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96" name="TextBox 195">
            <a:extLst>
              <a:ext uri="{FF2B5EF4-FFF2-40B4-BE49-F238E27FC236}">
                <a16:creationId xmlns:a16="http://schemas.microsoft.com/office/drawing/2014/main" id="{160F8C32-773D-4AA8-B96C-DA00B76B2597}"/>
              </a:ext>
            </a:extLst>
          </p:cNvPr>
          <p:cNvSpPr txBox="1"/>
          <p:nvPr/>
        </p:nvSpPr>
        <p:spPr>
          <a:xfrm>
            <a:off x="6417284" y="1067339"/>
            <a:ext cx="6098958"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Operator spectrum (</a:t>
            </a:r>
            <a:r>
              <a:rPr lang="en-US" sz="1600" b="1">
                <a:solidFill>
                  <a:schemeClr val="accent1"/>
                </a:solidFill>
                <a:latin typeface="Qualcomm Office Regular" panose="020B0503030202060203" pitchFamily="34" charset="0"/>
                <a:cs typeface="Microsoft Sans Serif" panose="020B0604020202020204" pitchFamily="34" charset="0"/>
              </a:rPr>
              <a:t>IMT</a:t>
            </a:r>
            <a:r>
              <a:rPr lang="en-US" sz="1600">
                <a:solidFill>
                  <a:schemeClr val="accent5"/>
                </a:solidFill>
                <a:latin typeface="Qualcomm Office Regular" panose="020B0503030202060203" pitchFamily="34" charset="0"/>
                <a:cs typeface="Microsoft Sans Serif" panose="020B0604020202020204" pitchFamily="34" charset="0"/>
              </a:rPr>
              <a: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Integration with </a:t>
            </a:r>
            <a:r>
              <a:rPr lang="en-US" sz="1600" b="1">
                <a:solidFill>
                  <a:schemeClr val="accent1"/>
                </a:solidFill>
                <a:latin typeface="Qualcomm Office Regular" panose="020B0503030202060203" pitchFamily="34" charset="0"/>
                <a:cs typeface="Microsoft Sans Serif" panose="020B0604020202020204" pitchFamily="34" charset="0"/>
              </a:rPr>
              <a:t>unicast</a:t>
            </a:r>
            <a:r>
              <a:rPr lang="en-US" sz="1600">
                <a:solidFill>
                  <a:schemeClr val="accent5"/>
                </a:solidFill>
                <a:latin typeface="Qualcomm Office Regular" panose="020B0503030202060203" pitchFamily="34" charset="0"/>
                <a:cs typeface="Microsoft Sans Serif" panose="020B0604020202020204" pitchFamily="34" charset="0"/>
              </a:rPr>
              <a:t> network</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Efficient delivery of multicast/broadcast traffic (vs unicas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Reuse of cellular infrastructure (</a:t>
            </a:r>
            <a:r>
              <a:rPr lang="en-US" sz="1600" b="1">
                <a:solidFill>
                  <a:schemeClr val="accent1"/>
                </a:solidFill>
                <a:latin typeface="Qualcomm Office Regular" panose="020B0503030202060203" pitchFamily="34" charset="0"/>
                <a:cs typeface="Microsoft Sans Serif" panose="020B0604020202020204" pitchFamily="34" charset="0"/>
              </a:rPr>
              <a:t>low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198" name="TextBox 197">
            <a:extLst>
              <a:ext uri="{FF2B5EF4-FFF2-40B4-BE49-F238E27FC236}">
                <a16:creationId xmlns:a16="http://schemas.microsoft.com/office/drawing/2014/main" id="{BC51BF04-A9A8-40B7-B103-04B59E02D051}"/>
              </a:ext>
            </a:extLst>
          </p:cNvPr>
          <p:cNvSpPr txBox="1"/>
          <p:nvPr/>
        </p:nvSpPr>
        <p:spPr>
          <a:xfrm>
            <a:off x="293349" y="1139888"/>
            <a:ext cx="6258756"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Broadcast spectrum (e.g. </a:t>
            </a:r>
            <a:r>
              <a:rPr lang="en-US" sz="1600" b="1">
                <a:solidFill>
                  <a:schemeClr val="accent1"/>
                </a:solidFill>
                <a:latin typeface="Qualcomm Office Regular" panose="020B0503030202060203" pitchFamily="34" charset="0"/>
                <a:cs typeface="Microsoft Sans Serif" panose="020B0604020202020204" pitchFamily="34" charset="0"/>
              </a:rPr>
              <a:t>UHF</a:t>
            </a:r>
            <a:r>
              <a:rPr lang="en-US" sz="1600">
                <a:solidFill>
                  <a:schemeClr val="accent5"/>
                </a:solidFill>
                <a:latin typeface="Qualcomm Office Regular" panose="020B0503030202060203" pitchFamily="34" charset="0"/>
                <a:cs typeface="Microsoft Sans Serif" panose="020B0604020202020204" pitchFamily="34" charset="0"/>
              </a:rPr>
              <a:t>) </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No unicast. </a:t>
            </a:r>
            <a:r>
              <a:rPr lang="en-US" sz="1600" b="1">
                <a:solidFill>
                  <a:schemeClr val="accent1"/>
                </a:solidFill>
                <a:latin typeface="Qualcomm Office Regular" panose="020B0503030202060203" pitchFamily="34" charset="0"/>
                <a:cs typeface="Microsoft Sans Serif" panose="020B0604020202020204" pitchFamily="34" charset="0"/>
              </a:rPr>
              <a:t>Downlink – only </a:t>
            </a:r>
            <a:r>
              <a:rPr lang="en-US" sz="1600">
                <a:solidFill>
                  <a:schemeClr val="accent5"/>
                </a:solidFill>
                <a:latin typeface="Qualcomm Office Regular" panose="020B0503030202060203" pitchFamily="34" charset="0"/>
                <a:cs typeface="Microsoft Sans Serif" panose="020B0604020202020204" pitchFamily="34" charset="0"/>
              </a:rPr>
              <a:t>traffic.</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livery of linear content (e.g. TV) or IP file delivery</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dicated broadcast infrastructure (can be </a:t>
            </a:r>
            <a:r>
              <a:rPr lang="en-US" sz="1600" b="1">
                <a:solidFill>
                  <a:schemeClr val="accent1"/>
                </a:solidFill>
                <a:latin typeface="Qualcomm Office Regular" panose="020B0503030202060203" pitchFamily="34" charset="0"/>
                <a:cs typeface="Microsoft Sans Serif" panose="020B0604020202020204" pitchFamily="34" charset="0"/>
              </a:rPr>
              <a:t>high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2" name="Footer Placeholder 1">
            <a:extLst>
              <a:ext uri="{FF2B5EF4-FFF2-40B4-BE49-F238E27FC236}">
                <a16:creationId xmlns:a16="http://schemas.microsoft.com/office/drawing/2014/main" id="{84C88B58-04A8-E263-D761-9D10BA72DA63}"/>
              </a:ext>
            </a:extLst>
          </p:cNvPr>
          <p:cNvSpPr>
            <a:spLocks noGrp="1"/>
          </p:cNvSpPr>
          <p:nvPr>
            <p:ph type="ftr" sz="quarter" idx="10"/>
          </p:nvPr>
        </p:nvSpPr>
        <p:spPr/>
        <p:txBody>
          <a:bodyPr/>
          <a:lstStyle/>
          <a:p>
            <a:r>
              <a:rPr lang="en-US"/>
              <a:t>5G Broadcast Conference</a:t>
            </a:r>
          </a:p>
        </p:txBody>
      </p:sp>
    </p:spTree>
    <p:extLst>
      <p:ext uri="{BB962C8B-B14F-4D97-AF65-F5344CB8AC3E}">
        <p14:creationId xmlns:p14="http://schemas.microsoft.com/office/powerpoint/2010/main" val="425885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41427-096A-2758-A727-B69030F2E69A}"/>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40BE9A0-7C21-4C9A-2F8D-4DFE4EE59436}"/>
              </a:ext>
            </a:extLst>
          </p:cNvPr>
          <p:cNvSpPr/>
          <p:nvPr/>
        </p:nvSpPr>
        <p:spPr>
          <a:xfrm>
            <a:off x="0" y="-26152"/>
            <a:ext cx="12192000" cy="1149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Title 3">
            <a:extLst>
              <a:ext uri="{FF2B5EF4-FFF2-40B4-BE49-F238E27FC236}">
                <a16:creationId xmlns:a16="http://schemas.microsoft.com/office/drawing/2014/main" id="{8DE3942E-C2C1-6538-2DE6-00B95C9C44BB}"/>
              </a:ext>
            </a:extLst>
          </p:cNvPr>
          <p:cNvSpPr txBox="1">
            <a:spLocks/>
          </p:cNvSpPr>
          <p:nvPr/>
        </p:nvSpPr>
        <p:spPr>
          <a:xfrm>
            <a:off x="293349" y="500265"/>
            <a:ext cx="11187112" cy="997694"/>
          </a:xfrm>
          <a:prstGeom prst="rect">
            <a:avLst/>
          </a:prstGeom>
        </p:spPr>
        <p:txBody>
          <a:bodyPr/>
          <a:lst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a:lstStyle>
          <a:p>
            <a:r>
              <a:rPr lang="en-US">
                <a:solidFill>
                  <a:schemeClr val="bg1"/>
                </a:solidFill>
              </a:rPr>
              <a:t>Trials and demonstrations - Americas</a:t>
            </a:r>
          </a:p>
        </p:txBody>
      </p:sp>
      <p:cxnSp>
        <p:nvCxnSpPr>
          <p:cNvPr id="16" name="Straight Connector 15">
            <a:extLst>
              <a:ext uri="{FF2B5EF4-FFF2-40B4-BE49-F238E27FC236}">
                <a16:creationId xmlns:a16="http://schemas.microsoft.com/office/drawing/2014/main" id="{3B0C16D1-7F74-DDBC-B601-8675017F3D5C}"/>
              </a:ext>
            </a:extLst>
          </p:cNvPr>
          <p:cNvCxnSpPr>
            <a:cxnSpLocks/>
          </p:cNvCxnSpPr>
          <p:nvPr/>
        </p:nvCxnSpPr>
        <p:spPr>
          <a:xfrm>
            <a:off x="8414022" y="1565250"/>
            <a:ext cx="3066439" cy="16895"/>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1143F97-1963-E920-EE21-4498358CD7C8}"/>
              </a:ext>
            </a:extLst>
          </p:cNvPr>
          <p:cNvSpPr txBox="1"/>
          <p:nvPr/>
        </p:nvSpPr>
        <p:spPr>
          <a:xfrm>
            <a:off x="11058311" y="1328017"/>
            <a:ext cx="374911" cy="236347"/>
          </a:xfrm>
          <a:prstGeom prst="rect">
            <a:avLst/>
          </a:prstGeom>
        </p:spPr>
        <p:txBody>
          <a:bodyPr wrap="squar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USA</a:t>
            </a:r>
          </a:p>
        </p:txBody>
      </p:sp>
      <p:cxnSp>
        <p:nvCxnSpPr>
          <p:cNvPr id="22" name="Straight Connector 21">
            <a:extLst>
              <a:ext uri="{FF2B5EF4-FFF2-40B4-BE49-F238E27FC236}">
                <a16:creationId xmlns:a16="http://schemas.microsoft.com/office/drawing/2014/main" id="{4C259655-9F2C-D314-B324-6610A41A8567}"/>
              </a:ext>
            </a:extLst>
          </p:cNvPr>
          <p:cNvCxnSpPr>
            <a:cxnSpLocks/>
          </p:cNvCxnSpPr>
          <p:nvPr/>
        </p:nvCxnSpPr>
        <p:spPr>
          <a:xfrm>
            <a:off x="338561" y="2668634"/>
            <a:ext cx="2126419" cy="13607"/>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9C9399D-AF72-6170-3130-429607C65B62}"/>
              </a:ext>
            </a:extLst>
          </p:cNvPr>
          <p:cNvSpPr txBox="1"/>
          <p:nvPr/>
        </p:nvSpPr>
        <p:spPr>
          <a:xfrm>
            <a:off x="338561" y="2445894"/>
            <a:ext cx="628505"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Mexico</a:t>
            </a:r>
          </a:p>
        </p:txBody>
      </p:sp>
      <p:cxnSp>
        <p:nvCxnSpPr>
          <p:cNvPr id="24" name="Straight Connector 23">
            <a:extLst>
              <a:ext uri="{FF2B5EF4-FFF2-40B4-BE49-F238E27FC236}">
                <a16:creationId xmlns:a16="http://schemas.microsoft.com/office/drawing/2014/main" id="{511E9A27-8757-2762-D638-D3B52F834BBE}"/>
              </a:ext>
            </a:extLst>
          </p:cNvPr>
          <p:cNvCxnSpPr>
            <a:cxnSpLocks/>
          </p:cNvCxnSpPr>
          <p:nvPr/>
        </p:nvCxnSpPr>
        <p:spPr>
          <a:xfrm>
            <a:off x="259034" y="4014186"/>
            <a:ext cx="2734016" cy="0"/>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73B8749-93D2-39F4-D77C-A9BDBAAC7F3F}"/>
              </a:ext>
            </a:extLst>
          </p:cNvPr>
          <p:cNvSpPr txBox="1"/>
          <p:nvPr/>
        </p:nvSpPr>
        <p:spPr>
          <a:xfrm>
            <a:off x="259034" y="3791446"/>
            <a:ext cx="872034"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Colombia</a:t>
            </a:r>
          </a:p>
        </p:txBody>
      </p:sp>
      <p:cxnSp>
        <p:nvCxnSpPr>
          <p:cNvPr id="26" name="Straight Connector 25">
            <a:extLst>
              <a:ext uri="{FF2B5EF4-FFF2-40B4-BE49-F238E27FC236}">
                <a16:creationId xmlns:a16="http://schemas.microsoft.com/office/drawing/2014/main" id="{3F4B383D-FEAA-4990-B5BC-7AED70A393FC}"/>
              </a:ext>
            </a:extLst>
          </p:cNvPr>
          <p:cNvCxnSpPr>
            <a:cxnSpLocks/>
          </p:cNvCxnSpPr>
          <p:nvPr/>
        </p:nvCxnSpPr>
        <p:spPr>
          <a:xfrm>
            <a:off x="8564166" y="4395119"/>
            <a:ext cx="2916295" cy="25087"/>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838D4D2-E8B2-B8DA-0C32-D60DEE8D7114}"/>
              </a:ext>
            </a:extLst>
          </p:cNvPr>
          <p:cNvSpPr txBox="1"/>
          <p:nvPr/>
        </p:nvSpPr>
        <p:spPr>
          <a:xfrm>
            <a:off x="10922815" y="4156090"/>
            <a:ext cx="487634" cy="236347"/>
          </a:xfrm>
          <a:prstGeom prst="rect">
            <a:avLst/>
          </a:prstGeom>
        </p:spPr>
        <p:txBody>
          <a:bodyPr wrap="none" lIns="0" tIns="0" rIns="0" bIns="0" rtlCol="0">
            <a:spAutoFit/>
          </a:bodyPr>
          <a:lstStyle/>
          <a:p>
            <a:pPr algn="l">
              <a:lnSpc>
                <a:spcPct val="96000"/>
              </a:lnSpc>
            </a:pPr>
            <a:r>
              <a:rPr lang="en-US" sz="1600">
                <a:solidFill>
                  <a:srgbClr val="000000"/>
                </a:solidFill>
                <a:latin typeface="Aptos" panose="020B0004020202020204" pitchFamily="34" charset="0"/>
                <a:cs typeface="Microsoft Sans Serif" panose="020B0604020202020204" pitchFamily="34" charset="0"/>
              </a:rPr>
              <a:t>Brazil</a:t>
            </a:r>
          </a:p>
        </p:txBody>
      </p:sp>
      <p:sp>
        <p:nvSpPr>
          <p:cNvPr id="1051" name="Freeform 102">
            <a:extLst>
              <a:ext uri="{FF2B5EF4-FFF2-40B4-BE49-F238E27FC236}">
                <a16:creationId xmlns:a16="http://schemas.microsoft.com/office/drawing/2014/main" id="{F7D053D1-0248-8F9A-BC57-65716484AAF2}"/>
              </a:ext>
            </a:extLst>
          </p:cNvPr>
          <p:cNvSpPr>
            <a:spLocks noChangeArrowheads="1"/>
          </p:cNvSpPr>
          <p:nvPr/>
        </p:nvSpPr>
        <p:spPr bwMode="auto">
          <a:xfrm>
            <a:off x="5823812" y="4444971"/>
            <a:ext cx="1196712" cy="1220617"/>
          </a:xfrm>
          <a:custGeom>
            <a:avLst/>
            <a:gdLst>
              <a:gd name="T0" fmla="*/ 2051 w 3753"/>
              <a:gd name="T1" fmla="*/ 3675 h 3826"/>
              <a:gd name="T2" fmla="*/ 2151 w 3753"/>
              <a:gd name="T3" fmla="*/ 3550 h 3826"/>
              <a:gd name="T4" fmla="*/ 2376 w 3753"/>
              <a:gd name="T5" fmla="*/ 3300 h 3826"/>
              <a:gd name="T6" fmla="*/ 2427 w 3753"/>
              <a:gd name="T7" fmla="*/ 2950 h 3826"/>
              <a:gd name="T8" fmla="*/ 2727 w 3753"/>
              <a:gd name="T9" fmla="*/ 2775 h 3826"/>
              <a:gd name="T10" fmla="*/ 3027 w 3753"/>
              <a:gd name="T11" fmla="*/ 2700 h 3826"/>
              <a:gd name="T12" fmla="*/ 3176 w 3753"/>
              <a:gd name="T13" fmla="*/ 2500 h 3826"/>
              <a:gd name="T14" fmla="*/ 3252 w 3753"/>
              <a:gd name="T15" fmla="*/ 2250 h 3826"/>
              <a:gd name="T16" fmla="*/ 3327 w 3753"/>
              <a:gd name="T17" fmla="*/ 1900 h 3826"/>
              <a:gd name="T18" fmla="*/ 3352 w 3753"/>
              <a:gd name="T19" fmla="*/ 1700 h 3826"/>
              <a:gd name="T20" fmla="*/ 3576 w 3753"/>
              <a:gd name="T21" fmla="*/ 1500 h 3826"/>
              <a:gd name="T22" fmla="*/ 3601 w 3753"/>
              <a:gd name="T23" fmla="*/ 1000 h 3826"/>
              <a:gd name="T24" fmla="*/ 2927 w 3753"/>
              <a:gd name="T25" fmla="*/ 750 h 3826"/>
              <a:gd name="T26" fmla="*/ 2601 w 3753"/>
              <a:gd name="T27" fmla="*/ 574 h 3826"/>
              <a:gd name="T28" fmla="*/ 2327 w 3753"/>
              <a:gd name="T29" fmla="*/ 674 h 3826"/>
              <a:gd name="T30" fmla="*/ 2176 w 3753"/>
              <a:gd name="T31" fmla="*/ 574 h 3826"/>
              <a:gd name="T32" fmla="*/ 2201 w 3753"/>
              <a:gd name="T33" fmla="*/ 274 h 3826"/>
              <a:gd name="T34" fmla="*/ 1926 w 3753"/>
              <a:gd name="T35" fmla="*/ 300 h 3826"/>
              <a:gd name="T36" fmla="*/ 1701 w 3753"/>
              <a:gd name="T37" fmla="*/ 325 h 3826"/>
              <a:gd name="T38" fmla="*/ 1476 w 3753"/>
              <a:gd name="T39" fmla="*/ 374 h 3826"/>
              <a:gd name="T40" fmla="*/ 1351 w 3753"/>
              <a:gd name="T41" fmla="*/ 100 h 3826"/>
              <a:gd name="T42" fmla="*/ 1126 w 3753"/>
              <a:gd name="T43" fmla="*/ 100 h 3826"/>
              <a:gd name="T44" fmla="*/ 951 w 3753"/>
              <a:gd name="T45" fmla="*/ 125 h 3826"/>
              <a:gd name="T46" fmla="*/ 951 w 3753"/>
              <a:gd name="T47" fmla="*/ 250 h 3826"/>
              <a:gd name="T48" fmla="*/ 926 w 3753"/>
              <a:gd name="T49" fmla="*/ 350 h 3826"/>
              <a:gd name="T50" fmla="*/ 751 w 3753"/>
              <a:gd name="T51" fmla="*/ 425 h 3826"/>
              <a:gd name="T52" fmla="*/ 526 w 3753"/>
              <a:gd name="T53" fmla="*/ 350 h 3826"/>
              <a:gd name="T54" fmla="*/ 426 w 3753"/>
              <a:gd name="T55" fmla="*/ 450 h 3826"/>
              <a:gd name="T56" fmla="*/ 400 w 3753"/>
              <a:gd name="T57" fmla="*/ 774 h 3826"/>
              <a:gd name="T58" fmla="*/ 176 w 3753"/>
              <a:gd name="T59" fmla="*/ 950 h 3826"/>
              <a:gd name="T60" fmla="*/ 26 w 3753"/>
              <a:gd name="T61" fmla="*/ 1150 h 3826"/>
              <a:gd name="T62" fmla="*/ 76 w 3753"/>
              <a:gd name="T63" fmla="*/ 1375 h 3826"/>
              <a:gd name="T64" fmla="*/ 276 w 3753"/>
              <a:gd name="T65" fmla="*/ 1450 h 3826"/>
              <a:gd name="T66" fmla="*/ 451 w 3753"/>
              <a:gd name="T67" fmla="*/ 1550 h 3826"/>
              <a:gd name="T68" fmla="*/ 726 w 3753"/>
              <a:gd name="T69" fmla="*/ 1450 h 3826"/>
              <a:gd name="T70" fmla="*/ 951 w 3753"/>
              <a:gd name="T71" fmla="*/ 1700 h 3826"/>
              <a:gd name="T72" fmla="*/ 1151 w 3753"/>
              <a:gd name="T73" fmla="*/ 1775 h 3826"/>
              <a:gd name="T74" fmla="*/ 1301 w 3753"/>
              <a:gd name="T75" fmla="*/ 1950 h 3826"/>
              <a:gd name="T76" fmla="*/ 1476 w 3753"/>
              <a:gd name="T77" fmla="*/ 2125 h 3826"/>
              <a:gd name="T78" fmla="*/ 1501 w 3753"/>
              <a:gd name="T79" fmla="*/ 2400 h 3826"/>
              <a:gd name="T80" fmla="*/ 1576 w 3753"/>
              <a:gd name="T81" fmla="*/ 2625 h 3826"/>
              <a:gd name="T82" fmla="*/ 1776 w 3753"/>
              <a:gd name="T83" fmla="*/ 2825 h 3826"/>
              <a:gd name="T84" fmla="*/ 1901 w 3753"/>
              <a:gd name="T85" fmla="*/ 2975 h 3826"/>
              <a:gd name="T86" fmla="*/ 1626 w 3753"/>
              <a:gd name="T87" fmla="*/ 3350 h 3826"/>
              <a:gd name="T88" fmla="*/ 1651 w 3753"/>
              <a:gd name="T89" fmla="*/ 3475 h 3826"/>
              <a:gd name="T90" fmla="*/ 1851 w 3753"/>
              <a:gd name="T91" fmla="*/ 3625 h 3826"/>
              <a:gd name="T92" fmla="*/ 1976 w 3753"/>
              <a:gd name="T93" fmla="*/ 3801 h 3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53" h="3826">
                <a:moveTo>
                  <a:pt x="1976" y="3801"/>
                </a:moveTo>
                <a:lnTo>
                  <a:pt x="1976" y="3801"/>
                </a:lnTo>
                <a:cubicBezTo>
                  <a:pt x="2026" y="3750"/>
                  <a:pt x="2026" y="3725"/>
                  <a:pt x="2051" y="3675"/>
                </a:cubicBezTo>
                <a:cubicBezTo>
                  <a:pt x="2076" y="3625"/>
                  <a:pt x="2051" y="3601"/>
                  <a:pt x="2101" y="3550"/>
                </a:cubicBezTo>
                <a:cubicBezTo>
                  <a:pt x="2151" y="3525"/>
                  <a:pt x="2101" y="3475"/>
                  <a:pt x="2151" y="3450"/>
                </a:cubicBezTo>
                <a:cubicBezTo>
                  <a:pt x="2201" y="3425"/>
                  <a:pt x="2201" y="3475"/>
                  <a:pt x="2151" y="3550"/>
                </a:cubicBezTo>
                <a:cubicBezTo>
                  <a:pt x="2101" y="3601"/>
                  <a:pt x="2101" y="3625"/>
                  <a:pt x="2151" y="3575"/>
                </a:cubicBezTo>
                <a:cubicBezTo>
                  <a:pt x="2226" y="3525"/>
                  <a:pt x="2251" y="3475"/>
                  <a:pt x="2276" y="3400"/>
                </a:cubicBezTo>
                <a:cubicBezTo>
                  <a:pt x="2327" y="3325"/>
                  <a:pt x="2351" y="3300"/>
                  <a:pt x="2376" y="3300"/>
                </a:cubicBezTo>
                <a:cubicBezTo>
                  <a:pt x="2401" y="3275"/>
                  <a:pt x="2401" y="3200"/>
                  <a:pt x="2401" y="3150"/>
                </a:cubicBezTo>
                <a:cubicBezTo>
                  <a:pt x="2401" y="3100"/>
                  <a:pt x="2376" y="3050"/>
                  <a:pt x="2401" y="3025"/>
                </a:cubicBezTo>
                <a:cubicBezTo>
                  <a:pt x="2427" y="2975"/>
                  <a:pt x="2401" y="2950"/>
                  <a:pt x="2427" y="2950"/>
                </a:cubicBezTo>
                <a:cubicBezTo>
                  <a:pt x="2451" y="2950"/>
                  <a:pt x="2501" y="2900"/>
                  <a:pt x="2551" y="2850"/>
                </a:cubicBezTo>
                <a:cubicBezTo>
                  <a:pt x="2601" y="2800"/>
                  <a:pt x="2627" y="2800"/>
                  <a:pt x="2676" y="2800"/>
                </a:cubicBezTo>
                <a:cubicBezTo>
                  <a:pt x="2727" y="2800"/>
                  <a:pt x="2701" y="2775"/>
                  <a:pt x="2727" y="2775"/>
                </a:cubicBezTo>
                <a:cubicBezTo>
                  <a:pt x="2751" y="2775"/>
                  <a:pt x="2776" y="2725"/>
                  <a:pt x="2801" y="2725"/>
                </a:cubicBezTo>
                <a:cubicBezTo>
                  <a:pt x="2827" y="2700"/>
                  <a:pt x="2901" y="2725"/>
                  <a:pt x="2951" y="2725"/>
                </a:cubicBezTo>
                <a:cubicBezTo>
                  <a:pt x="3001" y="2725"/>
                  <a:pt x="3027" y="2725"/>
                  <a:pt x="3027" y="2700"/>
                </a:cubicBezTo>
                <a:cubicBezTo>
                  <a:pt x="3027" y="2650"/>
                  <a:pt x="3051" y="2625"/>
                  <a:pt x="3101" y="2625"/>
                </a:cubicBezTo>
                <a:cubicBezTo>
                  <a:pt x="3127" y="2625"/>
                  <a:pt x="3127" y="2625"/>
                  <a:pt x="3127" y="2575"/>
                </a:cubicBezTo>
                <a:cubicBezTo>
                  <a:pt x="3127" y="2550"/>
                  <a:pt x="3151" y="2525"/>
                  <a:pt x="3176" y="2500"/>
                </a:cubicBezTo>
                <a:cubicBezTo>
                  <a:pt x="3201" y="2475"/>
                  <a:pt x="3201" y="2450"/>
                  <a:pt x="3201" y="2425"/>
                </a:cubicBezTo>
                <a:cubicBezTo>
                  <a:pt x="3227" y="2375"/>
                  <a:pt x="3252" y="2400"/>
                  <a:pt x="3252" y="2375"/>
                </a:cubicBezTo>
                <a:cubicBezTo>
                  <a:pt x="3252" y="2325"/>
                  <a:pt x="3252" y="2275"/>
                  <a:pt x="3252" y="2250"/>
                </a:cubicBezTo>
                <a:cubicBezTo>
                  <a:pt x="3252" y="2225"/>
                  <a:pt x="3301" y="2225"/>
                  <a:pt x="3301" y="2199"/>
                </a:cubicBezTo>
                <a:cubicBezTo>
                  <a:pt x="3327" y="2175"/>
                  <a:pt x="3301" y="2150"/>
                  <a:pt x="3327" y="2075"/>
                </a:cubicBezTo>
                <a:cubicBezTo>
                  <a:pt x="3327" y="2025"/>
                  <a:pt x="3327" y="1950"/>
                  <a:pt x="3327" y="1900"/>
                </a:cubicBezTo>
                <a:cubicBezTo>
                  <a:pt x="3327" y="1850"/>
                  <a:pt x="3327" y="1775"/>
                  <a:pt x="3327" y="1750"/>
                </a:cubicBezTo>
                <a:cubicBezTo>
                  <a:pt x="3352" y="1750"/>
                  <a:pt x="3352" y="1725"/>
                  <a:pt x="3327" y="1725"/>
                </a:cubicBezTo>
                <a:cubicBezTo>
                  <a:pt x="3301" y="1725"/>
                  <a:pt x="3327" y="1700"/>
                  <a:pt x="3352" y="1700"/>
                </a:cubicBezTo>
                <a:cubicBezTo>
                  <a:pt x="3352" y="1700"/>
                  <a:pt x="3376" y="1725"/>
                  <a:pt x="3401" y="1725"/>
                </a:cubicBezTo>
                <a:cubicBezTo>
                  <a:pt x="3427" y="1700"/>
                  <a:pt x="3452" y="1625"/>
                  <a:pt x="3476" y="1575"/>
                </a:cubicBezTo>
                <a:cubicBezTo>
                  <a:pt x="3501" y="1500"/>
                  <a:pt x="3552" y="1525"/>
                  <a:pt x="3576" y="1500"/>
                </a:cubicBezTo>
                <a:cubicBezTo>
                  <a:pt x="3601" y="1500"/>
                  <a:pt x="3652" y="1425"/>
                  <a:pt x="3701" y="1325"/>
                </a:cubicBezTo>
                <a:cubicBezTo>
                  <a:pt x="3752" y="1225"/>
                  <a:pt x="3701" y="1125"/>
                  <a:pt x="3676" y="1050"/>
                </a:cubicBezTo>
                <a:cubicBezTo>
                  <a:pt x="3676" y="974"/>
                  <a:pt x="3652" y="974"/>
                  <a:pt x="3601" y="1000"/>
                </a:cubicBezTo>
                <a:cubicBezTo>
                  <a:pt x="3552" y="1000"/>
                  <a:pt x="3476" y="974"/>
                  <a:pt x="3376" y="874"/>
                </a:cubicBezTo>
                <a:cubicBezTo>
                  <a:pt x="3276" y="750"/>
                  <a:pt x="3176" y="774"/>
                  <a:pt x="3101" y="774"/>
                </a:cubicBezTo>
                <a:cubicBezTo>
                  <a:pt x="3027" y="799"/>
                  <a:pt x="2951" y="750"/>
                  <a:pt x="2927" y="750"/>
                </a:cubicBezTo>
                <a:cubicBezTo>
                  <a:pt x="2876" y="725"/>
                  <a:pt x="2827" y="774"/>
                  <a:pt x="2801" y="799"/>
                </a:cubicBezTo>
                <a:cubicBezTo>
                  <a:pt x="2751" y="799"/>
                  <a:pt x="2801" y="750"/>
                  <a:pt x="2801" y="700"/>
                </a:cubicBezTo>
                <a:cubicBezTo>
                  <a:pt x="2801" y="674"/>
                  <a:pt x="2676" y="625"/>
                  <a:pt x="2601" y="574"/>
                </a:cubicBezTo>
                <a:cubicBezTo>
                  <a:pt x="2501" y="550"/>
                  <a:pt x="2451" y="550"/>
                  <a:pt x="2451" y="625"/>
                </a:cubicBezTo>
                <a:cubicBezTo>
                  <a:pt x="2451" y="674"/>
                  <a:pt x="2427" y="600"/>
                  <a:pt x="2376" y="674"/>
                </a:cubicBezTo>
                <a:cubicBezTo>
                  <a:pt x="2351" y="725"/>
                  <a:pt x="2301" y="674"/>
                  <a:pt x="2327" y="674"/>
                </a:cubicBezTo>
                <a:cubicBezTo>
                  <a:pt x="2376" y="650"/>
                  <a:pt x="2401" y="600"/>
                  <a:pt x="2427" y="550"/>
                </a:cubicBezTo>
                <a:cubicBezTo>
                  <a:pt x="2427" y="525"/>
                  <a:pt x="2276" y="474"/>
                  <a:pt x="2226" y="500"/>
                </a:cubicBezTo>
                <a:cubicBezTo>
                  <a:pt x="2176" y="525"/>
                  <a:pt x="2201" y="600"/>
                  <a:pt x="2176" y="574"/>
                </a:cubicBezTo>
                <a:cubicBezTo>
                  <a:pt x="2126" y="550"/>
                  <a:pt x="2151" y="500"/>
                  <a:pt x="2201" y="500"/>
                </a:cubicBezTo>
                <a:cubicBezTo>
                  <a:pt x="2226" y="500"/>
                  <a:pt x="2276" y="425"/>
                  <a:pt x="2276" y="374"/>
                </a:cubicBezTo>
                <a:cubicBezTo>
                  <a:pt x="2301" y="325"/>
                  <a:pt x="2251" y="325"/>
                  <a:pt x="2201" y="274"/>
                </a:cubicBezTo>
                <a:cubicBezTo>
                  <a:pt x="2176" y="250"/>
                  <a:pt x="2176" y="125"/>
                  <a:pt x="2151" y="100"/>
                </a:cubicBezTo>
                <a:cubicBezTo>
                  <a:pt x="2101" y="150"/>
                  <a:pt x="2051" y="200"/>
                  <a:pt x="2026" y="250"/>
                </a:cubicBezTo>
                <a:cubicBezTo>
                  <a:pt x="2001" y="325"/>
                  <a:pt x="1976" y="274"/>
                  <a:pt x="1926" y="300"/>
                </a:cubicBezTo>
                <a:cubicBezTo>
                  <a:pt x="1876" y="325"/>
                  <a:pt x="1851" y="300"/>
                  <a:pt x="1851" y="274"/>
                </a:cubicBezTo>
                <a:cubicBezTo>
                  <a:pt x="1826" y="250"/>
                  <a:pt x="1776" y="274"/>
                  <a:pt x="1726" y="274"/>
                </a:cubicBezTo>
                <a:cubicBezTo>
                  <a:pt x="1701" y="274"/>
                  <a:pt x="1726" y="300"/>
                  <a:pt x="1701" y="325"/>
                </a:cubicBezTo>
                <a:cubicBezTo>
                  <a:pt x="1676" y="350"/>
                  <a:pt x="1601" y="300"/>
                  <a:pt x="1576" y="325"/>
                </a:cubicBezTo>
                <a:cubicBezTo>
                  <a:pt x="1551" y="350"/>
                  <a:pt x="1551" y="325"/>
                  <a:pt x="1526" y="350"/>
                </a:cubicBezTo>
                <a:cubicBezTo>
                  <a:pt x="1526" y="374"/>
                  <a:pt x="1476" y="350"/>
                  <a:pt x="1476" y="374"/>
                </a:cubicBezTo>
                <a:cubicBezTo>
                  <a:pt x="1451" y="374"/>
                  <a:pt x="1426" y="400"/>
                  <a:pt x="1376" y="325"/>
                </a:cubicBezTo>
                <a:cubicBezTo>
                  <a:pt x="1326" y="274"/>
                  <a:pt x="1326" y="174"/>
                  <a:pt x="1351" y="174"/>
                </a:cubicBezTo>
                <a:cubicBezTo>
                  <a:pt x="1376" y="150"/>
                  <a:pt x="1376" y="100"/>
                  <a:pt x="1351" y="100"/>
                </a:cubicBezTo>
                <a:cubicBezTo>
                  <a:pt x="1301" y="74"/>
                  <a:pt x="1351" y="25"/>
                  <a:pt x="1301" y="0"/>
                </a:cubicBezTo>
                <a:cubicBezTo>
                  <a:pt x="1276" y="0"/>
                  <a:pt x="1276" y="50"/>
                  <a:pt x="1251" y="74"/>
                </a:cubicBezTo>
                <a:cubicBezTo>
                  <a:pt x="1226" y="74"/>
                  <a:pt x="1151" y="125"/>
                  <a:pt x="1126" y="100"/>
                </a:cubicBezTo>
                <a:cubicBezTo>
                  <a:pt x="1101" y="100"/>
                  <a:pt x="1076" y="125"/>
                  <a:pt x="1076" y="150"/>
                </a:cubicBezTo>
                <a:cubicBezTo>
                  <a:pt x="1076" y="174"/>
                  <a:pt x="1026" y="174"/>
                  <a:pt x="1026" y="150"/>
                </a:cubicBezTo>
                <a:cubicBezTo>
                  <a:pt x="1026" y="125"/>
                  <a:pt x="951" y="125"/>
                  <a:pt x="951" y="125"/>
                </a:cubicBezTo>
                <a:cubicBezTo>
                  <a:pt x="926" y="100"/>
                  <a:pt x="851" y="100"/>
                  <a:pt x="876" y="125"/>
                </a:cubicBezTo>
                <a:cubicBezTo>
                  <a:pt x="926" y="150"/>
                  <a:pt x="926" y="174"/>
                  <a:pt x="926" y="200"/>
                </a:cubicBezTo>
                <a:cubicBezTo>
                  <a:pt x="926" y="225"/>
                  <a:pt x="951" y="225"/>
                  <a:pt x="951" y="250"/>
                </a:cubicBezTo>
                <a:cubicBezTo>
                  <a:pt x="951" y="300"/>
                  <a:pt x="976" y="274"/>
                  <a:pt x="1001" y="274"/>
                </a:cubicBezTo>
                <a:cubicBezTo>
                  <a:pt x="1026" y="274"/>
                  <a:pt x="1026" y="300"/>
                  <a:pt x="976" y="300"/>
                </a:cubicBezTo>
                <a:cubicBezTo>
                  <a:pt x="951" y="300"/>
                  <a:pt x="926" y="325"/>
                  <a:pt x="926" y="350"/>
                </a:cubicBezTo>
                <a:cubicBezTo>
                  <a:pt x="926" y="374"/>
                  <a:pt x="901" y="374"/>
                  <a:pt x="876" y="374"/>
                </a:cubicBezTo>
                <a:cubicBezTo>
                  <a:pt x="851" y="400"/>
                  <a:pt x="826" y="425"/>
                  <a:pt x="801" y="425"/>
                </a:cubicBezTo>
                <a:cubicBezTo>
                  <a:pt x="776" y="400"/>
                  <a:pt x="776" y="425"/>
                  <a:pt x="751" y="425"/>
                </a:cubicBezTo>
                <a:cubicBezTo>
                  <a:pt x="726" y="450"/>
                  <a:pt x="726" y="425"/>
                  <a:pt x="701" y="400"/>
                </a:cubicBezTo>
                <a:cubicBezTo>
                  <a:pt x="676" y="400"/>
                  <a:pt x="651" y="350"/>
                  <a:pt x="626" y="300"/>
                </a:cubicBezTo>
                <a:cubicBezTo>
                  <a:pt x="601" y="325"/>
                  <a:pt x="551" y="350"/>
                  <a:pt x="526" y="350"/>
                </a:cubicBezTo>
                <a:cubicBezTo>
                  <a:pt x="501" y="350"/>
                  <a:pt x="400" y="325"/>
                  <a:pt x="400" y="350"/>
                </a:cubicBezTo>
                <a:cubicBezTo>
                  <a:pt x="376" y="374"/>
                  <a:pt x="400" y="400"/>
                  <a:pt x="426" y="400"/>
                </a:cubicBezTo>
                <a:cubicBezTo>
                  <a:pt x="426" y="400"/>
                  <a:pt x="476" y="425"/>
                  <a:pt x="426" y="450"/>
                </a:cubicBezTo>
                <a:cubicBezTo>
                  <a:pt x="400" y="474"/>
                  <a:pt x="376" y="425"/>
                  <a:pt x="376" y="500"/>
                </a:cubicBezTo>
                <a:cubicBezTo>
                  <a:pt x="376" y="550"/>
                  <a:pt x="451" y="600"/>
                  <a:pt x="426" y="650"/>
                </a:cubicBezTo>
                <a:cubicBezTo>
                  <a:pt x="426" y="674"/>
                  <a:pt x="400" y="750"/>
                  <a:pt x="400" y="774"/>
                </a:cubicBezTo>
                <a:cubicBezTo>
                  <a:pt x="400" y="799"/>
                  <a:pt x="400" y="900"/>
                  <a:pt x="376" y="900"/>
                </a:cubicBezTo>
                <a:cubicBezTo>
                  <a:pt x="351" y="900"/>
                  <a:pt x="326" y="874"/>
                  <a:pt x="300" y="900"/>
                </a:cubicBezTo>
                <a:cubicBezTo>
                  <a:pt x="251" y="925"/>
                  <a:pt x="226" y="925"/>
                  <a:pt x="176" y="950"/>
                </a:cubicBezTo>
                <a:cubicBezTo>
                  <a:pt x="151" y="974"/>
                  <a:pt x="100" y="974"/>
                  <a:pt x="100" y="1000"/>
                </a:cubicBezTo>
                <a:cubicBezTo>
                  <a:pt x="100" y="1050"/>
                  <a:pt x="51" y="1050"/>
                  <a:pt x="76" y="1100"/>
                </a:cubicBezTo>
                <a:cubicBezTo>
                  <a:pt x="76" y="1125"/>
                  <a:pt x="51" y="1125"/>
                  <a:pt x="26" y="1150"/>
                </a:cubicBezTo>
                <a:cubicBezTo>
                  <a:pt x="0" y="1175"/>
                  <a:pt x="26" y="1175"/>
                  <a:pt x="0" y="1200"/>
                </a:cubicBezTo>
                <a:cubicBezTo>
                  <a:pt x="0" y="1225"/>
                  <a:pt x="26" y="1250"/>
                  <a:pt x="26" y="1275"/>
                </a:cubicBezTo>
                <a:cubicBezTo>
                  <a:pt x="51" y="1325"/>
                  <a:pt x="76" y="1325"/>
                  <a:pt x="76" y="1375"/>
                </a:cubicBezTo>
                <a:cubicBezTo>
                  <a:pt x="76" y="1400"/>
                  <a:pt x="100" y="1400"/>
                  <a:pt x="126" y="1400"/>
                </a:cubicBezTo>
                <a:cubicBezTo>
                  <a:pt x="151" y="1400"/>
                  <a:pt x="126" y="1450"/>
                  <a:pt x="176" y="1450"/>
                </a:cubicBezTo>
                <a:cubicBezTo>
                  <a:pt x="226" y="1450"/>
                  <a:pt x="251" y="1475"/>
                  <a:pt x="276" y="1450"/>
                </a:cubicBezTo>
                <a:cubicBezTo>
                  <a:pt x="276" y="1425"/>
                  <a:pt x="300" y="1400"/>
                  <a:pt x="300" y="1425"/>
                </a:cubicBezTo>
                <a:cubicBezTo>
                  <a:pt x="300" y="1475"/>
                  <a:pt x="300" y="1575"/>
                  <a:pt x="326" y="1550"/>
                </a:cubicBezTo>
                <a:cubicBezTo>
                  <a:pt x="376" y="1550"/>
                  <a:pt x="426" y="1550"/>
                  <a:pt x="451" y="1550"/>
                </a:cubicBezTo>
                <a:cubicBezTo>
                  <a:pt x="476" y="1575"/>
                  <a:pt x="526" y="1550"/>
                  <a:pt x="526" y="1525"/>
                </a:cubicBezTo>
                <a:cubicBezTo>
                  <a:pt x="551" y="1525"/>
                  <a:pt x="576" y="1525"/>
                  <a:pt x="626" y="1500"/>
                </a:cubicBezTo>
                <a:cubicBezTo>
                  <a:pt x="651" y="1475"/>
                  <a:pt x="701" y="1450"/>
                  <a:pt x="726" y="1450"/>
                </a:cubicBezTo>
                <a:cubicBezTo>
                  <a:pt x="776" y="1450"/>
                  <a:pt x="826" y="1425"/>
                  <a:pt x="826" y="1450"/>
                </a:cubicBezTo>
                <a:cubicBezTo>
                  <a:pt x="801" y="1475"/>
                  <a:pt x="801" y="1575"/>
                  <a:pt x="851" y="1625"/>
                </a:cubicBezTo>
                <a:cubicBezTo>
                  <a:pt x="901" y="1675"/>
                  <a:pt x="926" y="1700"/>
                  <a:pt x="951" y="1700"/>
                </a:cubicBezTo>
                <a:cubicBezTo>
                  <a:pt x="1001" y="1700"/>
                  <a:pt x="1001" y="1725"/>
                  <a:pt x="1026" y="1725"/>
                </a:cubicBezTo>
                <a:cubicBezTo>
                  <a:pt x="1051" y="1700"/>
                  <a:pt x="1026" y="1750"/>
                  <a:pt x="1076" y="1750"/>
                </a:cubicBezTo>
                <a:cubicBezTo>
                  <a:pt x="1101" y="1750"/>
                  <a:pt x="1151" y="1750"/>
                  <a:pt x="1151" y="1775"/>
                </a:cubicBezTo>
                <a:cubicBezTo>
                  <a:pt x="1151" y="1825"/>
                  <a:pt x="1226" y="1800"/>
                  <a:pt x="1251" y="1800"/>
                </a:cubicBezTo>
                <a:cubicBezTo>
                  <a:pt x="1276" y="1825"/>
                  <a:pt x="1276" y="1825"/>
                  <a:pt x="1276" y="1875"/>
                </a:cubicBezTo>
                <a:cubicBezTo>
                  <a:pt x="1276" y="1900"/>
                  <a:pt x="1326" y="1925"/>
                  <a:pt x="1301" y="1950"/>
                </a:cubicBezTo>
                <a:cubicBezTo>
                  <a:pt x="1276" y="1950"/>
                  <a:pt x="1301" y="1975"/>
                  <a:pt x="1301" y="2025"/>
                </a:cubicBezTo>
                <a:cubicBezTo>
                  <a:pt x="1301" y="2050"/>
                  <a:pt x="1351" y="2075"/>
                  <a:pt x="1401" y="2075"/>
                </a:cubicBezTo>
                <a:cubicBezTo>
                  <a:pt x="1476" y="2075"/>
                  <a:pt x="1476" y="2075"/>
                  <a:pt x="1476" y="2125"/>
                </a:cubicBezTo>
                <a:cubicBezTo>
                  <a:pt x="1476" y="2150"/>
                  <a:pt x="1526" y="2175"/>
                  <a:pt x="1551" y="2199"/>
                </a:cubicBezTo>
                <a:cubicBezTo>
                  <a:pt x="1551" y="2250"/>
                  <a:pt x="1526" y="2300"/>
                  <a:pt x="1526" y="2325"/>
                </a:cubicBezTo>
                <a:cubicBezTo>
                  <a:pt x="1526" y="2350"/>
                  <a:pt x="1526" y="2375"/>
                  <a:pt x="1501" y="2400"/>
                </a:cubicBezTo>
                <a:cubicBezTo>
                  <a:pt x="1526" y="2425"/>
                  <a:pt x="1526" y="2425"/>
                  <a:pt x="1501" y="2450"/>
                </a:cubicBezTo>
                <a:cubicBezTo>
                  <a:pt x="1476" y="2450"/>
                  <a:pt x="1551" y="2500"/>
                  <a:pt x="1526" y="2550"/>
                </a:cubicBezTo>
                <a:cubicBezTo>
                  <a:pt x="1501" y="2625"/>
                  <a:pt x="1501" y="2625"/>
                  <a:pt x="1576" y="2625"/>
                </a:cubicBezTo>
                <a:cubicBezTo>
                  <a:pt x="1626" y="2625"/>
                  <a:pt x="1626" y="2650"/>
                  <a:pt x="1651" y="2650"/>
                </a:cubicBezTo>
                <a:cubicBezTo>
                  <a:pt x="1676" y="2625"/>
                  <a:pt x="1701" y="2700"/>
                  <a:pt x="1726" y="2725"/>
                </a:cubicBezTo>
                <a:cubicBezTo>
                  <a:pt x="1726" y="2750"/>
                  <a:pt x="1751" y="2825"/>
                  <a:pt x="1776" y="2825"/>
                </a:cubicBezTo>
                <a:cubicBezTo>
                  <a:pt x="1776" y="2825"/>
                  <a:pt x="1801" y="2800"/>
                  <a:pt x="1851" y="2800"/>
                </a:cubicBezTo>
                <a:cubicBezTo>
                  <a:pt x="1876" y="2825"/>
                  <a:pt x="1826" y="2925"/>
                  <a:pt x="1826" y="2975"/>
                </a:cubicBezTo>
                <a:cubicBezTo>
                  <a:pt x="1851" y="2975"/>
                  <a:pt x="1876" y="2975"/>
                  <a:pt x="1901" y="2975"/>
                </a:cubicBezTo>
                <a:cubicBezTo>
                  <a:pt x="1901" y="3000"/>
                  <a:pt x="1926" y="3100"/>
                  <a:pt x="1901" y="3125"/>
                </a:cubicBezTo>
                <a:cubicBezTo>
                  <a:pt x="1901" y="3150"/>
                  <a:pt x="1826" y="3175"/>
                  <a:pt x="1801" y="3175"/>
                </a:cubicBezTo>
                <a:cubicBezTo>
                  <a:pt x="1751" y="3200"/>
                  <a:pt x="1676" y="3300"/>
                  <a:pt x="1626" y="3350"/>
                </a:cubicBezTo>
                <a:cubicBezTo>
                  <a:pt x="1601" y="3400"/>
                  <a:pt x="1576" y="3425"/>
                  <a:pt x="1551" y="3450"/>
                </a:cubicBezTo>
                <a:cubicBezTo>
                  <a:pt x="1576" y="3450"/>
                  <a:pt x="1576" y="3450"/>
                  <a:pt x="1576" y="3450"/>
                </a:cubicBezTo>
                <a:cubicBezTo>
                  <a:pt x="1601" y="3450"/>
                  <a:pt x="1626" y="3450"/>
                  <a:pt x="1651" y="3475"/>
                </a:cubicBezTo>
                <a:cubicBezTo>
                  <a:pt x="1701" y="3525"/>
                  <a:pt x="1701" y="3550"/>
                  <a:pt x="1701" y="3550"/>
                </a:cubicBezTo>
                <a:cubicBezTo>
                  <a:pt x="1726" y="3550"/>
                  <a:pt x="1726" y="3501"/>
                  <a:pt x="1751" y="3525"/>
                </a:cubicBezTo>
                <a:cubicBezTo>
                  <a:pt x="1776" y="3575"/>
                  <a:pt x="1851" y="3601"/>
                  <a:pt x="1851" y="3625"/>
                </a:cubicBezTo>
                <a:cubicBezTo>
                  <a:pt x="1876" y="3625"/>
                  <a:pt x="1926" y="3650"/>
                  <a:pt x="1926" y="3701"/>
                </a:cubicBezTo>
                <a:cubicBezTo>
                  <a:pt x="1926" y="3725"/>
                  <a:pt x="1901" y="3775"/>
                  <a:pt x="1926" y="3825"/>
                </a:cubicBezTo>
                <a:cubicBezTo>
                  <a:pt x="1951" y="3825"/>
                  <a:pt x="1951" y="3801"/>
                  <a:pt x="1976" y="3801"/>
                </a:cubicBezTo>
              </a:path>
            </a:pathLst>
          </a:custGeom>
          <a:solidFill>
            <a:srgbClr val="39A3B5">
              <a:lumMod val="75000"/>
            </a:srgbClr>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2" name="Freeform 94">
            <a:extLst>
              <a:ext uri="{FF2B5EF4-FFF2-40B4-BE49-F238E27FC236}">
                <a16:creationId xmlns:a16="http://schemas.microsoft.com/office/drawing/2014/main" id="{C1C8D93A-7A43-3DCF-0EE2-CE3FC416BA35}"/>
              </a:ext>
            </a:extLst>
          </p:cNvPr>
          <p:cNvSpPr>
            <a:spLocks noChangeArrowheads="1"/>
          </p:cNvSpPr>
          <p:nvPr/>
        </p:nvSpPr>
        <p:spPr bwMode="auto">
          <a:xfrm>
            <a:off x="5337255" y="4165130"/>
            <a:ext cx="71719" cy="39375"/>
          </a:xfrm>
          <a:custGeom>
            <a:avLst/>
            <a:gdLst>
              <a:gd name="T0" fmla="*/ 225 w 226"/>
              <a:gd name="T1" fmla="*/ 49 h 125"/>
              <a:gd name="T2" fmla="*/ 225 w 226"/>
              <a:gd name="T3" fmla="*/ 49 h 125"/>
              <a:gd name="T4" fmla="*/ 125 w 226"/>
              <a:gd name="T5" fmla="*/ 24 h 125"/>
              <a:gd name="T6" fmla="*/ 75 w 226"/>
              <a:gd name="T7" fmla="*/ 0 h 125"/>
              <a:gd name="T8" fmla="*/ 75 w 226"/>
              <a:gd name="T9" fmla="*/ 0 h 125"/>
              <a:gd name="T10" fmla="*/ 0 w 226"/>
              <a:gd name="T11" fmla="*/ 49 h 125"/>
              <a:gd name="T12" fmla="*/ 175 w 226"/>
              <a:gd name="T13" fmla="*/ 124 h 125"/>
              <a:gd name="T14" fmla="*/ 225 w 226"/>
              <a:gd name="T15" fmla="*/ 100 h 125"/>
              <a:gd name="T16" fmla="*/ 225 w 226"/>
              <a:gd name="T17" fmla="*/ 4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25">
                <a:moveTo>
                  <a:pt x="225" y="49"/>
                </a:moveTo>
                <a:lnTo>
                  <a:pt x="225" y="49"/>
                </a:lnTo>
                <a:cubicBezTo>
                  <a:pt x="200" y="24"/>
                  <a:pt x="151" y="49"/>
                  <a:pt x="125" y="24"/>
                </a:cubicBezTo>
                <a:cubicBezTo>
                  <a:pt x="100" y="0"/>
                  <a:pt x="75" y="0"/>
                  <a:pt x="75" y="0"/>
                </a:cubicBezTo>
                <a:lnTo>
                  <a:pt x="75" y="0"/>
                </a:lnTo>
                <a:cubicBezTo>
                  <a:pt x="51" y="0"/>
                  <a:pt x="25" y="24"/>
                  <a:pt x="0" y="49"/>
                </a:cubicBezTo>
                <a:cubicBezTo>
                  <a:pt x="25" y="75"/>
                  <a:pt x="151" y="124"/>
                  <a:pt x="175" y="124"/>
                </a:cubicBezTo>
                <a:cubicBezTo>
                  <a:pt x="200" y="124"/>
                  <a:pt x="200" y="100"/>
                  <a:pt x="225" y="100"/>
                </a:cubicBezTo>
                <a:cubicBezTo>
                  <a:pt x="225" y="75"/>
                  <a:pt x="225" y="49"/>
                  <a:pt x="225"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3" name="Freeform 95">
            <a:extLst>
              <a:ext uri="{FF2B5EF4-FFF2-40B4-BE49-F238E27FC236}">
                <a16:creationId xmlns:a16="http://schemas.microsoft.com/office/drawing/2014/main" id="{2647106E-C27C-1424-3DD0-9C91ADF1C592}"/>
              </a:ext>
            </a:extLst>
          </p:cNvPr>
          <p:cNvSpPr>
            <a:spLocks noChangeArrowheads="1"/>
          </p:cNvSpPr>
          <p:nvPr/>
        </p:nvSpPr>
        <p:spPr bwMode="auto">
          <a:xfrm>
            <a:off x="5361161" y="4110285"/>
            <a:ext cx="184217" cy="104061"/>
          </a:xfrm>
          <a:custGeom>
            <a:avLst/>
            <a:gdLst>
              <a:gd name="T0" fmla="*/ 250 w 577"/>
              <a:gd name="T1" fmla="*/ 276 h 326"/>
              <a:gd name="T2" fmla="*/ 250 w 577"/>
              <a:gd name="T3" fmla="*/ 276 h 326"/>
              <a:gd name="T4" fmla="*/ 276 w 577"/>
              <a:gd name="T5" fmla="*/ 225 h 326"/>
              <a:gd name="T6" fmla="*/ 376 w 577"/>
              <a:gd name="T7" fmla="*/ 176 h 326"/>
              <a:gd name="T8" fmla="*/ 476 w 577"/>
              <a:gd name="T9" fmla="*/ 151 h 326"/>
              <a:gd name="T10" fmla="*/ 576 w 577"/>
              <a:gd name="T11" fmla="*/ 125 h 326"/>
              <a:gd name="T12" fmla="*/ 476 w 577"/>
              <a:gd name="T13" fmla="*/ 51 h 326"/>
              <a:gd name="T14" fmla="*/ 276 w 577"/>
              <a:gd name="T15" fmla="*/ 51 h 326"/>
              <a:gd name="T16" fmla="*/ 100 w 577"/>
              <a:gd name="T17" fmla="*/ 51 h 326"/>
              <a:gd name="T18" fmla="*/ 100 w 577"/>
              <a:gd name="T19" fmla="*/ 51 h 326"/>
              <a:gd name="T20" fmla="*/ 50 w 577"/>
              <a:gd name="T21" fmla="*/ 100 h 326"/>
              <a:gd name="T22" fmla="*/ 0 w 577"/>
              <a:gd name="T23" fmla="*/ 176 h 326"/>
              <a:gd name="T24" fmla="*/ 50 w 577"/>
              <a:gd name="T25" fmla="*/ 200 h 326"/>
              <a:gd name="T26" fmla="*/ 150 w 577"/>
              <a:gd name="T27" fmla="*/ 225 h 326"/>
              <a:gd name="T28" fmla="*/ 150 w 577"/>
              <a:gd name="T29" fmla="*/ 276 h 326"/>
              <a:gd name="T30" fmla="*/ 176 w 577"/>
              <a:gd name="T31" fmla="*/ 276 h 326"/>
              <a:gd name="T32" fmla="*/ 176 w 577"/>
              <a:gd name="T33" fmla="*/ 325 h 326"/>
              <a:gd name="T34" fmla="*/ 201 w 577"/>
              <a:gd name="T35" fmla="*/ 300 h 326"/>
              <a:gd name="T36" fmla="*/ 250 w 577"/>
              <a:gd name="T37" fmla="*/ 27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326">
                <a:moveTo>
                  <a:pt x="250" y="276"/>
                </a:moveTo>
                <a:lnTo>
                  <a:pt x="250" y="276"/>
                </a:lnTo>
                <a:cubicBezTo>
                  <a:pt x="250" y="276"/>
                  <a:pt x="225" y="225"/>
                  <a:pt x="276" y="225"/>
                </a:cubicBezTo>
                <a:cubicBezTo>
                  <a:pt x="325" y="225"/>
                  <a:pt x="376" y="225"/>
                  <a:pt x="376" y="176"/>
                </a:cubicBezTo>
                <a:cubicBezTo>
                  <a:pt x="376" y="151"/>
                  <a:pt x="450" y="151"/>
                  <a:pt x="476" y="151"/>
                </a:cubicBezTo>
                <a:cubicBezTo>
                  <a:pt x="476" y="151"/>
                  <a:pt x="525" y="125"/>
                  <a:pt x="576" y="125"/>
                </a:cubicBezTo>
                <a:cubicBezTo>
                  <a:pt x="576" y="76"/>
                  <a:pt x="501" y="76"/>
                  <a:pt x="476" y="51"/>
                </a:cubicBezTo>
                <a:cubicBezTo>
                  <a:pt x="425" y="0"/>
                  <a:pt x="325" y="25"/>
                  <a:pt x="276" y="51"/>
                </a:cubicBezTo>
                <a:cubicBezTo>
                  <a:pt x="225" y="51"/>
                  <a:pt x="150" y="25"/>
                  <a:pt x="100" y="51"/>
                </a:cubicBezTo>
                <a:lnTo>
                  <a:pt x="100" y="51"/>
                </a:lnTo>
                <a:cubicBezTo>
                  <a:pt x="76" y="76"/>
                  <a:pt x="50" y="76"/>
                  <a:pt x="50" y="100"/>
                </a:cubicBezTo>
                <a:cubicBezTo>
                  <a:pt x="0" y="125"/>
                  <a:pt x="0" y="176"/>
                  <a:pt x="0" y="176"/>
                </a:cubicBezTo>
                <a:cubicBezTo>
                  <a:pt x="0" y="176"/>
                  <a:pt x="25" y="176"/>
                  <a:pt x="50" y="200"/>
                </a:cubicBezTo>
                <a:cubicBezTo>
                  <a:pt x="76" y="225"/>
                  <a:pt x="125" y="200"/>
                  <a:pt x="150" y="225"/>
                </a:cubicBezTo>
                <a:cubicBezTo>
                  <a:pt x="150" y="225"/>
                  <a:pt x="150" y="251"/>
                  <a:pt x="150" y="276"/>
                </a:cubicBezTo>
                <a:cubicBezTo>
                  <a:pt x="150" y="276"/>
                  <a:pt x="150" y="276"/>
                  <a:pt x="176" y="276"/>
                </a:cubicBezTo>
                <a:cubicBezTo>
                  <a:pt x="176" y="300"/>
                  <a:pt x="176" y="300"/>
                  <a:pt x="176" y="325"/>
                </a:cubicBezTo>
                <a:cubicBezTo>
                  <a:pt x="201" y="300"/>
                  <a:pt x="201" y="300"/>
                  <a:pt x="201" y="300"/>
                </a:cubicBezTo>
                <a:cubicBezTo>
                  <a:pt x="201" y="300"/>
                  <a:pt x="225" y="300"/>
                  <a:pt x="250" y="2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4" name="Freeform 96">
            <a:extLst>
              <a:ext uri="{FF2B5EF4-FFF2-40B4-BE49-F238E27FC236}">
                <a16:creationId xmlns:a16="http://schemas.microsoft.com/office/drawing/2014/main" id="{DA37C182-835B-F3FF-67C0-F4D6017D0BEA}"/>
              </a:ext>
            </a:extLst>
          </p:cNvPr>
          <p:cNvSpPr>
            <a:spLocks noChangeArrowheads="1"/>
          </p:cNvSpPr>
          <p:nvPr/>
        </p:nvSpPr>
        <p:spPr bwMode="auto">
          <a:xfrm>
            <a:off x="4524445" y="3584350"/>
            <a:ext cx="916869" cy="566715"/>
          </a:xfrm>
          <a:custGeom>
            <a:avLst/>
            <a:gdLst>
              <a:gd name="T0" fmla="*/ 2401 w 2876"/>
              <a:gd name="T1" fmla="*/ 1674 h 1775"/>
              <a:gd name="T2" fmla="*/ 2450 w 2876"/>
              <a:gd name="T3" fmla="*/ 1549 h 1775"/>
              <a:gd name="T4" fmla="*/ 2650 w 2876"/>
              <a:gd name="T5" fmla="*/ 1500 h 1775"/>
              <a:gd name="T6" fmla="*/ 2750 w 2876"/>
              <a:gd name="T7" fmla="*/ 1449 h 1775"/>
              <a:gd name="T8" fmla="*/ 2801 w 2876"/>
              <a:gd name="T9" fmla="*/ 1224 h 1775"/>
              <a:gd name="T10" fmla="*/ 2775 w 2876"/>
              <a:gd name="T11" fmla="*/ 1124 h 1775"/>
              <a:gd name="T12" fmla="*/ 2525 w 2876"/>
              <a:gd name="T13" fmla="*/ 1249 h 1775"/>
              <a:gd name="T14" fmla="*/ 2425 w 2876"/>
              <a:gd name="T15" fmla="*/ 1425 h 1775"/>
              <a:gd name="T16" fmla="*/ 2125 w 2876"/>
              <a:gd name="T17" fmla="*/ 1449 h 1775"/>
              <a:gd name="T18" fmla="*/ 1975 w 2876"/>
              <a:gd name="T19" fmla="*/ 1300 h 1775"/>
              <a:gd name="T20" fmla="*/ 1825 w 2876"/>
              <a:gd name="T21" fmla="*/ 1000 h 1775"/>
              <a:gd name="T22" fmla="*/ 1875 w 2876"/>
              <a:gd name="T23" fmla="*/ 701 h 1775"/>
              <a:gd name="T24" fmla="*/ 1700 w 2876"/>
              <a:gd name="T25" fmla="*/ 625 h 1775"/>
              <a:gd name="T26" fmla="*/ 1650 w 2876"/>
              <a:gd name="T27" fmla="*/ 501 h 1775"/>
              <a:gd name="T28" fmla="*/ 1400 w 2876"/>
              <a:gd name="T29" fmla="*/ 275 h 1775"/>
              <a:gd name="T30" fmla="*/ 1225 w 2876"/>
              <a:gd name="T31" fmla="*/ 325 h 1775"/>
              <a:gd name="T32" fmla="*/ 1125 w 2876"/>
              <a:gd name="T33" fmla="*/ 175 h 1775"/>
              <a:gd name="T34" fmla="*/ 875 w 2876"/>
              <a:gd name="T35" fmla="*/ 75 h 1775"/>
              <a:gd name="T36" fmla="*/ 575 w 2876"/>
              <a:gd name="T37" fmla="*/ 125 h 1775"/>
              <a:gd name="T38" fmla="*/ 225 w 2876"/>
              <a:gd name="T39" fmla="*/ 0 h 1775"/>
              <a:gd name="T40" fmla="*/ 50 w 2876"/>
              <a:gd name="T41" fmla="*/ 100 h 1775"/>
              <a:gd name="T42" fmla="*/ 250 w 2876"/>
              <a:gd name="T43" fmla="*/ 375 h 1775"/>
              <a:gd name="T44" fmla="*/ 225 w 2876"/>
              <a:gd name="T45" fmla="*/ 501 h 1775"/>
              <a:gd name="T46" fmla="*/ 450 w 2876"/>
              <a:gd name="T47" fmla="*/ 650 h 1775"/>
              <a:gd name="T48" fmla="*/ 575 w 2876"/>
              <a:gd name="T49" fmla="*/ 874 h 1775"/>
              <a:gd name="T50" fmla="*/ 725 w 2876"/>
              <a:gd name="T51" fmla="*/ 949 h 1775"/>
              <a:gd name="T52" fmla="*/ 625 w 2876"/>
              <a:gd name="T53" fmla="*/ 849 h 1775"/>
              <a:gd name="T54" fmla="*/ 550 w 2876"/>
              <a:gd name="T55" fmla="*/ 625 h 1775"/>
              <a:gd name="T56" fmla="*/ 375 w 2876"/>
              <a:gd name="T57" fmla="*/ 401 h 1775"/>
              <a:gd name="T58" fmla="*/ 300 w 2876"/>
              <a:gd name="T59" fmla="*/ 301 h 1775"/>
              <a:gd name="T60" fmla="*/ 225 w 2876"/>
              <a:gd name="T61" fmla="*/ 100 h 1775"/>
              <a:gd name="T62" fmla="*/ 275 w 2876"/>
              <a:gd name="T63" fmla="*/ 100 h 1775"/>
              <a:gd name="T64" fmla="*/ 400 w 2876"/>
              <a:gd name="T65" fmla="*/ 125 h 1775"/>
              <a:gd name="T66" fmla="*/ 425 w 2876"/>
              <a:gd name="T67" fmla="*/ 350 h 1775"/>
              <a:gd name="T68" fmla="*/ 550 w 2876"/>
              <a:gd name="T69" fmla="*/ 450 h 1775"/>
              <a:gd name="T70" fmla="*/ 675 w 2876"/>
              <a:gd name="T71" fmla="*/ 550 h 1775"/>
              <a:gd name="T72" fmla="*/ 750 w 2876"/>
              <a:gd name="T73" fmla="*/ 675 h 1775"/>
              <a:gd name="T74" fmla="*/ 875 w 2876"/>
              <a:gd name="T75" fmla="*/ 799 h 1775"/>
              <a:gd name="T76" fmla="*/ 1125 w 2876"/>
              <a:gd name="T77" fmla="*/ 1124 h 1775"/>
              <a:gd name="T78" fmla="*/ 1100 w 2876"/>
              <a:gd name="T79" fmla="*/ 1224 h 1775"/>
              <a:gd name="T80" fmla="*/ 1300 w 2876"/>
              <a:gd name="T81" fmla="*/ 1449 h 1775"/>
              <a:gd name="T82" fmla="*/ 1650 w 2876"/>
              <a:gd name="T83" fmla="*/ 1574 h 1775"/>
              <a:gd name="T84" fmla="*/ 2050 w 2876"/>
              <a:gd name="T85" fmla="*/ 1674 h 1775"/>
              <a:gd name="T86" fmla="*/ 2325 w 2876"/>
              <a:gd name="T87" fmla="*/ 1774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6" h="1775">
                <a:moveTo>
                  <a:pt x="2401" y="1674"/>
                </a:moveTo>
                <a:lnTo>
                  <a:pt x="2401" y="1674"/>
                </a:lnTo>
                <a:cubicBezTo>
                  <a:pt x="2401" y="1674"/>
                  <a:pt x="2501" y="1674"/>
                  <a:pt x="2525" y="1649"/>
                </a:cubicBezTo>
                <a:cubicBezTo>
                  <a:pt x="2525" y="1625"/>
                  <a:pt x="2450" y="1574"/>
                  <a:pt x="2450" y="1549"/>
                </a:cubicBezTo>
                <a:cubicBezTo>
                  <a:pt x="2450" y="1549"/>
                  <a:pt x="2450" y="1500"/>
                  <a:pt x="2475" y="1500"/>
                </a:cubicBezTo>
                <a:cubicBezTo>
                  <a:pt x="2501" y="1500"/>
                  <a:pt x="2650" y="1500"/>
                  <a:pt x="2650" y="1500"/>
                </a:cubicBezTo>
                <a:cubicBezTo>
                  <a:pt x="2650" y="1500"/>
                  <a:pt x="2675" y="1425"/>
                  <a:pt x="2701" y="1425"/>
                </a:cubicBezTo>
                <a:cubicBezTo>
                  <a:pt x="2725" y="1425"/>
                  <a:pt x="2750" y="1449"/>
                  <a:pt x="2750" y="1449"/>
                </a:cubicBezTo>
                <a:cubicBezTo>
                  <a:pt x="2775" y="1425"/>
                  <a:pt x="2801" y="1374"/>
                  <a:pt x="2801" y="1324"/>
                </a:cubicBezTo>
                <a:cubicBezTo>
                  <a:pt x="2801" y="1274"/>
                  <a:pt x="2775" y="1249"/>
                  <a:pt x="2801" y="1224"/>
                </a:cubicBezTo>
                <a:cubicBezTo>
                  <a:pt x="2850" y="1200"/>
                  <a:pt x="2875" y="1200"/>
                  <a:pt x="2875" y="1149"/>
                </a:cubicBezTo>
                <a:cubicBezTo>
                  <a:pt x="2850" y="1100"/>
                  <a:pt x="2826" y="1149"/>
                  <a:pt x="2775" y="1124"/>
                </a:cubicBezTo>
                <a:cubicBezTo>
                  <a:pt x="2750" y="1100"/>
                  <a:pt x="2725" y="1124"/>
                  <a:pt x="2625" y="1124"/>
                </a:cubicBezTo>
                <a:cubicBezTo>
                  <a:pt x="2550" y="1149"/>
                  <a:pt x="2501" y="1174"/>
                  <a:pt x="2525" y="1249"/>
                </a:cubicBezTo>
                <a:cubicBezTo>
                  <a:pt x="2525" y="1300"/>
                  <a:pt x="2475" y="1274"/>
                  <a:pt x="2475" y="1324"/>
                </a:cubicBezTo>
                <a:cubicBezTo>
                  <a:pt x="2501" y="1374"/>
                  <a:pt x="2425" y="1374"/>
                  <a:pt x="2425" y="1425"/>
                </a:cubicBezTo>
                <a:cubicBezTo>
                  <a:pt x="2425" y="1449"/>
                  <a:pt x="2375" y="1425"/>
                  <a:pt x="2350" y="1400"/>
                </a:cubicBezTo>
                <a:cubicBezTo>
                  <a:pt x="2325" y="1400"/>
                  <a:pt x="2150" y="1449"/>
                  <a:pt x="2125" y="1449"/>
                </a:cubicBezTo>
                <a:cubicBezTo>
                  <a:pt x="2101" y="1449"/>
                  <a:pt x="2050" y="1400"/>
                  <a:pt x="2025" y="1400"/>
                </a:cubicBezTo>
                <a:cubicBezTo>
                  <a:pt x="2001" y="1400"/>
                  <a:pt x="1975" y="1349"/>
                  <a:pt x="1975" y="1300"/>
                </a:cubicBezTo>
                <a:cubicBezTo>
                  <a:pt x="1975" y="1274"/>
                  <a:pt x="1901" y="1224"/>
                  <a:pt x="1875" y="1174"/>
                </a:cubicBezTo>
                <a:cubicBezTo>
                  <a:pt x="1850" y="1149"/>
                  <a:pt x="1850" y="1049"/>
                  <a:pt x="1825" y="1000"/>
                </a:cubicBezTo>
                <a:cubicBezTo>
                  <a:pt x="1825" y="949"/>
                  <a:pt x="1825" y="849"/>
                  <a:pt x="1875" y="750"/>
                </a:cubicBezTo>
                <a:cubicBezTo>
                  <a:pt x="1875" y="725"/>
                  <a:pt x="1875" y="701"/>
                  <a:pt x="1875" y="701"/>
                </a:cubicBezTo>
                <a:cubicBezTo>
                  <a:pt x="1850" y="701"/>
                  <a:pt x="1850" y="675"/>
                  <a:pt x="1825" y="675"/>
                </a:cubicBezTo>
                <a:cubicBezTo>
                  <a:pt x="1800" y="675"/>
                  <a:pt x="1725" y="625"/>
                  <a:pt x="1700" y="625"/>
                </a:cubicBezTo>
                <a:cubicBezTo>
                  <a:pt x="1700" y="625"/>
                  <a:pt x="1700" y="601"/>
                  <a:pt x="1675" y="575"/>
                </a:cubicBezTo>
                <a:cubicBezTo>
                  <a:pt x="1675" y="550"/>
                  <a:pt x="1675" y="525"/>
                  <a:pt x="1650" y="501"/>
                </a:cubicBezTo>
                <a:cubicBezTo>
                  <a:pt x="1650" y="501"/>
                  <a:pt x="1575" y="450"/>
                  <a:pt x="1575" y="375"/>
                </a:cubicBezTo>
                <a:cubicBezTo>
                  <a:pt x="1550" y="325"/>
                  <a:pt x="1450" y="301"/>
                  <a:pt x="1400" y="275"/>
                </a:cubicBezTo>
                <a:cubicBezTo>
                  <a:pt x="1350" y="275"/>
                  <a:pt x="1350" y="375"/>
                  <a:pt x="1325" y="375"/>
                </a:cubicBezTo>
                <a:cubicBezTo>
                  <a:pt x="1325" y="375"/>
                  <a:pt x="1250" y="325"/>
                  <a:pt x="1225" y="325"/>
                </a:cubicBezTo>
                <a:cubicBezTo>
                  <a:pt x="1200" y="301"/>
                  <a:pt x="1175" y="275"/>
                  <a:pt x="1175" y="250"/>
                </a:cubicBezTo>
                <a:cubicBezTo>
                  <a:pt x="1175" y="225"/>
                  <a:pt x="1150" y="201"/>
                  <a:pt x="1125" y="175"/>
                </a:cubicBezTo>
                <a:cubicBezTo>
                  <a:pt x="1100" y="175"/>
                  <a:pt x="1025" y="75"/>
                  <a:pt x="1025" y="75"/>
                </a:cubicBezTo>
                <a:cubicBezTo>
                  <a:pt x="875" y="75"/>
                  <a:pt x="875" y="75"/>
                  <a:pt x="875" y="75"/>
                </a:cubicBezTo>
                <a:cubicBezTo>
                  <a:pt x="850" y="125"/>
                  <a:pt x="850" y="125"/>
                  <a:pt x="850" y="125"/>
                </a:cubicBezTo>
                <a:cubicBezTo>
                  <a:pt x="575" y="125"/>
                  <a:pt x="575" y="125"/>
                  <a:pt x="575" y="125"/>
                </a:cubicBezTo>
                <a:cubicBezTo>
                  <a:pt x="575" y="125"/>
                  <a:pt x="375" y="50"/>
                  <a:pt x="325" y="50"/>
                </a:cubicBezTo>
                <a:cubicBezTo>
                  <a:pt x="300" y="25"/>
                  <a:pt x="225" y="0"/>
                  <a:pt x="225" y="0"/>
                </a:cubicBezTo>
                <a:cubicBezTo>
                  <a:pt x="0" y="25"/>
                  <a:pt x="0" y="25"/>
                  <a:pt x="0" y="25"/>
                </a:cubicBezTo>
                <a:cubicBezTo>
                  <a:pt x="25" y="50"/>
                  <a:pt x="25" y="75"/>
                  <a:pt x="50" y="100"/>
                </a:cubicBezTo>
                <a:cubicBezTo>
                  <a:pt x="100" y="150"/>
                  <a:pt x="125" y="250"/>
                  <a:pt x="150" y="275"/>
                </a:cubicBezTo>
                <a:cubicBezTo>
                  <a:pt x="150" y="325"/>
                  <a:pt x="200" y="350"/>
                  <a:pt x="250" y="375"/>
                </a:cubicBezTo>
                <a:cubicBezTo>
                  <a:pt x="300" y="401"/>
                  <a:pt x="300" y="475"/>
                  <a:pt x="300" y="501"/>
                </a:cubicBezTo>
                <a:cubicBezTo>
                  <a:pt x="300" y="525"/>
                  <a:pt x="225" y="475"/>
                  <a:pt x="225" y="501"/>
                </a:cubicBezTo>
                <a:cubicBezTo>
                  <a:pt x="225" y="525"/>
                  <a:pt x="300" y="601"/>
                  <a:pt x="350" y="601"/>
                </a:cubicBezTo>
                <a:cubicBezTo>
                  <a:pt x="375" y="601"/>
                  <a:pt x="400" y="601"/>
                  <a:pt x="450" y="650"/>
                </a:cubicBezTo>
                <a:cubicBezTo>
                  <a:pt x="500" y="701"/>
                  <a:pt x="500" y="750"/>
                  <a:pt x="475" y="774"/>
                </a:cubicBezTo>
                <a:cubicBezTo>
                  <a:pt x="450" y="799"/>
                  <a:pt x="525" y="824"/>
                  <a:pt x="575" y="874"/>
                </a:cubicBezTo>
                <a:cubicBezTo>
                  <a:pt x="650" y="900"/>
                  <a:pt x="675" y="974"/>
                  <a:pt x="675" y="1000"/>
                </a:cubicBezTo>
                <a:cubicBezTo>
                  <a:pt x="675" y="1000"/>
                  <a:pt x="725" y="1000"/>
                  <a:pt x="725" y="949"/>
                </a:cubicBezTo>
                <a:cubicBezTo>
                  <a:pt x="725" y="924"/>
                  <a:pt x="700" y="924"/>
                  <a:pt x="700" y="874"/>
                </a:cubicBezTo>
                <a:cubicBezTo>
                  <a:pt x="700" y="849"/>
                  <a:pt x="650" y="849"/>
                  <a:pt x="625" y="849"/>
                </a:cubicBezTo>
                <a:cubicBezTo>
                  <a:pt x="600" y="849"/>
                  <a:pt x="625" y="799"/>
                  <a:pt x="600" y="774"/>
                </a:cubicBezTo>
                <a:cubicBezTo>
                  <a:pt x="575" y="750"/>
                  <a:pt x="550" y="675"/>
                  <a:pt x="550" y="625"/>
                </a:cubicBezTo>
                <a:cubicBezTo>
                  <a:pt x="525" y="601"/>
                  <a:pt x="475" y="550"/>
                  <a:pt x="450" y="501"/>
                </a:cubicBezTo>
                <a:cubicBezTo>
                  <a:pt x="400" y="450"/>
                  <a:pt x="375" y="401"/>
                  <a:pt x="375" y="401"/>
                </a:cubicBezTo>
                <a:cubicBezTo>
                  <a:pt x="350" y="375"/>
                  <a:pt x="400" y="350"/>
                  <a:pt x="375" y="350"/>
                </a:cubicBezTo>
                <a:cubicBezTo>
                  <a:pt x="350" y="325"/>
                  <a:pt x="325" y="325"/>
                  <a:pt x="300" y="301"/>
                </a:cubicBezTo>
                <a:cubicBezTo>
                  <a:pt x="275" y="301"/>
                  <a:pt x="250" y="275"/>
                  <a:pt x="250" y="225"/>
                </a:cubicBezTo>
                <a:cubicBezTo>
                  <a:pt x="250" y="201"/>
                  <a:pt x="225" y="125"/>
                  <a:pt x="225" y="100"/>
                </a:cubicBezTo>
                <a:cubicBezTo>
                  <a:pt x="200" y="75"/>
                  <a:pt x="250" y="75"/>
                  <a:pt x="250" y="75"/>
                </a:cubicBezTo>
                <a:cubicBezTo>
                  <a:pt x="250" y="100"/>
                  <a:pt x="275" y="100"/>
                  <a:pt x="275" y="100"/>
                </a:cubicBezTo>
                <a:cubicBezTo>
                  <a:pt x="300" y="100"/>
                  <a:pt x="325" y="100"/>
                  <a:pt x="325" y="125"/>
                </a:cubicBezTo>
                <a:cubicBezTo>
                  <a:pt x="350" y="150"/>
                  <a:pt x="375" y="125"/>
                  <a:pt x="400" y="125"/>
                </a:cubicBezTo>
                <a:cubicBezTo>
                  <a:pt x="425" y="150"/>
                  <a:pt x="350" y="150"/>
                  <a:pt x="425" y="250"/>
                </a:cubicBezTo>
                <a:cubicBezTo>
                  <a:pt x="475" y="350"/>
                  <a:pt x="425" y="301"/>
                  <a:pt x="425" y="350"/>
                </a:cubicBezTo>
                <a:cubicBezTo>
                  <a:pt x="425" y="425"/>
                  <a:pt x="475" y="401"/>
                  <a:pt x="475" y="375"/>
                </a:cubicBezTo>
                <a:cubicBezTo>
                  <a:pt x="475" y="375"/>
                  <a:pt x="525" y="401"/>
                  <a:pt x="550" y="450"/>
                </a:cubicBezTo>
                <a:cubicBezTo>
                  <a:pt x="575" y="475"/>
                  <a:pt x="625" y="475"/>
                  <a:pt x="625" y="501"/>
                </a:cubicBezTo>
                <a:cubicBezTo>
                  <a:pt x="625" y="525"/>
                  <a:pt x="625" y="550"/>
                  <a:pt x="675" y="550"/>
                </a:cubicBezTo>
                <a:cubicBezTo>
                  <a:pt x="700" y="575"/>
                  <a:pt x="700" y="601"/>
                  <a:pt x="725" y="601"/>
                </a:cubicBezTo>
                <a:cubicBezTo>
                  <a:pt x="750" y="601"/>
                  <a:pt x="750" y="625"/>
                  <a:pt x="750" y="675"/>
                </a:cubicBezTo>
                <a:cubicBezTo>
                  <a:pt x="725" y="701"/>
                  <a:pt x="750" y="725"/>
                  <a:pt x="800" y="725"/>
                </a:cubicBezTo>
                <a:cubicBezTo>
                  <a:pt x="850" y="750"/>
                  <a:pt x="825" y="774"/>
                  <a:pt x="875" y="799"/>
                </a:cubicBezTo>
                <a:cubicBezTo>
                  <a:pt x="925" y="849"/>
                  <a:pt x="1050" y="1000"/>
                  <a:pt x="1075" y="1024"/>
                </a:cubicBezTo>
                <a:cubicBezTo>
                  <a:pt x="1100" y="1074"/>
                  <a:pt x="1125" y="1100"/>
                  <a:pt x="1125" y="1124"/>
                </a:cubicBezTo>
                <a:cubicBezTo>
                  <a:pt x="1150" y="1174"/>
                  <a:pt x="1100" y="1174"/>
                  <a:pt x="1125" y="1200"/>
                </a:cubicBezTo>
                <a:cubicBezTo>
                  <a:pt x="1150" y="1224"/>
                  <a:pt x="1100" y="1224"/>
                  <a:pt x="1100" y="1224"/>
                </a:cubicBezTo>
                <a:cubicBezTo>
                  <a:pt x="1100" y="1249"/>
                  <a:pt x="1125" y="1349"/>
                  <a:pt x="1175" y="1349"/>
                </a:cubicBezTo>
                <a:cubicBezTo>
                  <a:pt x="1225" y="1349"/>
                  <a:pt x="1275" y="1425"/>
                  <a:pt x="1300" y="1449"/>
                </a:cubicBezTo>
                <a:cubicBezTo>
                  <a:pt x="1350" y="1474"/>
                  <a:pt x="1400" y="1474"/>
                  <a:pt x="1450" y="1500"/>
                </a:cubicBezTo>
                <a:cubicBezTo>
                  <a:pt x="1500" y="1500"/>
                  <a:pt x="1550" y="1549"/>
                  <a:pt x="1650" y="1574"/>
                </a:cubicBezTo>
                <a:cubicBezTo>
                  <a:pt x="1725" y="1600"/>
                  <a:pt x="1800" y="1649"/>
                  <a:pt x="1850" y="1674"/>
                </a:cubicBezTo>
                <a:cubicBezTo>
                  <a:pt x="1901" y="1700"/>
                  <a:pt x="1975" y="1700"/>
                  <a:pt x="2050" y="1674"/>
                </a:cubicBezTo>
                <a:cubicBezTo>
                  <a:pt x="2125" y="1625"/>
                  <a:pt x="2175" y="1674"/>
                  <a:pt x="2225" y="1700"/>
                </a:cubicBezTo>
                <a:cubicBezTo>
                  <a:pt x="2225" y="1700"/>
                  <a:pt x="2275" y="1725"/>
                  <a:pt x="2325" y="1774"/>
                </a:cubicBezTo>
                <a:cubicBezTo>
                  <a:pt x="2350" y="1725"/>
                  <a:pt x="2375" y="1674"/>
                  <a:pt x="2401" y="1674"/>
                </a:cubicBezTo>
              </a:path>
            </a:pathLst>
          </a:custGeom>
          <a:solidFill>
            <a:srgbClr val="000C47"/>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5" name="Freeform 97">
            <a:extLst>
              <a:ext uri="{FF2B5EF4-FFF2-40B4-BE49-F238E27FC236}">
                <a16:creationId xmlns:a16="http://schemas.microsoft.com/office/drawing/2014/main" id="{203B87B2-7FF0-4638-161C-1BF8A8391B92}"/>
              </a:ext>
            </a:extLst>
          </p:cNvPr>
          <p:cNvSpPr>
            <a:spLocks noChangeArrowheads="1"/>
          </p:cNvSpPr>
          <p:nvPr/>
        </p:nvSpPr>
        <p:spPr bwMode="auto">
          <a:xfrm>
            <a:off x="5265534" y="4062473"/>
            <a:ext cx="127968" cy="119531"/>
          </a:xfrm>
          <a:custGeom>
            <a:avLst/>
            <a:gdLst>
              <a:gd name="T0" fmla="*/ 350 w 401"/>
              <a:gd name="T1" fmla="*/ 249 h 375"/>
              <a:gd name="T2" fmla="*/ 350 w 401"/>
              <a:gd name="T3" fmla="*/ 249 h 375"/>
              <a:gd name="T4" fmla="*/ 400 w 401"/>
              <a:gd name="T5" fmla="*/ 200 h 375"/>
              <a:gd name="T6" fmla="*/ 350 w 401"/>
              <a:gd name="T7" fmla="*/ 174 h 375"/>
              <a:gd name="T8" fmla="*/ 300 w 401"/>
              <a:gd name="T9" fmla="*/ 174 h 375"/>
              <a:gd name="T10" fmla="*/ 300 w 401"/>
              <a:gd name="T11" fmla="*/ 0 h 375"/>
              <a:gd name="T12" fmla="*/ 150 w 401"/>
              <a:gd name="T13" fmla="*/ 0 h 375"/>
              <a:gd name="T14" fmla="*/ 125 w 401"/>
              <a:gd name="T15" fmla="*/ 49 h 375"/>
              <a:gd name="T16" fmla="*/ 200 w 401"/>
              <a:gd name="T17" fmla="*/ 149 h 375"/>
              <a:gd name="T18" fmla="*/ 76 w 401"/>
              <a:gd name="T19" fmla="*/ 174 h 375"/>
              <a:gd name="T20" fmla="*/ 0 w 401"/>
              <a:gd name="T21" fmla="*/ 274 h 375"/>
              <a:gd name="T22" fmla="*/ 100 w 401"/>
              <a:gd name="T23" fmla="*/ 349 h 375"/>
              <a:gd name="T24" fmla="*/ 225 w 401"/>
              <a:gd name="T25" fmla="*/ 374 h 375"/>
              <a:gd name="T26" fmla="*/ 225 w 401"/>
              <a:gd name="T27" fmla="*/ 374 h 375"/>
              <a:gd name="T28" fmla="*/ 300 w 401"/>
              <a:gd name="T29" fmla="*/ 325 h 375"/>
              <a:gd name="T30" fmla="*/ 350 w 401"/>
              <a:gd name="T31" fmla="*/ 24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375">
                <a:moveTo>
                  <a:pt x="350" y="249"/>
                </a:moveTo>
                <a:lnTo>
                  <a:pt x="350" y="249"/>
                </a:lnTo>
                <a:cubicBezTo>
                  <a:pt x="350" y="225"/>
                  <a:pt x="376" y="225"/>
                  <a:pt x="400" y="200"/>
                </a:cubicBezTo>
                <a:cubicBezTo>
                  <a:pt x="350" y="225"/>
                  <a:pt x="350" y="200"/>
                  <a:pt x="350" y="174"/>
                </a:cubicBezTo>
                <a:cubicBezTo>
                  <a:pt x="300" y="174"/>
                  <a:pt x="300" y="174"/>
                  <a:pt x="300" y="174"/>
                </a:cubicBezTo>
                <a:cubicBezTo>
                  <a:pt x="300" y="0"/>
                  <a:pt x="300" y="0"/>
                  <a:pt x="300" y="0"/>
                </a:cubicBezTo>
                <a:cubicBezTo>
                  <a:pt x="276" y="0"/>
                  <a:pt x="176" y="0"/>
                  <a:pt x="150" y="0"/>
                </a:cubicBezTo>
                <a:cubicBezTo>
                  <a:pt x="125" y="0"/>
                  <a:pt x="125" y="49"/>
                  <a:pt x="125" y="49"/>
                </a:cubicBezTo>
                <a:cubicBezTo>
                  <a:pt x="125" y="74"/>
                  <a:pt x="200" y="125"/>
                  <a:pt x="200" y="149"/>
                </a:cubicBezTo>
                <a:cubicBezTo>
                  <a:pt x="176" y="174"/>
                  <a:pt x="76" y="174"/>
                  <a:pt x="76" y="174"/>
                </a:cubicBezTo>
                <a:cubicBezTo>
                  <a:pt x="50" y="174"/>
                  <a:pt x="25" y="225"/>
                  <a:pt x="0" y="274"/>
                </a:cubicBezTo>
                <a:cubicBezTo>
                  <a:pt x="25" y="300"/>
                  <a:pt x="76" y="349"/>
                  <a:pt x="100" y="349"/>
                </a:cubicBezTo>
                <a:cubicBezTo>
                  <a:pt x="125" y="374"/>
                  <a:pt x="200" y="349"/>
                  <a:pt x="225" y="374"/>
                </a:cubicBezTo>
                <a:lnTo>
                  <a:pt x="225" y="374"/>
                </a:lnTo>
                <a:cubicBezTo>
                  <a:pt x="250" y="349"/>
                  <a:pt x="276" y="325"/>
                  <a:pt x="300" y="325"/>
                </a:cubicBezTo>
                <a:cubicBezTo>
                  <a:pt x="325" y="325"/>
                  <a:pt x="300" y="274"/>
                  <a:pt x="350" y="2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6" name="Freeform 98">
            <a:extLst>
              <a:ext uri="{FF2B5EF4-FFF2-40B4-BE49-F238E27FC236}">
                <a16:creationId xmlns:a16="http://schemas.microsoft.com/office/drawing/2014/main" id="{DDFAE850-ED3B-62C7-EF3E-94FBF7A4C579}"/>
              </a:ext>
            </a:extLst>
          </p:cNvPr>
          <p:cNvSpPr>
            <a:spLocks noChangeArrowheads="1"/>
          </p:cNvSpPr>
          <p:nvPr/>
        </p:nvSpPr>
        <p:spPr bwMode="auto">
          <a:xfrm>
            <a:off x="5361160" y="4038567"/>
            <a:ext cx="40780" cy="80156"/>
          </a:xfrm>
          <a:custGeom>
            <a:avLst/>
            <a:gdLst>
              <a:gd name="T0" fmla="*/ 25 w 126"/>
              <a:gd name="T1" fmla="*/ 75 h 250"/>
              <a:gd name="T2" fmla="*/ 25 w 126"/>
              <a:gd name="T3" fmla="*/ 75 h 250"/>
              <a:gd name="T4" fmla="*/ 0 w 126"/>
              <a:gd name="T5" fmla="*/ 75 h 250"/>
              <a:gd name="T6" fmla="*/ 0 w 126"/>
              <a:gd name="T7" fmla="*/ 249 h 250"/>
              <a:gd name="T8" fmla="*/ 50 w 126"/>
              <a:gd name="T9" fmla="*/ 249 h 250"/>
              <a:gd name="T10" fmla="*/ 76 w 126"/>
              <a:gd name="T11" fmla="*/ 200 h 250"/>
              <a:gd name="T12" fmla="*/ 100 w 126"/>
              <a:gd name="T13" fmla="*/ 49 h 250"/>
              <a:gd name="T14" fmla="*/ 125 w 126"/>
              <a:gd name="T15" fmla="*/ 24 h 250"/>
              <a:gd name="T16" fmla="*/ 76 w 126"/>
              <a:gd name="T17" fmla="*/ 0 h 250"/>
              <a:gd name="T18" fmla="*/ 25 w 126"/>
              <a:gd name="T19" fmla="*/ 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50">
                <a:moveTo>
                  <a:pt x="25" y="75"/>
                </a:moveTo>
                <a:lnTo>
                  <a:pt x="25" y="75"/>
                </a:lnTo>
                <a:cubicBezTo>
                  <a:pt x="25" y="75"/>
                  <a:pt x="25" y="75"/>
                  <a:pt x="0" y="75"/>
                </a:cubicBezTo>
                <a:cubicBezTo>
                  <a:pt x="0" y="249"/>
                  <a:pt x="0" y="249"/>
                  <a:pt x="0" y="249"/>
                </a:cubicBezTo>
                <a:cubicBezTo>
                  <a:pt x="50" y="249"/>
                  <a:pt x="50" y="249"/>
                  <a:pt x="50" y="249"/>
                </a:cubicBezTo>
                <a:cubicBezTo>
                  <a:pt x="50" y="224"/>
                  <a:pt x="76" y="224"/>
                  <a:pt x="76" y="200"/>
                </a:cubicBezTo>
                <a:cubicBezTo>
                  <a:pt x="125" y="175"/>
                  <a:pt x="76" y="49"/>
                  <a:pt x="100" y="49"/>
                </a:cubicBezTo>
                <a:cubicBezTo>
                  <a:pt x="125" y="49"/>
                  <a:pt x="125" y="49"/>
                  <a:pt x="125" y="24"/>
                </a:cubicBezTo>
                <a:cubicBezTo>
                  <a:pt x="125" y="24"/>
                  <a:pt x="100" y="0"/>
                  <a:pt x="76" y="0"/>
                </a:cubicBezTo>
                <a:cubicBezTo>
                  <a:pt x="50" y="0"/>
                  <a:pt x="25" y="75"/>
                  <a:pt x="2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7" name="Freeform 99">
            <a:extLst>
              <a:ext uri="{FF2B5EF4-FFF2-40B4-BE49-F238E27FC236}">
                <a16:creationId xmlns:a16="http://schemas.microsoft.com/office/drawing/2014/main" id="{ACDA2248-8E8A-0B9D-08C2-2989D161E839}"/>
              </a:ext>
            </a:extLst>
          </p:cNvPr>
          <p:cNvSpPr>
            <a:spLocks noChangeArrowheads="1"/>
          </p:cNvSpPr>
          <p:nvPr/>
        </p:nvSpPr>
        <p:spPr bwMode="auto">
          <a:xfrm>
            <a:off x="5799906" y="3982316"/>
            <a:ext cx="95624" cy="80156"/>
          </a:xfrm>
          <a:custGeom>
            <a:avLst/>
            <a:gdLst>
              <a:gd name="T0" fmla="*/ 150 w 301"/>
              <a:gd name="T1" fmla="*/ 25 h 252"/>
              <a:gd name="T2" fmla="*/ 150 w 301"/>
              <a:gd name="T3" fmla="*/ 25 h 252"/>
              <a:gd name="T4" fmla="*/ 200 w 301"/>
              <a:gd name="T5" fmla="*/ 151 h 252"/>
              <a:gd name="T6" fmla="*/ 25 w 301"/>
              <a:gd name="T7" fmla="*/ 200 h 252"/>
              <a:gd name="T8" fmla="*/ 150 w 301"/>
              <a:gd name="T9" fmla="*/ 225 h 252"/>
              <a:gd name="T10" fmla="*/ 274 w 301"/>
              <a:gd name="T11" fmla="*/ 225 h 252"/>
              <a:gd name="T12" fmla="*/ 300 w 301"/>
              <a:gd name="T13" fmla="*/ 51 h 252"/>
              <a:gd name="T14" fmla="*/ 150 w 301"/>
              <a:gd name="T15" fmla="*/ 25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52">
                <a:moveTo>
                  <a:pt x="150" y="25"/>
                </a:moveTo>
                <a:lnTo>
                  <a:pt x="150" y="25"/>
                </a:lnTo>
                <a:cubicBezTo>
                  <a:pt x="100" y="51"/>
                  <a:pt x="200" y="125"/>
                  <a:pt x="200" y="151"/>
                </a:cubicBezTo>
                <a:cubicBezTo>
                  <a:pt x="200" y="200"/>
                  <a:pt x="25" y="151"/>
                  <a:pt x="25" y="200"/>
                </a:cubicBezTo>
                <a:cubicBezTo>
                  <a:pt x="0" y="200"/>
                  <a:pt x="74" y="251"/>
                  <a:pt x="150" y="225"/>
                </a:cubicBezTo>
                <a:cubicBezTo>
                  <a:pt x="200" y="200"/>
                  <a:pt x="250" y="225"/>
                  <a:pt x="274" y="225"/>
                </a:cubicBezTo>
                <a:cubicBezTo>
                  <a:pt x="274" y="176"/>
                  <a:pt x="274" y="100"/>
                  <a:pt x="300" y="51"/>
                </a:cubicBezTo>
                <a:cubicBezTo>
                  <a:pt x="225" y="51"/>
                  <a:pt x="174" y="0"/>
                  <a:pt x="1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8" name="Freeform 100">
            <a:extLst>
              <a:ext uri="{FF2B5EF4-FFF2-40B4-BE49-F238E27FC236}">
                <a16:creationId xmlns:a16="http://schemas.microsoft.com/office/drawing/2014/main" id="{75F433C8-36C0-20D1-33ED-BD460726DC76}"/>
              </a:ext>
            </a:extLst>
          </p:cNvPr>
          <p:cNvSpPr>
            <a:spLocks noChangeArrowheads="1"/>
          </p:cNvSpPr>
          <p:nvPr/>
        </p:nvSpPr>
        <p:spPr bwMode="auto">
          <a:xfrm>
            <a:off x="5888500" y="3997787"/>
            <a:ext cx="104061" cy="64687"/>
          </a:xfrm>
          <a:custGeom>
            <a:avLst/>
            <a:gdLst>
              <a:gd name="T0" fmla="*/ 126 w 327"/>
              <a:gd name="T1" fmla="*/ 149 h 201"/>
              <a:gd name="T2" fmla="*/ 126 w 327"/>
              <a:gd name="T3" fmla="*/ 149 h 201"/>
              <a:gd name="T4" fmla="*/ 326 w 327"/>
              <a:gd name="T5" fmla="*/ 100 h 201"/>
              <a:gd name="T6" fmla="*/ 76 w 327"/>
              <a:gd name="T7" fmla="*/ 0 h 201"/>
              <a:gd name="T8" fmla="*/ 26 w 327"/>
              <a:gd name="T9" fmla="*/ 0 h 201"/>
              <a:gd name="T10" fmla="*/ 0 w 327"/>
              <a:gd name="T11" fmla="*/ 174 h 201"/>
              <a:gd name="T12" fmla="*/ 0 w 327"/>
              <a:gd name="T13" fmla="*/ 200 h 201"/>
              <a:gd name="T14" fmla="*/ 126 w 327"/>
              <a:gd name="T15" fmla="*/ 14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01">
                <a:moveTo>
                  <a:pt x="126" y="149"/>
                </a:moveTo>
                <a:lnTo>
                  <a:pt x="126" y="149"/>
                </a:lnTo>
                <a:cubicBezTo>
                  <a:pt x="200" y="125"/>
                  <a:pt x="326" y="174"/>
                  <a:pt x="326" y="100"/>
                </a:cubicBezTo>
                <a:cubicBezTo>
                  <a:pt x="326" y="49"/>
                  <a:pt x="126" y="0"/>
                  <a:pt x="76" y="0"/>
                </a:cubicBezTo>
                <a:cubicBezTo>
                  <a:pt x="51" y="0"/>
                  <a:pt x="26" y="0"/>
                  <a:pt x="26" y="0"/>
                </a:cubicBezTo>
                <a:cubicBezTo>
                  <a:pt x="0" y="49"/>
                  <a:pt x="0" y="125"/>
                  <a:pt x="0" y="174"/>
                </a:cubicBezTo>
                <a:cubicBezTo>
                  <a:pt x="0" y="174"/>
                  <a:pt x="0" y="174"/>
                  <a:pt x="0" y="200"/>
                </a:cubicBezTo>
                <a:cubicBezTo>
                  <a:pt x="26" y="200"/>
                  <a:pt x="51" y="174"/>
                  <a:pt x="126" y="1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59" name="Freeform 101">
            <a:extLst>
              <a:ext uri="{FF2B5EF4-FFF2-40B4-BE49-F238E27FC236}">
                <a16:creationId xmlns:a16="http://schemas.microsoft.com/office/drawing/2014/main" id="{49319DC6-D8DC-6316-1F2C-AA70B17FC167}"/>
              </a:ext>
            </a:extLst>
          </p:cNvPr>
          <p:cNvSpPr>
            <a:spLocks noChangeArrowheads="1"/>
          </p:cNvSpPr>
          <p:nvPr/>
        </p:nvSpPr>
        <p:spPr bwMode="auto">
          <a:xfrm>
            <a:off x="5417409" y="4149658"/>
            <a:ext cx="127968" cy="127968"/>
          </a:xfrm>
          <a:custGeom>
            <a:avLst/>
            <a:gdLst>
              <a:gd name="T0" fmla="*/ 225 w 401"/>
              <a:gd name="T1" fmla="*/ 375 h 401"/>
              <a:gd name="T2" fmla="*/ 225 w 401"/>
              <a:gd name="T3" fmla="*/ 375 h 401"/>
              <a:gd name="T4" fmla="*/ 300 w 401"/>
              <a:gd name="T5" fmla="*/ 400 h 401"/>
              <a:gd name="T6" fmla="*/ 349 w 401"/>
              <a:gd name="T7" fmla="*/ 400 h 401"/>
              <a:gd name="T8" fmla="*/ 349 w 401"/>
              <a:gd name="T9" fmla="*/ 375 h 401"/>
              <a:gd name="T10" fmla="*/ 374 w 401"/>
              <a:gd name="T11" fmla="*/ 251 h 401"/>
              <a:gd name="T12" fmla="*/ 374 w 401"/>
              <a:gd name="T13" fmla="*/ 100 h 401"/>
              <a:gd name="T14" fmla="*/ 400 w 401"/>
              <a:gd name="T15" fmla="*/ 0 h 401"/>
              <a:gd name="T16" fmla="*/ 400 w 401"/>
              <a:gd name="T17" fmla="*/ 0 h 401"/>
              <a:gd name="T18" fmla="*/ 300 w 401"/>
              <a:gd name="T19" fmla="*/ 26 h 401"/>
              <a:gd name="T20" fmla="*/ 200 w 401"/>
              <a:gd name="T21" fmla="*/ 51 h 401"/>
              <a:gd name="T22" fmla="*/ 100 w 401"/>
              <a:gd name="T23" fmla="*/ 100 h 401"/>
              <a:gd name="T24" fmla="*/ 74 w 401"/>
              <a:gd name="T25" fmla="*/ 151 h 401"/>
              <a:gd name="T26" fmla="*/ 25 w 401"/>
              <a:gd name="T27" fmla="*/ 175 h 401"/>
              <a:gd name="T28" fmla="*/ 0 w 401"/>
              <a:gd name="T29" fmla="*/ 200 h 401"/>
              <a:gd name="T30" fmla="*/ 25 w 401"/>
              <a:gd name="T31" fmla="*/ 226 h 401"/>
              <a:gd name="T32" fmla="*/ 125 w 401"/>
              <a:gd name="T33" fmla="*/ 351 h 401"/>
              <a:gd name="T34" fmla="*/ 174 w 401"/>
              <a:gd name="T35" fmla="*/ 375 h 401"/>
              <a:gd name="T36" fmla="*/ 225 w 401"/>
              <a:gd name="T37" fmla="*/ 37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01">
                <a:moveTo>
                  <a:pt x="225" y="375"/>
                </a:moveTo>
                <a:lnTo>
                  <a:pt x="225" y="375"/>
                </a:lnTo>
                <a:cubicBezTo>
                  <a:pt x="225" y="400"/>
                  <a:pt x="274" y="375"/>
                  <a:pt x="300" y="400"/>
                </a:cubicBezTo>
                <a:cubicBezTo>
                  <a:pt x="325" y="400"/>
                  <a:pt x="325" y="400"/>
                  <a:pt x="349" y="400"/>
                </a:cubicBezTo>
                <a:lnTo>
                  <a:pt x="349" y="375"/>
                </a:lnTo>
                <a:cubicBezTo>
                  <a:pt x="325" y="351"/>
                  <a:pt x="349" y="300"/>
                  <a:pt x="374" y="251"/>
                </a:cubicBezTo>
                <a:cubicBezTo>
                  <a:pt x="374" y="226"/>
                  <a:pt x="349" y="126"/>
                  <a:pt x="374" y="100"/>
                </a:cubicBezTo>
                <a:cubicBezTo>
                  <a:pt x="400" y="75"/>
                  <a:pt x="374" y="51"/>
                  <a:pt x="400" y="0"/>
                </a:cubicBezTo>
                <a:lnTo>
                  <a:pt x="400" y="0"/>
                </a:lnTo>
                <a:cubicBezTo>
                  <a:pt x="349" y="0"/>
                  <a:pt x="300" y="26"/>
                  <a:pt x="300" y="26"/>
                </a:cubicBezTo>
                <a:cubicBezTo>
                  <a:pt x="274" y="26"/>
                  <a:pt x="200" y="26"/>
                  <a:pt x="200" y="51"/>
                </a:cubicBezTo>
                <a:cubicBezTo>
                  <a:pt x="200" y="100"/>
                  <a:pt x="149" y="100"/>
                  <a:pt x="100" y="100"/>
                </a:cubicBezTo>
                <a:cubicBezTo>
                  <a:pt x="49" y="100"/>
                  <a:pt x="74" y="151"/>
                  <a:pt x="74" y="151"/>
                </a:cubicBezTo>
                <a:cubicBezTo>
                  <a:pt x="49" y="175"/>
                  <a:pt x="25" y="175"/>
                  <a:pt x="25" y="175"/>
                </a:cubicBezTo>
                <a:cubicBezTo>
                  <a:pt x="0" y="200"/>
                  <a:pt x="0" y="200"/>
                  <a:pt x="0" y="200"/>
                </a:cubicBezTo>
                <a:cubicBezTo>
                  <a:pt x="0" y="200"/>
                  <a:pt x="0" y="226"/>
                  <a:pt x="25" y="226"/>
                </a:cubicBezTo>
                <a:cubicBezTo>
                  <a:pt x="49" y="251"/>
                  <a:pt x="100" y="325"/>
                  <a:pt x="125" y="351"/>
                </a:cubicBezTo>
                <a:cubicBezTo>
                  <a:pt x="149" y="351"/>
                  <a:pt x="149" y="351"/>
                  <a:pt x="174" y="375"/>
                </a:cubicBezTo>
                <a:cubicBezTo>
                  <a:pt x="174" y="375"/>
                  <a:pt x="200" y="375"/>
                  <a:pt x="225" y="3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0" name="Freeform 103">
            <a:extLst>
              <a:ext uri="{FF2B5EF4-FFF2-40B4-BE49-F238E27FC236}">
                <a16:creationId xmlns:a16="http://schemas.microsoft.com/office/drawing/2014/main" id="{2732962B-9AEA-7DBC-EDF9-4F7F41A3A970}"/>
              </a:ext>
            </a:extLst>
          </p:cNvPr>
          <p:cNvSpPr>
            <a:spLocks noChangeArrowheads="1"/>
          </p:cNvSpPr>
          <p:nvPr/>
        </p:nvSpPr>
        <p:spPr bwMode="auto">
          <a:xfrm>
            <a:off x="6294904" y="5544650"/>
            <a:ext cx="143436" cy="160312"/>
          </a:xfrm>
          <a:custGeom>
            <a:avLst/>
            <a:gdLst>
              <a:gd name="T0" fmla="*/ 450 w 451"/>
              <a:gd name="T1" fmla="*/ 251 h 501"/>
              <a:gd name="T2" fmla="*/ 450 w 451"/>
              <a:gd name="T3" fmla="*/ 251 h 501"/>
              <a:gd name="T4" fmla="*/ 375 w 451"/>
              <a:gd name="T5" fmla="*/ 175 h 501"/>
              <a:gd name="T6" fmla="*/ 275 w 451"/>
              <a:gd name="T7" fmla="*/ 75 h 501"/>
              <a:gd name="T8" fmla="*/ 225 w 451"/>
              <a:gd name="T9" fmla="*/ 100 h 501"/>
              <a:gd name="T10" fmla="*/ 175 w 451"/>
              <a:gd name="T11" fmla="*/ 25 h 501"/>
              <a:gd name="T12" fmla="*/ 100 w 451"/>
              <a:gd name="T13" fmla="*/ 0 h 501"/>
              <a:gd name="T14" fmla="*/ 75 w 451"/>
              <a:gd name="T15" fmla="*/ 0 h 501"/>
              <a:gd name="T16" fmla="*/ 50 w 451"/>
              <a:gd name="T17" fmla="*/ 51 h 501"/>
              <a:gd name="T18" fmla="*/ 25 w 451"/>
              <a:gd name="T19" fmla="*/ 225 h 501"/>
              <a:gd name="T20" fmla="*/ 0 w 451"/>
              <a:gd name="T21" fmla="*/ 351 h 501"/>
              <a:gd name="T22" fmla="*/ 25 w 451"/>
              <a:gd name="T23" fmla="*/ 400 h 501"/>
              <a:gd name="T24" fmla="*/ 0 w 451"/>
              <a:gd name="T25" fmla="*/ 451 h 501"/>
              <a:gd name="T26" fmla="*/ 50 w 451"/>
              <a:gd name="T27" fmla="*/ 451 h 501"/>
              <a:gd name="T28" fmla="*/ 175 w 451"/>
              <a:gd name="T29" fmla="*/ 500 h 501"/>
              <a:gd name="T30" fmla="*/ 250 w 451"/>
              <a:gd name="T31" fmla="*/ 500 h 501"/>
              <a:gd name="T32" fmla="*/ 375 w 451"/>
              <a:gd name="T33" fmla="*/ 475 h 501"/>
              <a:gd name="T34" fmla="*/ 450 w 451"/>
              <a:gd name="T35" fmla="*/ 375 h 501"/>
              <a:gd name="T36" fmla="*/ 450 w 451"/>
              <a:gd name="T37" fmla="*/ 25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 h="501">
                <a:moveTo>
                  <a:pt x="450" y="251"/>
                </a:moveTo>
                <a:lnTo>
                  <a:pt x="450" y="251"/>
                </a:lnTo>
                <a:cubicBezTo>
                  <a:pt x="450" y="200"/>
                  <a:pt x="400" y="175"/>
                  <a:pt x="375" y="175"/>
                </a:cubicBezTo>
                <a:cubicBezTo>
                  <a:pt x="375" y="151"/>
                  <a:pt x="300" y="125"/>
                  <a:pt x="275" y="75"/>
                </a:cubicBezTo>
                <a:cubicBezTo>
                  <a:pt x="250" y="51"/>
                  <a:pt x="250" y="100"/>
                  <a:pt x="225" y="100"/>
                </a:cubicBezTo>
                <a:cubicBezTo>
                  <a:pt x="225" y="100"/>
                  <a:pt x="225" y="75"/>
                  <a:pt x="175" y="25"/>
                </a:cubicBezTo>
                <a:cubicBezTo>
                  <a:pt x="150" y="0"/>
                  <a:pt x="125" y="0"/>
                  <a:pt x="100" y="0"/>
                </a:cubicBezTo>
                <a:cubicBezTo>
                  <a:pt x="100" y="0"/>
                  <a:pt x="100" y="0"/>
                  <a:pt x="75" y="0"/>
                </a:cubicBezTo>
                <a:cubicBezTo>
                  <a:pt x="50" y="25"/>
                  <a:pt x="50" y="51"/>
                  <a:pt x="50" y="51"/>
                </a:cubicBezTo>
                <a:cubicBezTo>
                  <a:pt x="50" y="100"/>
                  <a:pt x="25" y="151"/>
                  <a:pt x="25" y="225"/>
                </a:cubicBezTo>
                <a:cubicBezTo>
                  <a:pt x="25" y="300"/>
                  <a:pt x="0" y="275"/>
                  <a:pt x="0" y="351"/>
                </a:cubicBezTo>
                <a:cubicBezTo>
                  <a:pt x="0" y="400"/>
                  <a:pt x="0" y="400"/>
                  <a:pt x="25" y="400"/>
                </a:cubicBezTo>
                <a:cubicBezTo>
                  <a:pt x="25" y="400"/>
                  <a:pt x="25" y="425"/>
                  <a:pt x="0" y="451"/>
                </a:cubicBezTo>
                <a:cubicBezTo>
                  <a:pt x="25" y="451"/>
                  <a:pt x="25" y="451"/>
                  <a:pt x="50" y="451"/>
                </a:cubicBezTo>
                <a:cubicBezTo>
                  <a:pt x="75" y="451"/>
                  <a:pt x="125" y="475"/>
                  <a:pt x="175" y="500"/>
                </a:cubicBezTo>
                <a:cubicBezTo>
                  <a:pt x="225" y="500"/>
                  <a:pt x="200" y="475"/>
                  <a:pt x="250" y="500"/>
                </a:cubicBezTo>
                <a:cubicBezTo>
                  <a:pt x="275" y="500"/>
                  <a:pt x="325" y="500"/>
                  <a:pt x="375" y="475"/>
                </a:cubicBezTo>
                <a:cubicBezTo>
                  <a:pt x="425" y="451"/>
                  <a:pt x="425" y="425"/>
                  <a:pt x="450" y="375"/>
                </a:cubicBezTo>
                <a:cubicBezTo>
                  <a:pt x="425" y="325"/>
                  <a:pt x="450" y="275"/>
                  <a:pt x="450" y="2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1" name="Freeform 104">
            <a:extLst>
              <a:ext uri="{FF2B5EF4-FFF2-40B4-BE49-F238E27FC236}">
                <a16:creationId xmlns:a16="http://schemas.microsoft.com/office/drawing/2014/main" id="{695163DD-8AB5-2736-4A63-AD5D6C7681AB}"/>
              </a:ext>
            </a:extLst>
          </p:cNvPr>
          <p:cNvSpPr>
            <a:spLocks noChangeArrowheads="1"/>
          </p:cNvSpPr>
          <p:nvPr/>
        </p:nvSpPr>
        <p:spPr bwMode="auto">
          <a:xfrm>
            <a:off x="5832250" y="5273245"/>
            <a:ext cx="606091" cy="1196712"/>
          </a:xfrm>
          <a:custGeom>
            <a:avLst/>
            <a:gdLst>
              <a:gd name="T0" fmla="*/ 725 w 1901"/>
              <a:gd name="T1" fmla="*/ 3675 h 3752"/>
              <a:gd name="T2" fmla="*/ 475 w 1901"/>
              <a:gd name="T3" fmla="*/ 3501 h 3752"/>
              <a:gd name="T4" fmla="*/ 450 w 1901"/>
              <a:gd name="T5" fmla="*/ 3401 h 3752"/>
              <a:gd name="T6" fmla="*/ 625 w 1901"/>
              <a:gd name="T7" fmla="*/ 3726 h 3752"/>
              <a:gd name="T8" fmla="*/ 775 w 1901"/>
              <a:gd name="T9" fmla="*/ 3701 h 3752"/>
              <a:gd name="T10" fmla="*/ 1875 w 1901"/>
              <a:gd name="T11" fmla="*/ 375 h 3752"/>
              <a:gd name="T12" fmla="*/ 1800 w 1901"/>
              <a:gd name="T13" fmla="*/ 375 h 3752"/>
              <a:gd name="T14" fmla="*/ 1750 w 1901"/>
              <a:gd name="T15" fmla="*/ 525 h 3752"/>
              <a:gd name="T16" fmla="*/ 1600 w 1901"/>
              <a:gd name="T17" fmla="*/ 575 h 3752"/>
              <a:gd name="T18" fmla="*/ 1425 w 1901"/>
              <a:gd name="T19" fmla="*/ 550 h 3752"/>
              <a:gd name="T20" fmla="*/ 1525 w 1901"/>
              <a:gd name="T21" fmla="*/ 350 h 3752"/>
              <a:gd name="T22" fmla="*/ 1250 w 1901"/>
              <a:gd name="T23" fmla="*/ 225 h 3752"/>
              <a:gd name="T24" fmla="*/ 1025 w 1901"/>
              <a:gd name="T25" fmla="*/ 25 h 3752"/>
              <a:gd name="T26" fmla="*/ 875 w 1901"/>
              <a:gd name="T27" fmla="*/ 75 h 3752"/>
              <a:gd name="T28" fmla="*/ 675 w 1901"/>
              <a:gd name="T29" fmla="*/ 25 h 3752"/>
              <a:gd name="T30" fmla="*/ 600 w 1901"/>
              <a:gd name="T31" fmla="*/ 200 h 3752"/>
              <a:gd name="T32" fmla="*/ 475 w 1901"/>
              <a:gd name="T33" fmla="*/ 350 h 3752"/>
              <a:gd name="T34" fmla="*/ 500 w 1901"/>
              <a:gd name="T35" fmla="*/ 525 h 3752"/>
              <a:gd name="T36" fmla="*/ 400 w 1901"/>
              <a:gd name="T37" fmla="*/ 650 h 3752"/>
              <a:gd name="T38" fmla="*/ 325 w 1901"/>
              <a:gd name="T39" fmla="*/ 775 h 3752"/>
              <a:gd name="T40" fmla="*/ 300 w 1901"/>
              <a:gd name="T41" fmla="*/ 950 h 3752"/>
              <a:gd name="T42" fmla="*/ 325 w 1901"/>
              <a:gd name="T43" fmla="*/ 1150 h 3752"/>
              <a:gd name="T44" fmla="*/ 325 w 1901"/>
              <a:gd name="T45" fmla="*/ 1301 h 3752"/>
              <a:gd name="T46" fmla="*/ 300 w 1901"/>
              <a:gd name="T47" fmla="*/ 1501 h 3752"/>
              <a:gd name="T48" fmla="*/ 225 w 1901"/>
              <a:gd name="T49" fmla="*/ 1701 h 3752"/>
              <a:gd name="T50" fmla="*/ 200 w 1901"/>
              <a:gd name="T51" fmla="*/ 1801 h 3752"/>
              <a:gd name="T52" fmla="*/ 174 w 1901"/>
              <a:gd name="T53" fmla="*/ 1925 h 3752"/>
              <a:gd name="T54" fmla="*/ 150 w 1901"/>
              <a:gd name="T55" fmla="*/ 2050 h 3752"/>
              <a:gd name="T56" fmla="*/ 150 w 1901"/>
              <a:gd name="T57" fmla="*/ 2250 h 3752"/>
              <a:gd name="T58" fmla="*/ 174 w 1901"/>
              <a:gd name="T59" fmla="*/ 2375 h 3752"/>
              <a:gd name="T60" fmla="*/ 200 w 1901"/>
              <a:gd name="T61" fmla="*/ 2450 h 3752"/>
              <a:gd name="T62" fmla="*/ 174 w 1901"/>
              <a:gd name="T63" fmla="*/ 2526 h 3752"/>
              <a:gd name="T64" fmla="*/ 174 w 1901"/>
              <a:gd name="T65" fmla="*/ 2675 h 3752"/>
              <a:gd name="T66" fmla="*/ 100 w 1901"/>
              <a:gd name="T67" fmla="*/ 2801 h 3752"/>
              <a:gd name="T68" fmla="*/ 74 w 1901"/>
              <a:gd name="T69" fmla="*/ 2950 h 3752"/>
              <a:gd name="T70" fmla="*/ 25 w 1901"/>
              <a:gd name="T71" fmla="*/ 3101 h 3752"/>
              <a:gd name="T72" fmla="*/ 125 w 1901"/>
              <a:gd name="T73" fmla="*/ 3201 h 3752"/>
              <a:gd name="T74" fmla="*/ 174 w 1901"/>
              <a:gd name="T75" fmla="*/ 3326 h 3752"/>
              <a:gd name="T76" fmla="*/ 374 w 1901"/>
              <a:gd name="T77" fmla="*/ 3351 h 3752"/>
              <a:gd name="T78" fmla="*/ 425 w 1901"/>
              <a:gd name="T79" fmla="*/ 3275 h 3752"/>
              <a:gd name="T80" fmla="*/ 425 w 1901"/>
              <a:gd name="T81" fmla="*/ 3126 h 3752"/>
              <a:gd name="T82" fmla="*/ 550 w 1901"/>
              <a:gd name="T83" fmla="*/ 3026 h 3752"/>
              <a:gd name="T84" fmla="*/ 725 w 1901"/>
              <a:gd name="T85" fmla="*/ 2826 h 3752"/>
              <a:gd name="T86" fmla="*/ 650 w 1901"/>
              <a:gd name="T87" fmla="*/ 2701 h 3752"/>
              <a:gd name="T88" fmla="*/ 725 w 1901"/>
              <a:gd name="T89" fmla="*/ 2475 h 3752"/>
              <a:gd name="T90" fmla="*/ 775 w 1901"/>
              <a:gd name="T91" fmla="*/ 2375 h 3752"/>
              <a:gd name="T92" fmla="*/ 850 w 1901"/>
              <a:gd name="T93" fmla="*/ 2250 h 3752"/>
              <a:gd name="T94" fmla="*/ 900 w 1901"/>
              <a:gd name="T95" fmla="*/ 2226 h 3752"/>
              <a:gd name="T96" fmla="*/ 875 w 1901"/>
              <a:gd name="T97" fmla="*/ 2175 h 3752"/>
              <a:gd name="T98" fmla="*/ 800 w 1901"/>
              <a:gd name="T99" fmla="*/ 2075 h 3752"/>
              <a:gd name="T100" fmla="*/ 950 w 1901"/>
              <a:gd name="T101" fmla="*/ 2026 h 3752"/>
              <a:gd name="T102" fmla="*/ 1075 w 1901"/>
              <a:gd name="T103" fmla="*/ 1901 h 3752"/>
              <a:gd name="T104" fmla="*/ 1100 w 1901"/>
              <a:gd name="T105" fmla="*/ 1775 h 3752"/>
              <a:gd name="T106" fmla="*/ 1525 w 1901"/>
              <a:gd name="T107" fmla="*/ 1675 h 3752"/>
              <a:gd name="T108" fmla="*/ 1575 w 1901"/>
              <a:gd name="T109" fmla="*/ 1501 h 3752"/>
              <a:gd name="T110" fmla="*/ 1500 w 1901"/>
              <a:gd name="T111" fmla="*/ 1350 h 3752"/>
              <a:gd name="T112" fmla="*/ 1450 w 1901"/>
              <a:gd name="T113" fmla="*/ 1301 h 3752"/>
              <a:gd name="T114" fmla="*/ 1450 w 1901"/>
              <a:gd name="T115" fmla="*/ 1201 h 3752"/>
              <a:gd name="T116" fmla="*/ 1500 w 1901"/>
              <a:gd name="T117" fmla="*/ 901 h 3752"/>
              <a:gd name="T118" fmla="*/ 1775 w 1901"/>
              <a:gd name="T119" fmla="*/ 575 h 3752"/>
              <a:gd name="T120" fmla="*/ 1875 w 1901"/>
              <a:gd name="T121" fmla="*/ 375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1" h="3752">
                <a:moveTo>
                  <a:pt x="725" y="3675"/>
                </a:moveTo>
                <a:lnTo>
                  <a:pt x="725" y="3675"/>
                </a:lnTo>
                <a:cubicBezTo>
                  <a:pt x="675" y="3675"/>
                  <a:pt x="550" y="3575"/>
                  <a:pt x="525" y="3551"/>
                </a:cubicBezTo>
                <a:cubicBezTo>
                  <a:pt x="500" y="3526"/>
                  <a:pt x="525" y="3501"/>
                  <a:pt x="475" y="3501"/>
                </a:cubicBezTo>
                <a:cubicBezTo>
                  <a:pt x="450" y="3501"/>
                  <a:pt x="475" y="3475"/>
                  <a:pt x="500" y="3475"/>
                </a:cubicBezTo>
                <a:cubicBezTo>
                  <a:pt x="500" y="3451"/>
                  <a:pt x="475" y="3426"/>
                  <a:pt x="450" y="3401"/>
                </a:cubicBezTo>
                <a:cubicBezTo>
                  <a:pt x="450" y="3475"/>
                  <a:pt x="450" y="3726"/>
                  <a:pt x="450" y="3726"/>
                </a:cubicBezTo>
                <a:cubicBezTo>
                  <a:pt x="475" y="3726"/>
                  <a:pt x="575" y="3701"/>
                  <a:pt x="625" y="3726"/>
                </a:cubicBezTo>
                <a:cubicBezTo>
                  <a:pt x="625" y="3726"/>
                  <a:pt x="650" y="3751"/>
                  <a:pt x="650" y="3726"/>
                </a:cubicBezTo>
                <a:cubicBezTo>
                  <a:pt x="675" y="3701"/>
                  <a:pt x="750" y="3726"/>
                  <a:pt x="775" y="3701"/>
                </a:cubicBezTo>
                <a:cubicBezTo>
                  <a:pt x="800" y="3675"/>
                  <a:pt x="775" y="3675"/>
                  <a:pt x="725" y="3675"/>
                </a:cubicBezTo>
                <a:close/>
                <a:moveTo>
                  <a:pt x="1875" y="375"/>
                </a:moveTo>
                <a:lnTo>
                  <a:pt x="1875" y="375"/>
                </a:lnTo>
                <a:cubicBezTo>
                  <a:pt x="1850" y="375"/>
                  <a:pt x="1825" y="375"/>
                  <a:pt x="1800" y="375"/>
                </a:cubicBezTo>
                <a:lnTo>
                  <a:pt x="1800" y="375"/>
                </a:lnTo>
                <a:cubicBezTo>
                  <a:pt x="1825" y="425"/>
                  <a:pt x="1800" y="525"/>
                  <a:pt x="1750" y="525"/>
                </a:cubicBezTo>
                <a:cubicBezTo>
                  <a:pt x="1725" y="525"/>
                  <a:pt x="1700" y="575"/>
                  <a:pt x="1675" y="550"/>
                </a:cubicBezTo>
                <a:cubicBezTo>
                  <a:pt x="1675" y="550"/>
                  <a:pt x="1625" y="600"/>
                  <a:pt x="1600" y="575"/>
                </a:cubicBezTo>
                <a:cubicBezTo>
                  <a:pt x="1575" y="550"/>
                  <a:pt x="1550" y="575"/>
                  <a:pt x="1525" y="575"/>
                </a:cubicBezTo>
                <a:cubicBezTo>
                  <a:pt x="1500" y="550"/>
                  <a:pt x="1425" y="575"/>
                  <a:pt x="1425" y="550"/>
                </a:cubicBezTo>
                <a:cubicBezTo>
                  <a:pt x="1425" y="525"/>
                  <a:pt x="1450" y="525"/>
                  <a:pt x="1450" y="475"/>
                </a:cubicBezTo>
                <a:cubicBezTo>
                  <a:pt x="1450" y="425"/>
                  <a:pt x="1550" y="375"/>
                  <a:pt x="1525" y="350"/>
                </a:cubicBezTo>
                <a:cubicBezTo>
                  <a:pt x="1525" y="350"/>
                  <a:pt x="1375" y="300"/>
                  <a:pt x="1350" y="275"/>
                </a:cubicBezTo>
                <a:cubicBezTo>
                  <a:pt x="1350" y="250"/>
                  <a:pt x="1300" y="225"/>
                  <a:pt x="1250" y="225"/>
                </a:cubicBezTo>
                <a:cubicBezTo>
                  <a:pt x="1200" y="225"/>
                  <a:pt x="1200" y="175"/>
                  <a:pt x="1150" y="150"/>
                </a:cubicBezTo>
                <a:cubicBezTo>
                  <a:pt x="1100" y="125"/>
                  <a:pt x="1050" y="50"/>
                  <a:pt x="1025" y="25"/>
                </a:cubicBezTo>
                <a:cubicBezTo>
                  <a:pt x="975" y="25"/>
                  <a:pt x="925" y="0"/>
                  <a:pt x="925" y="25"/>
                </a:cubicBezTo>
                <a:cubicBezTo>
                  <a:pt x="900" y="50"/>
                  <a:pt x="900" y="125"/>
                  <a:pt x="875" y="75"/>
                </a:cubicBezTo>
                <a:cubicBezTo>
                  <a:pt x="850" y="50"/>
                  <a:pt x="800" y="50"/>
                  <a:pt x="750" y="25"/>
                </a:cubicBezTo>
                <a:cubicBezTo>
                  <a:pt x="725" y="25"/>
                  <a:pt x="725" y="0"/>
                  <a:pt x="675" y="25"/>
                </a:cubicBezTo>
                <a:cubicBezTo>
                  <a:pt x="650" y="50"/>
                  <a:pt x="625" y="75"/>
                  <a:pt x="600" y="100"/>
                </a:cubicBezTo>
                <a:cubicBezTo>
                  <a:pt x="600" y="125"/>
                  <a:pt x="600" y="175"/>
                  <a:pt x="600" y="200"/>
                </a:cubicBezTo>
                <a:cubicBezTo>
                  <a:pt x="575" y="225"/>
                  <a:pt x="475" y="275"/>
                  <a:pt x="475" y="275"/>
                </a:cubicBezTo>
                <a:cubicBezTo>
                  <a:pt x="475" y="300"/>
                  <a:pt x="500" y="350"/>
                  <a:pt x="475" y="350"/>
                </a:cubicBezTo>
                <a:cubicBezTo>
                  <a:pt x="450" y="375"/>
                  <a:pt x="525" y="450"/>
                  <a:pt x="475" y="450"/>
                </a:cubicBezTo>
                <a:cubicBezTo>
                  <a:pt x="450" y="475"/>
                  <a:pt x="500" y="500"/>
                  <a:pt x="500" y="525"/>
                </a:cubicBezTo>
                <a:cubicBezTo>
                  <a:pt x="475" y="525"/>
                  <a:pt x="425" y="550"/>
                  <a:pt x="425" y="575"/>
                </a:cubicBezTo>
                <a:cubicBezTo>
                  <a:pt x="425" y="575"/>
                  <a:pt x="425" y="625"/>
                  <a:pt x="400" y="650"/>
                </a:cubicBezTo>
                <a:cubicBezTo>
                  <a:pt x="374" y="650"/>
                  <a:pt x="350" y="700"/>
                  <a:pt x="350" y="725"/>
                </a:cubicBezTo>
                <a:cubicBezTo>
                  <a:pt x="350" y="750"/>
                  <a:pt x="325" y="725"/>
                  <a:pt x="325" y="775"/>
                </a:cubicBezTo>
                <a:cubicBezTo>
                  <a:pt x="350" y="825"/>
                  <a:pt x="374" y="875"/>
                  <a:pt x="325" y="875"/>
                </a:cubicBezTo>
                <a:cubicBezTo>
                  <a:pt x="300" y="875"/>
                  <a:pt x="325" y="950"/>
                  <a:pt x="300" y="950"/>
                </a:cubicBezTo>
                <a:cubicBezTo>
                  <a:pt x="274" y="950"/>
                  <a:pt x="274" y="1025"/>
                  <a:pt x="300" y="1050"/>
                </a:cubicBezTo>
                <a:cubicBezTo>
                  <a:pt x="325" y="1075"/>
                  <a:pt x="325" y="1101"/>
                  <a:pt x="325" y="1150"/>
                </a:cubicBezTo>
                <a:cubicBezTo>
                  <a:pt x="325" y="1175"/>
                  <a:pt x="350" y="1201"/>
                  <a:pt x="350" y="1225"/>
                </a:cubicBezTo>
                <a:cubicBezTo>
                  <a:pt x="350" y="1250"/>
                  <a:pt x="350" y="1275"/>
                  <a:pt x="325" y="1301"/>
                </a:cubicBezTo>
                <a:cubicBezTo>
                  <a:pt x="300" y="1325"/>
                  <a:pt x="325" y="1350"/>
                  <a:pt x="300" y="1375"/>
                </a:cubicBezTo>
                <a:cubicBezTo>
                  <a:pt x="274" y="1375"/>
                  <a:pt x="325" y="1475"/>
                  <a:pt x="300" y="1501"/>
                </a:cubicBezTo>
                <a:cubicBezTo>
                  <a:pt x="274" y="1501"/>
                  <a:pt x="225" y="1525"/>
                  <a:pt x="225" y="1575"/>
                </a:cubicBezTo>
                <a:cubicBezTo>
                  <a:pt x="225" y="1650"/>
                  <a:pt x="225" y="1675"/>
                  <a:pt x="225" y="1701"/>
                </a:cubicBezTo>
                <a:cubicBezTo>
                  <a:pt x="225" y="1725"/>
                  <a:pt x="250" y="1725"/>
                  <a:pt x="250" y="1750"/>
                </a:cubicBezTo>
                <a:cubicBezTo>
                  <a:pt x="250" y="1801"/>
                  <a:pt x="200" y="1775"/>
                  <a:pt x="200" y="1801"/>
                </a:cubicBezTo>
                <a:cubicBezTo>
                  <a:pt x="200" y="1825"/>
                  <a:pt x="200" y="1875"/>
                  <a:pt x="200" y="1875"/>
                </a:cubicBezTo>
                <a:cubicBezTo>
                  <a:pt x="174" y="1875"/>
                  <a:pt x="174" y="1875"/>
                  <a:pt x="174" y="1925"/>
                </a:cubicBezTo>
                <a:cubicBezTo>
                  <a:pt x="174" y="1975"/>
                  <a:pt x="150" y="1975"/>
                  <a:pt x="150" y="2001"/>
                </a:cubicBezTo>
                <a:cubicBezTo>
                  <a:pt x="150" y="2001"/>
                  <a:pt x="150" y="2026"/>
                  <a:pt x="150" y="2050"/>
                </a:cubicBezTo>
                <a:cubicBezTo>
                  <a:pt x="150" y="2075"/>
                  <a:pt x="174" y="2150"/>
                  <a:pt x="150" y="2150"/>
                </a:cubicBezTo>
                <a:cubicBezTo>
                  <a:pt x="125" y="2150"/>
                  <a:pt x="125" y="2250"/>
                  <a:pt x="150" y="2250"/>
                </a:cubicBezTo>
                <a:cubicBezTo>
                  <a:pt x="150" y="2275"/>
                  <a:pt x="150" y="2301"/>
                  <a:pt x="150" y="2301"/>
                </a:cubicBezTo>
                <a:cubicBezTo>
                  <a:pt x="150" y="2326"/>
                  <a:pt x="200" y="2350"/>
                  <a:pt x="174" y="2375"/>
                </a:cubicBezTo>
                <a:cubicBezTo>
                  <a:pt x="150" y="2401"/>
                  <a:pt x="150" y="2426"/>
                  <a:pt x="200" y="2426"/>
                </a:cubicBezTo>
                <a:cubicBezTo>
                  <a:pt x="225" y="2401"/>
                  <a:pt x="250" y="2450"/>
                  <a:pt x="200" y="2450"/>
                </a:cubicBezTo>
                <a:cubicBezTo>
                  <a:pt x="174" y="2450"/>
                  <a:pt x="150" y="2450"/>
                  <a:pt x="174" y="2475"/>
                </a:cubicBezTo>
                <a:cubicBezTo>
                  <a:pt x="200" y="2501"/>
                  <a:pt x="225" y="2526"/>
                  <a:pt x="174" y="2526"/>
                </a:cubicBezTo>
                <a:cubicBezTo>
                  <a:pt x="150" y="2550"/>
                  <a:pt x="174" y="2575"/>
                  <a:pt x="174" y="2601"/>
                </a:cubicBezTo>
                <a:cubicBezTo>
                  <a:pt x="150" y="2650"/>
                  <a:pt x="200" y="2675"/>
                  <a:pt x="174" y="2675"/>
                </a:cubicBezTo>
                <a:cubicBezTo>
                  <a:pt x="150" y="2701"/>
                  <a:pt x="174" y="2750"/>
                  <a:pt x="150" y="2750"/>
                </a:cubicBezTo>
                <a:cubicBezTo>
                  <a:pt x="100" y="2750"/>
                  <a:pt x="125" y="2801"/>
                  <a:pt x="100" y="2801"/>
                </a:cubicBezTo>
                <a:cubicBezTo>
                  <a:pt x="74" y="2826"/>
                  <a:pt x="125" y="2875"/>
                  <a:pt x="100" y="2875"/>
                </a:cubicBezTo>
                <a:cubicBezTo>
                  <a:pt x="74" y="2901"/>
                  <a:pt x="100" y="2950"/>
                  <a:pt x="74" y="2950"/>
                </a:cubicBezTo>
                <a:cubicBezTo>
                  <a:pt x="25" y="2950"/>
                  <a:pt x="25" y="3001"/>
                  <a:pt x="0" y="3001"/>
                </a:cubicBezTo>
                <a:cubicBezTo>
                  <a:pt x="0" y="3026"/>
                  <a:pt x="0" y="3075"/>
                  <a:pt x="25" y="3101"/>
                </a:cubicBezTo>
                <a:cubicBezTo>
                  <a:pt x="50" y="3126"/>
                  <a:pt x="0" y="3150"/>
                  <a:pt x="25" y="3150"/>
                </a:cubicBezTo>
                <a:cubicBezTo>
                  <a:pt x="50" y="3175"/>
                  <a:pt x="125" y="3150"/>
                  <a:pt x="125" y="3201"/>
                </a:cubicBezTo>
                <a:cubicBezTo>
                  <a:pt x="100" y="3226"/>
                  <a:pt x="100" y="3301"/>
                  <a:pt x="125" y="3301"/>
                </a:cubicBezTo>
                <a:cubicBezTo>
                  <a:pt x="150" y="3301"/>
                  <a:pt x="150" y="3351"/>
                  <a:pt x="174" y="3326"/>
                </a:cubicBezTo>
                <a:cubicBezTo>
                  <a:pt x="200" y="3326"/>
                  <a:pt x="300" y="3326"/>
                  <a:pt x="325" y="3326"/>
                </a:cubicBezTo>
                <a:cubicBezTo>
                  <a:pt x="350" y="3351"/>
                  <a:pt x="374" y="3351"/>
                  <a:pt x="374" y="3351"/>
                </a:cubicBezTo>
                <a:cubicBezTo>
                  <a:pt x="400" y="3351"/>
                  <a:pt x="475" y="3375"/>
                  <a:pt x="475" y="3375"/>
                </a:cubicBezTo>
                <a:cubicBezTo>
                  <a:pt x="500" y="3351"/>
                  <a:pt x="425" y="3301"/>
                  <a:pt x="425" y="3275"/>
                </a:cubicBezTo>
                <a:lnTo>
                  <a:pt x="425" y="3226"/>
                </a:lnTo>
                <a:cubicBezTo>
                  <a:pt x="425" y="3201"/>
                  <a:pt x="400" y="3150"/>
                  <a:pt x="425" y="3126"/>
                </a:cubicBezTo>
                <a:cubicBezTo>
                  <a:pt x="475" y="3101"/>
                  <a:pt x="475" y="3075"/>
                  <a:pt x="475" y="3101"/>
                </a:cubicBezTo>
                <a:cubicBezTo>
                  <a:pt x="500" y="3101"/>
                  <a:pt x="550" y="3075"/>
                  <a:pt x="550" y="3026"/>
                </a:cubicBezTo>
                <a:cubicBezTo>
                  <a:pt x="550" y="2975"/>
                  <a:pt x="575" y="2950"/>
                  <a:pt x="600" y="2926"/>
                </a:cubicBezTo>
                <a:cubicBezTo>
                  <a:pt x="650" y="2875"/>
                  <a:pt x="725" y="2850"/>
                  <a:pt x="725" y="2826"/>
                </a:cubicBezTo>
                <a:cubicBezTo>
                  <a:pt x="700" y="2801"/>
                  <a:pt x="725" y="2750"/>
                  <a:pt x="725" y="2726"/>
                </a:cubicBezTo>
                <a:cubicBezTo>
                  <a:pt x="725" y="2726"/>
                  <a:pt x="675" y="2726"/>
                  <a:pt x="650" y="2701"/>
                </a:cubicBezTo>
                <a:cubicBezTo>
                  <a:pt x="625" y="2701"/>
                  <a:pt x="525" y="2650"/>
                  <a:pt x="575" y="2575"/>
                </a:cubicBezTo>
                <a:cubicBezTo>
                  <a:pt x="625" y="2501"/>
                  <a:pt x="700" y="2475"/>
                  <a:pt x="725" y="2475"/>
                </a:cubicBezTo>
                <a:cubicBezTo>
                  <a:pt x="750" y="2475"/>
                  <a:pt x="725" y="2450"/>
                  <a:pt x="750" y="2426"/>
                </a:cubicBezTo>
                <a:cubicBezTo>
                  <a:pt x="775" y="2426"/>
                  <a:pt x="775" y="2401"/>
                  <a:pt x="775" y="2375"/>
                </a:cubicBezTo>
                <a:cubicBezTo>
                  <a:pt x="775" y="2326"/>
                  <a:pt x="775" y="2275"/>
                  <a:pt x="825" y="2275"/>
                </a:cubicBezTo>
                <a:cubicBezTo>
                  <a:pt x="850" y="2275"/>
                  <a:pt x="875" y="2250"/>
                  <a:pt x="850" y="2250"/>
                </a:cubicBezTo>
                <a:cubicBezTo>
                  <a:pt x="825" y="2226"/>
                  <a:pt x="800" y="2201"/>
                  <a:pt x="850" y="2201"/>
                </a:cubicBezTo>
                <a:cubicBezTo>
                  <a:pt x="875" y="2201"/>
                  <a:pt x="875" y="2226"/>
                  <a:pt x="900" y="2226"/>
                </a:cubicBezTo>
                <a:cubicBezTo>
                  <a:pt x="925" y="2226"/>
                  <a:pt x="975" y="2175"/>
                  <a:pt x="925" y="2150"/>
                </a:cubicBezTo>
                <a:cubicBezTo>
                  <a:pt x="900" y="2126"/>
                  <a:pt x="900" y="2175"/>
                  <a:pt x="875" y="2175"/>
                </a:cubicBezTo>
                <a:cubicBezTo>
                  <a:pt x="850" y="2175"/>
                  <a:pt x="850" y="2150"/>
                  <a:pt x="825" y="2150"/>
                </a:cubicBezTo>
                <a:cubicBezTo>
                  <a:pt x="800" y="2150"/>
                  <a:pt x="825" y="2101"/>
                  <a:pt x="800" y="2075"/>
                </a:cubicBezTo>
                <a:cubicBezTo>
                  <a:pt x="800" y="2050"/>
                  <a:pt x="775" y="2026"/>
                  <a:pt x="800" y="2001"/>
                </a:cubicBezTo>
                <a:cubicBezTo>
                  <a:pt x="825" y="1975"/>
                  <a:pt x="900" y="2026"/>
                  <a:pt x="950" y="2026"/>
                </a:cubicBezTo>
                <a:cubicBezTo>
                  <a:pt x="1025" y="2026"/>
                  <a:pt x="1050" y="2001"/>
                  <a:pt x="1050" y="1975"/>
                </a:cubicBezTo>
                <a:cubicBezTo>
                  <a:pt x="1050" y="1950"/>
                  <a:pt x="1025" y="1925"/>
                  <a:pt x="1075" y="1901"/>
                </a:cubicBezTo>
                <a:cubicBezTo>
                  <a:pt x="1100" y="1875"/>
                  <a:pt x="1075" y="1850"/>
                  <a:pt x="1075" y="1825"/>
                </a:cubicBezTo>
                <a:cubicBezTo>
                  <a:pt x="1050" y="1801"/>
                  <a:pt x="1075" y="1775"/>
                  <a:pt x="1100" y="1775"/>
                </a:cubicBezTo>
                <a:cubicBezTo>
                  <a:pt x="1125" y="1801"/>
                  <a:pt x="1225" y="1801"/>
                  <a:pt x="1350" y="1775"/>
                </a:cubicBezTo>
                <a:cubicBezTo>
                  <a:pt x="1450" y="1750"/>
                  <a:pt x="1500" y="1701"/>
                  <a:pt x="1525" y="1675"/>
                </a:cubicBezTo>
                <a:cubicBezTo>
                  <a:pt x="1525" y="1650"/>
                  <a:pt x="1600" y="1575"/>
                  <a:pt x="1600" y="1550"/>
                </a:cubicBezTo>
                <a:cubicBezTo>
                  <a:pt x="1625" y="1525"/>
                  <a:pt x="1600" y="1501"/>
                  <a:pt x="1575" y="1501"/>
                </a:cubicBezTo>
                <a:cubicBezTo>
                  <a:pt x="1525" y="1501"/>
                  <a:pt x="1525" y="1450"/>
                  <a:pt x="1550" y="1425"/>
                </a:cubicBezTo>
                <a:cubicBezTo>
                  <a:pt x="1575" y="1401"/>
                  <a:pt x="1525" y="1375"/>
                  <a:pt x="1500" y="1350"/>
                </a:cubicBezTo>
                <a:cubicBezTo>
                  <a:pt x="1450" y="1350"/>
                  <a:pt x="1400" y="1325"/>
                  <a:pt x="1425" y="1301"/>
                </a:cubicBezTo>
                <a:cubicBezTo>
                  <a:pt x="1450" y="1275"/>
                  <a:pt x="1450" y="1275"/>
                  <a:pt x="1450" y="1301"/>
                </a:cubicBezTo>
                <a:cubicBezTo>
                  <a:pt x="1475" y="1275"/>
                  <a:pt x="1475" y="1250"/>
                  <a:pt x="1475" y="1250"/>
                </a:cubicBezTo>
                <a:cubicBezTo>
                  <a:pt x="1450" y="1250"/>
                  <a:pt x="1450" y="1250"/>
                  <a:pt x="1450" y="1201"/>
                </a:cubicBezTo>
                <a:cubicBezTo>
                  <a:pt x="1450" y="1125"/>
                  <a:pt x="1475" y="1150"/>
                  <a:pt x="1475" y="1075"/>
                </a:cubicBezTo>
                <a:cubicBezTo>
                  <a:pt x="1475" y="1001"/>
                  <a:pt x="1500" y="950"/>
                  <a:pt x="1500" y="901"/>
                </a:cubicBezTo>
                <a:cubicBezTo>
                  <a:pt x="1500" y="875"/>
                  <a:pt x="1575" y="825"/>
                  <a:pt x="1600" y="750"/>
                </a:cubicBezTo>
                <a:cubicBezTo>
                  <a:pt x="1650" y="700"/>
                  <a:pt x="1725" y="600"/>
                  <a:pt x="1775" y="575"/>
                </a:cubicBezTo>
                <a:cubicBezTo>
                  <a:pt x="1800" y="575"/>
                  <a:pt x="1875" y="550"/>
                  <a:pt x="1875" y="525"/>
                </a:cubicBezTo>
                <a:cubicBezTo>
                  <a:pt x="1900" y="500"/>
                  <a:pt x="1875" y="400"/>
                  <a:pt x="1875" y="37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2" name="Freeform 105">
            <a:extLst>
              <a:ext uri="{FF2B5EF4-FFF2-40B4-BE49-F238E27FC236}">
                <a16:creationId xmlns:a16="http://schemas.microsoft.com/office/drawing/2014/main" id="{6620292A-7AA7-9627-4053-5D0F94CEC77C}"/>
              </a:ext>
            </a:extLst>
          </p:cNvPr>
          <p:cNvSpPr>
            <a:spLocks noChangeArrowheads="1"/>
          </p:cNvSpPr>
          <p:nvPr/>
        </p:nvSpPr>
        <p:spPr bwMode="auto">
          <a:xfrm>
            <a:off x="5760532" y="5138246"/>
            <a:ext cx="271404" cy="1355616"/>
          </a:xfrm>
          <a:custGeom>
            <a:avLst/>
            <a:gdLst>
              <a:gd name="T0" fmla="*/ 351 w 852"/>
              <a:gd name="T1" fmla="*/ 3726 h 4252"/>
              <a:gd name="T2" fmla="*/ 251 w 852"/>
              <a:gd name="T3" fmla="*/ 3526 h 4252"/>
              <a:gd name="T4" fmla="*/ 326 w 852"/>
              <a:gd name="T5" fmla="*/ 3300 h 4252"/>
              <a:gd name="T6" fmla="*/ 400 w 852"/>
              <a:gd name="T7" fmla="*/ 3100 h 4252"/>
              <a:gd name="T8" fmla="*/ 400 w 852"/>
              <a:gd name="T9" fmla="*/ 2900 h 4252"/>
              <a:gd name="T10" fmla="*/ 400 w 852"/>
              <a:gd name="T11" fmla="*/ 2800 h 4252"/>
              <a:gd name="T12" fmla="*/ 376 w 852"/>
              <a:gd name="T13" fmla="*/ 2575 h 4252"/>
              <a:gd name="T14" fmla="*/ 400 w 852"/>
              <a:gd name="T15" fmla="*/ 2350 h 4252"/>
              <a:gd name="T16" fmla="*/ 476 w 852"/>
              <a:gd name="T17" fmla="*/ 2175 h 4252"/>
              <a:gd name="T18" fmla="*/ 526 w 852"/>
              <a:gd name="T19" fmla="*/ 1926 h 4252"/>
              <a:gd name="T20" fmla="*/ 576 w 852"/>
              <a:gd name="T21" fmla="*/ 1650 h 4252"/>
              <a:gd name="T22" fmla="*/ 526 w 852"/>
              <a:gd name="T23" fmla="*/ 1375 h 4252"/>
              <a:gd name="T24" fmla="*/ 576 w 852"/>
              <a:gd name="T25" fmla="*/ 1150 h 4252"/>
              <a:gd name="T26" fmla="*/ 726 w 852"/>
              <a:gd name="T27" fmla="*/ 950 h 4252"/>
              <a:gd name="T28" fmla="*/ 701 w 852"/>
              <a:gd name="T29" fmla="*/ 700 h 4252"/>
              <a:gd name="T30" fmla="*/ 776 w 852"/>
              <a:gd name="T31" fmla="*/ 525 h 4252"/>
              <a:gd name="T32" fmla="*/ 676 w 852"/>
              <a:gd name="T33" fmla="*/ 275 h 4252"/>
              <a:gd name="T34" fmla="*/ 651 w 852"/>
              <a:gd name="T35" fmla="*/ 50 h 4252"/>
              <a:gd name="T36" fmla="*/ 551 w 852"/>
              <a:gd name="T37" fmla="*/ 100 h 4252"/>
              <a:gd name="T38" fmla="*/ 526 w 852"/>
              <a:gd name="T39" fmla="*/ 575 h 4252"/>
              <a:gd name="T40" fmla="*/ 476 w 852"/>
              <a:gd name="T41" fmla="*/ 950 h 4252"/>
              <a:gd name="T42" fmla="*/ 451 w 852"/>
              <a:gd name="T43" fmla="*/ 1250 h 4252"/>
              <a:gd name="T44" fmla="*/ 376 w 852"/>
              <a:gd name="T45" fmla="*/ 1626 h 4252"/>
              <a:gd name="T46" fmla="*/ 226 w 852"/>
              <a:gd name="T47" fmla="*/ 2026 h 4252"/>
              <a:gd name="T48" fmla="*/ 251 w 852"/>
              <a:gd name="T49" fmla="*/ 2300 h 4252"/>
              <a:gd name="T50" fmla="*/ 200 w 852"/>
              <a:gd name="T51" fmla="*/ 2551 h 4252"/>
              <a:gd name="T52" fmla="*/ 226 w 852"/>
              <a:gd name="T53" fmla="*/ 2551 h 4252"/>
              <a:gd name="T54" fmla="*/ 300 w 852"/>
              <a:gd name="T55" fmla="*/ 2575 h 4252"/>
              <a:gd name="T56" fmla="*/ 251 w 852"/>
              <a:gd name="T57" fmla="*/ 2800 h 4252"/>
              <a:gd name="T58" fmla="*/ 251 w 852"/>
              <a:gd name="T59" fmla="*/ 2951 h 4252"/>
              <a:gd name="T60" fmla="*/ 151 w 852"/>
              <a:gd name="T61" fmla="*/ 3000 h 4252"/>
              <a:gd name="T62" fmla="*/ 176 w 852"/>
              <a:gd name="T63" fmla="*/ 2951 h 4252"/>
              <a:gd name="T64" fmla="*/ 76 w 852"/>
              <a:gd name="T65" fmla="*/ 3051 h 4252"/>
              <a:gd name="T66" fmla="*/ 100 w 852"/>
              <a:gd name="T67" fmla="*/ 3126 h 4252"/>
              <a:gd name="T68" fmla="*/ 126 w 852"/>
              <a:gd name="T69" fmla="*/ 3226 h 4252"/>
              <a:gd name="T70" fmla="*/ 151 w 852"/>
              <a:gd name="T71" fmla="*/ 3251 h 4252"/>
              <a:gd name="T72" fmla="*/ 76 w 852"/>
              <a:gd name="T73" fmla="*/ 3351 h 4252"/>
              <a:gd name="T74" fmla="*/ 100 w 852"/>
              <a:gd name="T75" fmla="*/ 3375 h 4252"/>
              <a:gd name="T76" fmla="*/ 100 w 852"/>
              <a:gd name="T77" fmla="*/ 3500 h 4252"/>
              <a:gd name="T78" fmla="*/ 151 w 852"/>
              <a:gd name="T79" fmla="*/ 3475 h 4252"/>
              <a:gd name="T80" fmla="*/ 76 w 852"/>
              <a:gd name="T81" fmla="*/ 3626 h 4252"/>
              <a:gd name="T82" fmla="*/ 176 w 852"/>
              <a:gd name="T83" fmla="*/ 3651 h 4252"/>
              <a:gd name="T84" fmla="*/ 226 w 852"/>
              <a:gd name="T85" fmla="*/ 3751 h 4252"/>
              <a:gd name="T86" fmla="*/ 226 w 852"/>
              <a:gd name="T87" fmla="*/ 3776 h 4252"/>
              <a:gd name="T88" fmla="*/ 400 w 852"/>
              <a:gd name="T89" fmla="*/ 3826 h 4252"/>
              <a:gd name="T90" fmla="*/ 251 w 852"/>
              <a:gd name="T91" fmla="*/ 3876 h 4252"/>
              <a:gd name="T92" fmla="*/ 426 w 852"/>
              <a:gd name="T93" fmla="*/ 3876 h 4252"/>
              <a:gd name="T94" fmla="*/ 226 w 852"/>
              <a:gd name="T95" fmla="*/ 3951 h 4252"/>
              <a:gd name="T96" fmla="*/ 376 w 852"/>
              <a:gd name="T97" fmla="*/ 4051 h 4252"/>
              <a:gd name="T98" fmla="*/ 451 w 852"/>
              <a:gd name="T99" fmla="*/ 3926 h 4252"/>
              <a:gd name="T100" fmla="*/ 526 w 852"/>
              <a:gd name="T101" fmla="*/ 3926 h 4252"/>
              <a:gd name="T102" fmla="*/ 551 w 852"/>
              <a:gd name="T103" fmla="*/ 4051 h 4252"/>
              <a:gd name="T104" fmla="*/ 451 w 852"/>
              <a:gd name="T105" fmla="*/ 4000 h 4252"/>
              <a:gd name="T106" fmla="*/ 451 w 852"/>
              <a:gd name="T107" fmla="*/ 4100 h 4252"/>
              <a:gd name="T108" fmla="*/ 600 w 852"/>
              <a:gd name="T109" fmla="*/ 4200 h 4252"/>
              <a:gd name="T110" fmla="*/ 701 w 852"/>
              <a:gd name="T111" fmla="*/ 4176 h 4252"/>
              <a:gd name="T112" fmla="*/ 851 w 852"/>
              <a:gd name="T113" fmla="*/ 4151 h 4252"/>
              <a:gd name="T114" fmla="*/ 676 w 852"/>
              <a:gd name="T115" fmla="*/ 3826 h 4252"/>
              <a:gd name="T116" fmla="*/ 551 w 852"/>
              <a:gd name="T117" fmla="*/ 3751 h 4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2" h="4252">
                <a:moveTo>
                  <a:pt x="400" y="3751"/>
                </a:moveTo>
                <a:lnTo>
                  <a:pt x="400" y="3751"/>
                </a:lnTo>
                <a:cubicBezTo>
                  <a:pt x="376" y="3776"/>
                  <a:pt x="376" y="3726"/>
                  <a:pt x="351" y="3726"/>
                </a:cubicBezTo>
                <a:cubicBezTo>
                  <a:pt x="326" y="3726"/>
                  <a:pt x="326" y="3651"/>
                  <a:pt x="351" y="3626"/>
                </a:cubicBezTo>
                <a:cubicBezTo>
                  <a:pt x="351" y="3575"/>
                  <a:pt x="276" y="3600"/>
                  <a:pt x="251" y="3575"/>
                </a:cubicBezTo>
                <a:cubicBezTo>
                  <a:pt x="226" y="3575"/>
                  <a:pt x="276" y="3551"/>
                  <a:pt x="251" y="3526"/>
                </a:cubicBezTo>
                <a:cubicBezTo>
                  <a:pt x="226" y="3500"/>
                  <a:pt x="226" y="3451"/>
                  <a:pt x="226" y="3426"/>
                </a:cubicBezTo>
                <a:cubicBezTo>
                  <a:pt x="251" y="3426"/>
                  <a:pt x="251" y="3375"/>
                  <a:pt x="300" y="3375"/>
                </a:cubicBezTo>
                <a:cubicBezTo>
                  <a:pt x="326" y="3375"/>
                  <a:pt x="300" y="3326"/>
                  <a:pt x="326" y="3300"/>
                </a:cubicBezTo>
                <a:cubicBezTo>
                  <a:pt x="351" y="3300"/>
                  <a:pt x="300" y="3251"/>
                  <a:pt x="326" y="3226"/>
                </a:cubicBezTo>
                <a:cubicBezTo>
                  <a:pt x="351" y="3226"/>
                  <a:pt x="326" y="3175"/>
                  <a:pt x="376" y="3175"/>
                </a:cubicBezTo>
                <a:cubicBezTo>
                  <a:pt x="400" y="3175"/>
                  <a:pt x="376" y="3126"/>
                  <a:pt x="400" y="3100"/>
                </a:cubicBezTo>
                <a:cubicBezTo>
                  <a:pt x="426" y="3100"/>
                  <a:pt x="376" y="3075"/>
                  <a:pt x="400" y="3026"/>
                </a:cubicBezTo>
                <a:cubicBezTo>
                  <a:pt x="400" y="3000"/>
                  <a:pt x="376" y="2975"/>
                  <a:pt x="400" y="2951"/>
                </a:cubicBezTo>
                <a:cubicBezTo>
                  <a:pt x="451" y="2951"/>
                  <a:pt x="426" y="2926"/>
                  <a:pt x="400" y="2900"/>
                </a:cubicBezTo>
                <a:cubicBezTo>
                  <a:pt x="376" y="2875"/>
                  <a:pt x="400" y="2875"/>
                  <a:pt x="426" y="2875"/>
                </a:cubicBezTo>
                <a:cubicBezTo>
                  <a:pt x="476" y="2875"/>
                  <a:pt x="451" y="2826"/>
                  <a:pt x="426" y="2851"/>
                </a:cubicBezTo>
                <a:cubicBezTo>
                  <a:pt x="376" y="2851"/>
                  <a:pt x="376" y="2826"/>
                  <a:pt x="400" y="2800"/>
                </a:cubicBezTo>
                <a:cubicBezTo>
                  <a:pt x="426" y="2775"/>
                  <a:pt x="376" y="2751"/>
                  <a:pt x="376" y="2726"/>
                </a:cubicBezTo>
                <a:cubicBezTo>
                  <a:pt x="376" y="2726"/>
                  <a:pt x="376" y="2700"/>
                  <a:pt x="376" y="2675"/>
                </a:cubicBezTo>
                <a:cubicBezTo>
                  <a:pt x="351" y="2675"/>
                  <a:pt x="351" y="2575"/>
                  <a:pt x="376" y="2575"/>
                </a:cubicBezTo>
                <a:cubicBezTo>
                  <a:pt x="400" y="2575"/>
                  <a:pt x="376" y="2500"/>
                  <a:pt x="376" y="2475"/>
                </a:cubicBezTo>
                <a:cubicBezTo>
                  <a:pt x="376" y="2451"/>
                  <a:pt x="376" y="2426"/>
                  <a:pt x="376" y="2426"/>
                </a:cubicBezTo>
                <a:cubicBezTo>
                  <a:pt x="376" y="2400"/>
                  <a:pt x="400" y="2400"/>
                  <a:pt x="400" y="2350"/>
                </a:cubicBezTo>
                <a:cubicBezTo>
                  <a:pt x="400" y="2300"/>
                  <a:pt x="400" y="2300"/>
                  <a:pt x="426" y="2300"/>
                </a:cubicBezTo>
                <a:cubicBezTo>
                  <a:pt x="426" y="2300"/>
                  <a:pt x="426" y="2250"/>
                  <a:pt x="426" y="2226"/>
                </a:cubicBezTo>
                <a:cubicBezTo>
                  <a:pt x="426" y="2200"/>
                  <a:pt x="476" y="2226"/>
                  <a:pt x="476" y="2175"/>
                </a:cubicBezTo>
                <a:cubicBezTo>
                  <a:pt x="476" y="2150"/>
                  <a:pt x="451" y="2150"/>
                  <a:pt x="451" y="2126"/>
                </a:cubicBezTo>
                <a:cubicBezTo>
                  <a:pt x="451" y="2100"/>
                  <a:pt x="451" y="2075"/>
                  <a:pt x="451" y="2000"/>
                </a:cubicBezTo>
                <a:cubicBezTo>
                  <a:pt x="451" y="1950"/>
                  <a:pt x="500" y="1926"/>
                  <a:pt x="526" y="1926"/>
                </a:cubicBezTo>
                <a:cubicBezTo>
                  <a:pt x="551" y="1900"/>
                  <a:pt x="500" y="1800"/>
                  <a:pt x="526" y="1800"/>
                </a:cubicBezTo>
                <a:cubicBezTo>
                  <a:pt x="551" y="1775"/>
                  <a:pt x="526" y="1750"/>
                  <a:pt x="551" y="1726"/>
                </a:cubicBezTo>
                <a:cubicBezTo>
                  <a:pt x="576" y="1700"/>
                  <a:pt x="576" y="1675"/>
                  <a:pt x="576" y="1650"/>
                </a:cubicBezTo>
                <a:cubicBezTo>
                  <a:pt x="576" y="1626"/>
                  <a:pt x="551" y="1600"/>
                  <a:pt x="551" y="1575"/>
                </a:cubicBezTo>
                <a:cubicBezTo>
                  <a:pt x="551" y="1526"/>
                  <a:pt x="551" y="1500"/>
                  <a:pt x="526" y="1475"/>
                </a:cubicBezTo>
                <a:cubicBezTo>
                  <a:pt x="500" y="1450"/>
                  <a:pt x="500" y="1375"/>
                  <a:pt x="526" y="1375"/>
                </a:cubicBezTo>
                <a:cubicBezTo>
                  <a:pt x="551" y="1375"/>
                  <a:pt x="526" y="1300"/>
                  <a:pt x="551" y="1300"/>
                </a:cubicBezTo>
                <a:cubicBezTo>
                  <a:pt x="600" y="1300"/>
                  <a:pt x="576" y="1250"/>
                  <a:pt x="551" y="1200"/>
                </a:cubicBezTo>
                <a:cubicBezTo>
                  <a:pt x="551" y="1150"/>
                  <a:pt x="576" y="1175"/>
                  <a:pt x="576" y="1150"/>
                </a:cubicBezTo>
                <a:cubicBezTo>
                  <a:pt x="576" y="1125"/>
                  <a:pt x="600" y="1075"/>
                  <a:pt x="626" y="1075"/>
                </a:cubicBezTo>
                <a:cubicBezTo>
                  <a:pt x="651" y="1050"/>
                  <a:pt x="651" y="1000"/>
                  <a:pt x="651" y="1000"/>
                </a:cubicBezTo>
                <a:cubicBezTo>
                  <a:pt x="651" y="975"/>
                  <a:pt x="701" y="950"/>
                  <a:pt x="726" y="950"/>
                </a:cubicBezTo>
                <a:cubicBezTo>
                  <a:pt x="726" y="925"/>
                  <a:pt x="676" y="900"/>
                  <a:pt x="701" y="875"/>
                </a:cubicBezTo>
                <a:cubicBezTo>
                  <a:pt x="751" y="875"/>
                  <a:pt x="676" y="800"/>
                  <a:pt x="701" y="775"/>
                </a:cubicBezTo>
                <a:cubicBezTo>
                  <a:pt x="726" y="775"/>
                  <a:pt x="701" y="725"/>
                  <a:pt x="701" y="700"/>
                </a:cubicBezTo>
                <a:cubicBezTo>
                  <a:pt x="701" y="700"/>
                  <a:pt x="801" y="650"/>
                  <a:pt x="826" y="625"/>
                </a:cubicBezTo>
                <a:cubicBezTo>
                  <a:pt x="826" y="600"/>
                  <a:pt x="826" y="550"/>
                  <a:pt x="826" y="525"/>
                </a:cubicBezTo>
                <a:cubicBezTo>
                  <a:pt x="801" y="525"/>
                  <a:pt x="776" y="550"/>
                  <a:pt x="776" y="525"/>
                </a:cubicBezTo>
                <a:cubicBezTo>
                  <a:pt x="776" y="525"/>
                  <a:pt x="776" y="450"/>
                  <a:pt x="751" y="425"/>
                </a:cubicBezTo>
                <a:cubicBezTo>
                  <a:pt x="726" y="400"/>
                  <a:pt x="751" y="350"/>
                  <a:pt x="726" y="350"/>
                </a:cubicBezTo>
                <a:cubicBezTo>
                  <a:pt x="701" y="325"/>
                  <a:pt x="676" y="275"/>
                  <a:pt x="676" y="275"/>
                </a:cubicBezTo>
                <a:cubicBezTo>
                  <a:pt x="701" y="250"/>
                  <a:pt x="676" y="225"/>
                  <a:pt x="701" y="200"/>
                </a:cubicBezTo>
                <a:cubicBezTo>
                  <a:pt x="726" y="175"/>
                  <a:pt x="701" y="175"/>
                  <a:pt x="676" y="150"/>
                </a:cubicBezTo>
                <a:cubicBezTo>
                  <a:pt x="651" y="125"/>
                  <a:pt x="676" y="75"/>
                  <a:pt x="651" y="50"/>
                </a:cubicBezTo>
                <a:cubicBezTo>
                  <a:pt x="600" y="24"/>
                  <a:pt x="600" y="0"/>
                  <a:pt x="600" y="0"/>
                </a:cubicBezTo>
                <a:cubicBezTo>
                  <a:pt x="600" y="24"/>
                  <a:pt x="600" y="75"/>
                  <a:pt x="576" y="75"/>
                </a:cubicBezTo>
                <a:cubicBezTo>
                  <a:pt x="551" y="75"/>
                  <a:pt x="551" y="100"/>
                  <a:pt x="551" y="100"/>
                </a:cubicBezTo>
                <a:cubicBezTo>
                  <a:pt x="551" y="125"/>
                  <a:pt x="526" y="150"/>
                  <a:pt x="551" y="175"/>
                </a:cubicBezTo>
                <a:cubicBezTo>
                  <a:pt x="551" y="225"/>
                  <a:pt x="576" y="375"/>
                  <a:pt x="551" y="425"/>
                </a:cubicBezTo>
                <a:cubicBezTo>
                  <a:pt x="551" y="475"/>
                  <a:pt x="526" y="525"/>
                  <a:pt x="526" y="575"/>
                </a:cubicBezTo>
                <a:cubicBezTo>
                  <a:pt x="500" y="600"/>
                  <a:pt x="551" y="600"/>
                  <a:pt x="526" y="625"/>
                </a:cubicBezTo>
                <a:cubicBezTo>
                  <a:pt x="500" y="625"/>
                  <a:pt x="526" y="675"/>
                  <a:pt x="526" y="750"/>
                </a:cubicBezTo>
                <a:cubicBezTo>
                  <a:pt x="526" y="800"/>
                  <a:pt x="476" y="925"/>
                  <a:pt x="476" y="950"/>
                </a:cubicBezTo>
                <a:cubicBezTo>
                  <a:pt x="476" y="1000"/>
                  <a:pt x="451" y="1025"/>
                  <a:pt x="451" y="1050"/>
                </a:cubicBezTo>
                <a:cubicBezTo>
                  <a:pt x="451" y="1100"/>
                  <a:pt x="426" y="1125"/>
                  <a:pt x="400" y="1150"/>
                </a:cubicBezTo>
                <a:cubicBezTo>
                  <a:pt x="376" y="1150"/>
                  <a:pt x="451" y="1225"/>
                  <a:pt x="451" y="1250"/>
                </a:cubicBezTo>
                <a:cubicBezTo>
                  <a:pt x="451" y="1275"/>
                  <a:pt x="400" y="1300"/>
                  <a:pt x="400" y="1350"/>
                </a:cubicBezTo>
                <a:cubicBezTo>
                  <a:pt x="426" y="1426"/>
                  <a:pt x="400" y="1526"/>
                  <a:pt x="400" y="1550"/>
                </a:cubicBezTo>
                <a:cubicBezTo>
                  <a:pt x="400" y="1575"/>
                  <a:pt x="376" y="1575"/>
                  <a:pt x="376" y="1626"/>
                </a:cubicBezTo>
                <a:cubicBezTo>
                  <a:pt x="400" y="1675"/>
                  <a:pt x="351" y="1675"/>
                  <a:pt x="351" y="1750"/>
                </a:cubicBezTo>
                <a:cubicBezTo>
                  <a:pt x="351" y="1800"/>
                  <a:pt x="300" y="1900"/>
                  <a:pt x="276" y="1950"/>
                </a:cubicBezTo>
                <a:cubicBezTo>
                  <a:pt x="251" y="2000"/>
                  <a:pt x="251" y="2026"/>
                  <a:pt x="226" y="2026"/>
                </a:cubicBezTo>
                <a:cubicBezTo>
                  <a:pt x="200" y="2026"/>
                  <a:pt x="200" y="2050"/>
                  <a:pt x="226" y="2075"/>
                </a:cubicBezTo>
                <a:cubicBezTo>
                  <a:pt x="251" y="2126"/>
                  <a:pt x="200" y="2150"/>
                  <a:pt x="226" y="2200"/>
                </a:cubicBezTo>
                <a:cubicBezTo>
                  <a:pt x="251" y="2250"/>
                  <a:pt x="251" y="2250"/>
                  <a:pt x="251" y="2300"/>
                </a:cubicBezTo>
                <a:cubicBezTo>
                  <a:pt x="226" y="2350"/>
                  <a:pt x="200" y="2350"/>
                  <a:pt x="200" y="2375"/>
                </a:cubicBezTo>
                <a:cubicBezTo>
                  <a:pt x="200" y="2426"/>
                  <a:pt x="176" y="2451"/>
                  <a:pt x="200" y="2500"/>
                </a:cubicBezTo>
                <a:cubicBezTo>
                  <a:pt x="226" y="2526"/>
                  <a:pt x="200" y="2551"/>
                  <a:pt x="200" y="2551"/>
                </a:cubicBezTo>
                <a:cubicBezTo>
                  <a:pt x="176" y="2551"/>
                  <a:pt x="151" y="2575"/>
                  <a:pt x="151" y="2651"/>
                </a:cubicBezTo>
                <a:cubicBezTo>
                  <a:pt x="151" y="2726"/>
                  <a:pt x="151" y="2726"/>
                  <a:pt x="200" y="2700"/>
                </a:cubicBezTo>
                <a:cubicBezTo>
                  <a:pt x="251" y="2700"/>
                  <a:pt x="200" y="2551"/>
                  <a:pt x="226" y="2551"/>
                </a:cubicBezTo>
                <a:cubicBezTo>
                  <a:pt x="276" y="2551"/>
                  <a:pt x="251" y="2526"/>
                  <a:pt x="276" y="2500"/>
                </a:cubicBezTo>
                <a:cubicBezTo>
                  <a:pt x="300" y="2500"/>
                  <a:pt x="276" y="2526"/>
                  <a:pt x="300" y="2551"/>
                </a:cubicBezTo>
                <a:cubicBezTo>
                  <a:pt x="326" y="2551"/>
                  <a:pt x="326" y="2575"/>
                  <a:pt x="300" y="2575"/>
                </a:cubicBezTo>
                <a:cubicBezTo>
                  <a:pt x="276" y="2600"/>
                  <a:pt x="300" y="2651"/>
                  <a:pt x="300" y="2651"/>
                </a:cubicBezTo>
                <a:cubicBezTo>
                  <a:pt x="276" y="2675"/>
                  <a:pt x="251" y="2700"/>
                  <a:pt x="276" y="2726"/>
                </a:cubicBezTo>
                <a:cubicBezTo>
                  <a:pt x="276" y="2775"/>
                  <a:pt x="251" y="2751"/>
                  <a:pt x="251" y="2800"/>
                </a:cubicBezTo>
                <a:cubicBezTo>
                  <a:pt x="251" y="2826"/>
                  <a:pt x="276" y="2826"/>
                  <a:pt x="251" y="2851"/>
                </a:cubicBezTo>
                <a:cubicBezTo>
                  <a:pt x="251" y="2851"/>
                  <a:pt x="276" y="2875"/>
                  <a:pt x="251" y="2875"/>
                </a:cubicBezTo>
                <a:cubicBezTo>
                  <a:pt x="226" y="2875"/>
                  <a:pt x="251" y="2926"/>
                  <a:pt x="251" y="2951"/>
                </a:cubicBezTo>
                <a:cubicBezTo>
                  <a:pt x="276" y="2975"/>
                  <a:pt x="226" y="2951"/>
                  <a:pt x="226" y="2975"/>
                </a:cubicBezTo>
                <a:cubicBezTo>
                  <a:pt x="200" y="2975"/>
                  <a:pt x="226" y="3000"/>
                  <a:pt x="226" y="3026"/>
                </a:cubicBezTo>
                <a:cubicBezTo>
                  <a:pt x="200" y="3051"/>
                  <a:pt x="176" y="3026"/>
                  <a:pt x="151" y="3000"/>
                </a:cubicBezTo>
                <a:cubicBezTo>
                  <a:pt x="151" y="3000"/>
                  <a:pt x="176" y="2975"/>
                  <a:pt x="200" y="2951"/>
                </a:cubicBezTo>
                <a:cubicBezTo>
                  <a:pt x="226" y="2926"/>
                  <a:pt x="176" y="2851"/>
                  <a:pt x="151" y="2875"/>
                </a:cubicBezTo>
                <a:cubicBezTo>
                  <a:pt x="126" y="2875"/>
                  <a:pt x="176" y="2926"/>
                  <a:pt x="176" y="2951"/>
                </a:cubicBezTo>
                <a:cubicBezTo>
                  <a:pt x="176" y="2975"/>
                  <a:pt x="126" y="2951"/>
                  <a:pt x="126" y="2975"/>
                </a:cubicBezTo>
                <a:cubicBezTo>
                  <a:pt x="126" y="3000"/>
                  <a:pt x="100" y="3000"/>
                  <a:pt x="76" y="3000"/>
                </a:cubicBezTo>
                <a:cubicBezTo>
                  <a:pt x="51" y="3026"/>
                  <a:pt x="100" y="3051"/>
                  <a:pt x="76" y="3051"/>
                </a:cubicBezTo>
                <a:lnTo>
                  <a:pt x="26" y="3100"/>
                </a:lnTo>
                <a:cubicBezTo>
                  <a:pt x="26" y="3126"/>
                  <a:pt x="51" y="3126"/>
                  <a:pt x="51" y="3126"/>
                </a:cubicBezTo>
                <a:cubicBezTo>
                  <a:pt x="51" y="3100"/>
                  <a:pt x="76" y="3100"/>
                  <a:pt x="100" y="3126"/>
                </a:cubicBezTo>
                <a:cubicBezTo>
                  <a:pt x="100" y="3151"/>
                  <a:pt x="126" y="3126"/>
                  <a:pt x="151" y="3126"/>
                </a:cubicBezTo>
                <a:cubicBezTo>
                  <a:pt x="176" y="3126"/>
                  <a:pt x="176" y="3175"/>
                  <a:pt x="151" y="3175"/>
                </a:cubicBezTo>
                <a:cubicBezTo>
                  <a:pt x="151" y="3175"/>
                  <a:pt x="126" y="3200"/>
                  <a:pt x="126" y="3226"/>
                </a:cubicBezTo>
                <a:cubicBezTo>
                  <a:pt x="126" y="3251"/>
                  <a:pt x="200" y="3226"/>
                  <a:pt x="226" y="3226"/>
                </a:cubicBezTo>
                <a:cubicBezTo>
                  <a:pt x="251" y="3251"/>
                  <a:pt x="226" y="3300"/>
                  <a:pt x="226" y="3275"/>
                </a:cubicBezTo>
                <a:cubicBezTo>
                  <a:pt x="200" y="3251"/>
                  <a:pt x="176" y="3226"/>
                  <a:pt x="151" y="3251"/>
                </a:cubicBezTo>
                <a:cubicBezTo>
                  <a:pt x="151" y="3275"/>
                  <a:pt x="126" y="3275"/>
                  <a:pt x="100" y="3275"/>
                </a:cubicBezTo>
                <a:cubicBezTo>
                  <a:pt x="76" y="3251"/>
                  <a:pt x="0" y="3300"/>
                  <a:pt x="26" y="3326"/>
                </a:cubicBezTo>
                <a:cubicBezTo>
                  <a:pt x="51" y="3326"/>
                  <a:pt x="51" y="3351"/>
                  <a:pt x="76" y="3351"/>
                </a:cubicBezTo>
                <a:cubicBezTo>
                  <a:pt x="76" y="3351"/>
                  <a:pt x="100" y="3351"/>
                  <a:pt x="126" y="3326"/>
                </a:cubicBezTo>
                <a:cubicBezTo>
                  <a:pt x="126" y="3300"/>
                  <a:pt x="151" y="3300"/>
                  <a:pt x="151" y="3326"/>
                </a:cubicBezTo>
                <a:cubicBezTo>
                  <a:pt x="151" y="3375"/>
                  <a:pt x="126" y="3351"/>
                  <a:pt x="100" y="3375"/>
                </a:cubicBezTo>
                <a:cubicBezTo>
                  <a:pt x="100" y="3400"/>
                  <a:pt x="76" y="3400"/>
                  <a:pt x="51" y="3426"/>
                </a:cubicBezTo>
                <a:cubicBezTo>
                  <a:pt x="26" y="3451"/>
                  <a:pt x="51" y="3475"/>
                  <a:pt x="76" y="3475"/>
                </a:cubicBezTo>
                <a:cubicBezTo>
                  <a:pt x="100" y="3451"/>
                  <a:pt x="76" y="3500"/>
                  <a:pt x="100" y="3500"/>
                </a:cubicBezTo>
                <a:cubicBezTo>
                  <a:pt x="126" y="3500"/>
                  <a:pt x="126" y="3475"/>
                  <a:pt x="126" y="3451"/>
                </a:cubicBezTo>
                <a:cubicBezTo>
                  <a:pt x="126" y="3451"/>
                  <a:pt x="151" y="3400"/>
                  <a:pt x="176" y="3426"/>
                </a:cubicBezTo>
                <a:cubicBezTo>
                  <a:pt x="200" y="3451"/>
                  <a:pt x="151" y="3451"/>
                  <a:pt x="151" y="3475"/>
                </a:cubicBezTo>
                <a:cubicBezTo>
                  <a:pt x="151" y="3500"/>
                  <a:pt x="151" y="3526"/>
                  <a:pt x="151" y="3551"/>
                </a:cubicBezTo>
                <a:cubicBezTo>
                  <a:pt x="151" y="3575"/>
                  <a:pt x="126" y="3575"/>
                  <a:pt x="126" y="3600"/>
                </a:cubicBezTo>
                <a:cubicBezTo>
                  <a:pt x="126" y="3626"/>
                  <a:pt x="51" y="3600"/>
                  <a:pt x="76" y="3626"/>
                </a:cubicBezTo>
                <a:cubicBezTo>
                  <a:pt x="126" y="3626"/>
                  <a:pt x="76" y="3651"/>
                  <a:pt x="76" y="3676"/>
                </a:cubicBezTo>
                <a:cubicBezTo>
                  <a:pt x="100" y="3676"/>
                  <a:pt x="100" y="3651"/>
                  <a:pt x="126" y="3651"/>
                </a:cubicBezTo>
                <a:cubicBezTo>
                  <a:pt x="151" y="3676"/>
                  <a:pt x="151" y="3676"/>
                  <a:pt x="176" y="3651"/>
                </a:cubicBezTo>
                <a:cubicBezTo>
                  <a:pt x="200" y="3651"/>
                  <a:pt x="226" y="3676"/>
                  <a:pt x="200" y="3700"/>
                </a:cubicBezTo>
                <a:cubicBezTo>
                  <a:pt x="176" y="3700"/>
                  <a:pt x="151" y="3726"/>
                  <a:pt x="151" y="3726"/>
                </a:cubicBezTo>
                <a:cubicBezTo>
                  <a:pt x="176" y="3726"/>
                  <a:pt x="200" y="3700"/>
                  <a:pt x="226" y="3751"/>
                </a:cubicBezTo>
                <a:cubicBezTo>
                  <a:pt x="226" y="3776"/>
                  <a:pt x="251" y="3751"/>
                  <a:pt x="251" y="3726"/>
                </a:cubicBezTo>
                <a:cubicBezTo>
                  <a:pt x="251" y="3700"/>
                  <a:pt x="300" y="3726"/>
                  <a:pt x="300" y="3751"/>
                </a:cubicBezTo>
                <a:cubicBezTo>
                  <a:pt x="326" y="3776"/>
                  <a:pt x="251" y="3800"/>
                  <a:pt x="226" y="3776"/>
                </a:cubicBezTo>
                <a:cubicBezTo>
                  <a:pt x="200" y="3776"/>
                  <a:pt x="176" y="3800"/>
                  <a:pt x="200" y="3851"/>
                </a:cubicBezTo>
                <a:cubicBezTo>
                  <a:pt x="226" y="3876"/>
                  <a:pt x="251" y="3851"/>
                  <a:pt x="276" y="3826"/>
                </a:cubicBezTo>
                <a:cubicBezTo>
                  <a:pt x="276" y="3800"/>
                  <a:pt x="400" y="3800"/>
                  <a:pt x="400" y="3826"/>
                </a:cubicBezTo>
                <a:cubicBezTo>
                  <a:pt x="426" y="3851"/>
                  <a:pt x="351" y="3826"/>
                  <a:pt x="351" y="3851"/>
                </a:cubicBezTo>
                <a:cubicBezTo>
                  <a:pt x="351" y="3851"/>
                  <a:pt x="300" y="3876"/>
                  <a:pt x="300" y="3851"/>
                </a:cubicBezTo>
                <a:cubicBezTo>
                  <a:pt x="276" y="3826"/>
                  <a:pt x="251" y="3851"/>
                  <a:pt x="251" y="3876"/>
                </a:cubicBezTo>
                <a:cubicBezTo>
                  <a:pt x="226" y="3926"/>
                  <a:pt x="200" y="3926"/>
                  <a:pt x="251" y="3926"/>
                </a:cubicBezTo>
                <a:cubicBezTo>
                  <a:pt x="276" y="3926"/>
                  <a:pt x="276" y="3876"/>
                  <a:pt x="326" y="3900"/>
                </a:cubicBezTo>
                <a:cubicBezTo>
                  <a:pt x="376" y="3900"/>
                  <a:pt x="426" y="3826"/>
                  <a:pt x="426" y="3876"/>
                </a:cubicBezTo>
                <a:cubicBezTo>
                  <a:pt x="451" y="3900"/>
                  <a:pt x="376" y="3926"/>
                  <a:pt x="351" y="3900"/>
                </a:cubicBezTo>
                <a:cubicBezTo>
                  <a:pt x="351" y="3876"/>
                  <a:pt x="300" y="3926"/>
                  <a:pt x="326" y="3951"/>
                </a:cubicBezTo>
                <a:cubicBezTo>
                  <a:pt x="326" y="3976"/>
                  <a:pt x="251" y="3951"/>
                  <a:pt x="226" y="3951"/>
                </a:cubicBezTo>
                <a:cubicBezTo>
                  <a:pt x="176" y="3926"/>
                  <a:pt x="200" y="3976"/>
                  <a:pt x="226" y="4000"/>
                </a:cubicBezTo>
                <a:cubicBezTo>
                  <a:pt x="251" y="4026"/>
                  <a:pt x="276" y="4000"/>
                  <a:pt x="300" y="4026"/>
                </a:cubicBezTo>
                <a:cubicBezTo>
                  <a:pt x="351" y="4051"/>
                  <a:pt x="351" y="4076"/>
                  <a:pt x="376" y="4051"/>
                </a:cubicBezTo>
                <a:cubicBezTo>
                  <a:pt x="400" y="4026"/>
                  <a:pt x="376" y="4026"/>
                  <a:pt x="351" y="4026"/>
                </a:cubicBezTo>
                <a:cubicBezTo>
                  <a:pt x="326" y="4000"/>
                  <a:pt x="351" y="3976"/>
                  <a:pt x="376" y="4000"/>
                </a:cubicBezTo>
                <a:cubicBezTo>
                  <a:pt x="426" y="4000"/>
                  <a:pt x="476" y="3976"/>
                  <a:pt x="451" y="3926"/>
                </a:cubicBezTo>
                <a:cubicBezTo>
                  <a:pt x="451" y="3876"/>
                  <a:pt x="500" y="3851"/>
                  <a:pt x="551" y="3826"/>
                </a:cubicBezTo>
                <a:cubicBezTo>
                  <a:pt x="600" y="3826"/>
                  <a:pt x="576" y="3876"/>
                  <a:pt x="526" y="3876"/>
                </a:cubicBezTo>
                <a:cubicBezTo>
                  <a:pt x="500" y="3900"/>
                  <a:pt x="500" y="3900"/>
                  <a:pt x="526" y="3926"/>
                </a:cubicBezTo>
                <a:cubicBezTo>
                  <a:pt x="551" y="3951"/>
                  <a:pt x="576" y="3926"/>
                  <a:pt x="600" y="3926"/>
                </a:cubicBezTo>
                <a:cubicBezTo>
                  <a:pt x="626" y="3951"/>
                  <a:pt x="551" y="3951"/>
                  <a:pt x="551" y="3976"/>
                </a:cubicBezTo>
                <a:cubicBezTo>
                  <a:pt x="551" y="4000"/>
                  <a:pt x="600" y="4026"/>
                  <a:pt x="551" y="4051"/>
                </a:cubicBezTo>
                <a:cubicBezTo>
                  <a:pt x="526" y="4051"/>
                  <a:pt x="526" y="3976"/>
                  <a:pt x="526" y="3976"/>
                </a:cubicBezTo>
                <a:cubicBezTo>
                  <a:pt x="500" y="3951"/>
                  <a:pt x="476" y="3976"/>
                  <a:pt x="500" y="4026"/>
                </a:cubicBezTo>
                <a:cubicBezTo>
                  <a:pt x="526" y="4076"/>
                  <a:pt x="476" y="4026"/>
                  <a:pt x="451" y="4000"/>
                </a:cubicBezTo>
                <a:cubicBezTo>
                  <a:pt x="426" y="3976"/>
                  <a:pt x="400" y="4026"/>
                  <a:pt x="426" y="4051"/>
                </a:cubicBezTo>
                <a:cubicBezTo>
                  <a:pt x="451" y="4076"/>
                  <a:pt x="376" y="4051"/>
                  <a:pt x="376" y="4076"/>
                </a:cubicBezTo>
                <a:cubicBezTo>
                  <a:pt x="376" y="4126"/>
                  <a:pt x="400" y="4100"/>
                  <a:pt x="451" y="4100"/>
                </a:cubicBezTo>
                <a:cubicBezTo>
                  <a:pt x="476" y="4100"/>
                  <a:pt x="476" y="4151"/>
                  <a:pt x="500" y="4176"/>
                </a:cubicBezTo>
                <a:cubicBezTo>
                  <a:pt x="526" y="4200"/>
                  <a:pt x="500" y="4126"/>
                  <a:pt x="526" y="4100"/>
                </a:cubicBezTo>
                <a:cubicBezTo>
                  <a:pt x="551" y="4100"/>
                  <a:pt x="526" y="4176"/>
                  <a:pt x="600" y="4200"/>
                </a:cubicBezTo>
                <a:cubicBezTo>
                  <a:pt x="651" y="4226"/>
                  <a:pt x="600" y="4176"/>
                  <a:pt x="626" y="4151"/>
                </a:cubicBezTo>
                <a:cubicBezTo>
                  <a:pt x="651" y="4151"/>
                  <a:pt x="701" y="4226"/>
                  <a:pt x="726" y="4226"/>
                </a:cubicBezTo>
                <a:cubicBezTo>
                  <a:pt x="751" y="4251"/>
                  <a:pt x="726" y="4200"/>
                  <a:pt x="701" y="4176"/>
                </a:cubicBezTo>
                <a:cubicBezTo>
                  <a:pt x="701" y="4151"/>
                  <a:pt x="726" y="4151"/>
                  <a:pt x="776" y="4176"/>
                </a:cubicBezTo>
                <a:cubicBezTo>
                  <a:pt x="801" y="4176"/>
                  <a:pt x="826" y="4176"/>
                  <a:pt x="826" y="4151"/>
                </a:cubicBezTo>
                <a:cubicBezTo>
                  <a:pt x="826" y="4151"/>
                  <a:pt x="826" y="4151"/>
                  <a:pt x="851" y="4151"/>
                </a:cubicBezTo>
                <a:cubicBezTo>
                  <a:pt x="801" y="4126"/>
                  <a:pt x="701" y="4151"/>
                  <a:pt x="676" y="4151"/>
                </a:cubicBezTo>
                <a:cubicBezTo>
                  <a:pt x="676" y="4151"/>
                  <a:pt x="676" y="3900"/>
                  <a:pt x="676" y="3826"/>
                </a:cubicBezTo>
                <a:lnTo>
                  <a:pt x="676" y="3826"/>
                </a:lnTo>
                <a:cubicBezTo>
                  <a:pt x="651" y="3826"/>
                  <a:pt x="600" y="3851"/>
                  <a:pt x="600" y="3800"/>
                </a:cubicBezTo>
                <a:cubicBezTo>
                  <a:pt x="600" y="3800"/>
                  <a:pt x="600" y="3800"/>
                  <a:pt x="600" y="3776"/>
                </a:cubicBezTo>
                <a:cubicBezTo>
                  <a:pt x="600" y="3776"/>
                  <a:pt x="576" y="3776"/>
                  <a:pt x="551" y="3751"/>
                </a:cubicBezTo>
                <a:cubicBezTo>
                  <a:pt x="526" y="3751"/>
                  <a:pt x="426" y="3751"/>
                  <a:pt x="400" y="37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3" name="Freeform 106">
            <a:extLst>
              <a:ext uri="{FF2B5EF4-FFF2-40B4-BE49-F238E27FC236}">
                <a16:creationId xmlns:a16="http://schemas.microsoft.com/office/drawing/2014/main" id="{46AD85C1-E105-ABC0-1627-F053CB60611E}"/>
              </a:ext>
            </a:extLst>
          </p:cNvPr>
          <p:cNvSpPr>
            <a:spLocks noChangeArrowheads="1"/>
          </p:cNvSpPr>
          <p:nvPr/>
        </p:nvSpPr>
        <p:spPr bwMode="auto">
          <a:xfrm>
            <a:off x="6159906" y="5194497"/>
            <a:ext cx="262967" cy="271405"/>
          </a:xfrm>
          <a:custGeom>
            <a:avLst/>
            <a:gdLst>
              <a:gd name="T0" fmla="*/ 800 w 826"/>
              <a:gd name="T1" fmla="*/ 450 h 851"/>
              <a:gd name="T2" fmla="*/ 800 w 826"/>
              <a:gd name="T3" fmla="*/ 450 h 851"/>
              <a:gd name="T4" fmla="*/ 725 w 826"/>
              <a:gd name="T5" fmla="*/ 475 h 851"/>
              <a:gd name="T6" fmla="*/ 675 w 826"/>
              <a:gd name="T7" fmla="*/ 375 h 851"/>
              <a:gd name="T8" fmla="*/ 600 w 826"/>
              <a:gd name="T9" fmla="*/ 300 h 851"/>
              <a:gd name="T10" fmla="*/ 525 w 826"/>
              <a:gd name="T11" fmla="*/ 275 h 851"/>
              <a:gd name="T12" fmla="*/ 475 w 826"/>
              <a:gd name="T13" fmla="*/ 200 h 851"/>
              <a:gd name="T14" fmla="*/ 450 w 826"/>
              <a:gd name="T15" fmla="*/ 100 h 851"/>
              <a:gd name="T16" fmla="*/ 450 w 826"/>
              <a:gd name="T17" fmla="*/ 50 h 851"/>
              <a:gd name="T18" fmla="*/ 425 w 826"/>
              <a:gd name="T19" fmla="*/ 50 h 851"/>
              <a:gd name="T20" fmla="*/ 350 w 826"/>
              <a:gd name="T21" fmla="*/ 0 h 851"/>
              <a:gd name="T22" fmla="*/ 250 w 826"/>
              <a:gd name="T23" fmla="*/ 25 h 851"/>
              <a:gd name="T24" fmla="*/ 125 w 826"/>
              <a:gd name="T25" fmla="*/ 50 h 851"/>
              <a:gd name="T26" fmla="*/ 50 w 826"/>
              <a:gd name="T27" fmla="*/ 125 h 851"/>
              <a:gd name="T28" fmla="*/ 25 w 826"/>
              <a:gd name="T29" fmla="*/ 275 h 851"/>
              <a:gd name="T30" fmla="*/ 0 w 826"/>
              <a:gd name="T31" fmla="*/ 275 h 851"/>
              <a:gd name="T32" fmla="*/ 125 w 826"/>
              <a:gd name="T33" fmla="*/ 400 h 851"/>
              <a:gd name="T34" fmla="*/ 225 w 826"/>
              <a:gd name="T35" fmla="*/ 475 h 851"/>
              <a:gd name="T36" fmla="*/ 325 w 826"/>
              <a:gd name="T37" fmla="*/ 525 h 851"/>
              <a:gd name="T38" fmla="*/ 500 w 826"/>
              <a:gd name="T39" fmla="*/ 600 h 851"/>
              <a:gd name="T40" fmla="*/ 425 w 826"/>
              <a:gd name="T41" fmla="*/ 725 h 851"/>
              <a:gd name="T42" fmla="*/ 400 w 826"/>
              <a:gd name="T43" fmla="*/ 800 h 851"/>
              <a:gd name="T44" fmla="*/ 500 w 826"/>
              <a:gd name="T45" fmla="*/ 825 h 851"/>
              <a:gd name="T46" fmla="*/ 575 w 826"/>
              <a:gd name="T47" fmla="*/ 825 h 851"/>
              <a:gd name="T48" fmla="*/ 650 w 826"/>
              <a:gd name="T49" fmla="*/ 800 h 851"/>
              <a:gd name="T50" fmla="*/ 725 w 826"/>
              <a:gd name="T51" fmla="*/ 775 h 851"/>
              <a:gd name="T52" fmla="*/ 775 w 826"/>
              <a:gd name="T53" fmla="*/ 625 h 851"/>
              <a:gd name="T54" fmla="*/ 800 w 826"/>
              <a:gd name="T5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6" h="851">
                <a:moveTo>
                  <a:pt x="800" y="450"/>
                </a:moveTo>
                <a:lnTo>
                  <a:pt x="800" y="450"/>
                </a:lnTo>
                <a:cubicBezTo>
                  <a:pt x="750" y="450"/>
                  <a:pt x="725" y="475"/>
                  <a:pt x="725" y="475"/>
                </a:cubicBezTo>
                <a:cubicBezTo>
                  <a:pt x="700" y="475"/>
                  <a:pt x="675" y="400"/>
                  <a:pt x="675" y="375"/>
                </a:cubicBezTo>
                <a:cubicBezTo>
                  <a:pt x="650" y="350"/>
                  <a:pt x="625" y="275"/>
                  <a:pt x="600" y="300"/>
                </a:cubicBezTo>
                <a:cubicBezTo>
                  <a:pt x="575" y="300"/>
                  <a:pt x="575" y="275"/>
                  <a:pt x="525" y="275"/>
                </a:cubicBezTo>
                <a:cubicBezTo>
                  <a:pt x="450" y="275"/>
                  <a:pt x="450" y="275"/>
                  <a:pt x="475" y="200"/>
                </a:cubicBezTo>
                <a:cubicBezTo>
                  <a:pt x="500" y="150"/>
                  <a:pt x="425" y="100"/>
                  <a:pt x="450" y="100"/>
                </a:cubicBezTo>
                <a:cubicBezTo>
                  <a:pt x="475" y="75"/>
                  <a:pt x="475" y="75"/>
                  <a:pt x="450" y="50"/>
                </a:cubicBezTo>
                <a:cubicBezTo>
                  <a:pt x="450" y="50"/>
                  <a:pt x="450" y="50"/>
                  <a:pt x="425" y="50"/>
                </a:cubicBezTo>
                <a:cubicBezTo>
                  <a:pt x="425" y="50"/>
                  <a:pt x="375" y="0"/>
                  <a:pt x="350" y="0"/>
                </a:cubicBezTo>
                <a:cubicBezTo>
                  <a:pt x="300" y="0"/>
                  <a:pt x="275" y="0"/>
                  <a:pt x="250" y="25"/>
                </a:cubicBezTo>
                <a:cubicBezTo>
                  <a:pt x="200" y="25"/>
                  <a:pt x="150" y="25"/>
                  <a:pt x="125" y="50"/>
                </a:cubicBezTo>
                <a:cubicBezTo>
                  <a:pt x="100" y="50"/>
                  <a:pt x="50" y="100"/>
                  <a:pt x="50" y="125"/>
                </a:cubicBezTo>
                <a:cubicBezTo>
                  <a:pt x="50" y="150"/>
                  <a:pt x="50" y="275"/>
                  <a:pt x="25" y="275"/>
                </a:cubicBezTo>
                <a:lnTo>
                  <a:pt x="0" y="275"/>
                </a:lnTo>
                <a:cubicBezTo>
                  <a:pt x="25" y="300"/>
                  <a:pt x="75" y="375"/>
                  <a:pt x="125" y="400"/>
                </a:cubicBezTo>
                <a:cubicBezTo>
                  <a:pt x="175" y="425"/>
                  <a:pt x="175" y="475"/>
                  <a:pt x="225" y="475"/>
                </a:cubicBezTo>
                <a:cubicBezTo>
                  <a:pt x="275" y="475"/>
                  <a:pt x="325" y="500"/>
                  <a:pt x="325" y="525"/>
                </a:cubicBezTo>
                <a:cubicBezTo>
                  <a:pt x="350" y="550"/>
                  <a:pt x="500" y="600"/>
                  <a:pt x="500" y="600"/>
                </a:cubicBezTo>
                <a:cubicBezTo>
                  <a:pt x="525" y="625"/>
                  <a:pt x="425" y="675"/>
                  <a:pt x="425" y="725"/>
                </a:cubicBezTo>
                <a:cubicBezTo>
                  <a:pt x="425" y="775"/>
                  <a:pt x="400" y="775"/>
                  <a:pt x="400" y="800"/>
                </a:cubicBezTo>
                <a:cubicBezTo>
                  <a:pt x="400" y="825"/>
                  <a:pt x="475" y="800"/>
                  <a:pt x="500" y="825"/>
                </a:cubicBezTo>
                <a:cubicBezTo>
                  <a:pt x="525" y="825"/>
                  <a:pt x="550" y="800"/>
                  <a:pt x="575" y="825"/>
                </a:cubicBezTo>
                <a:cubicBezTo>
                  <a:pt x="600" y="850"/>
                  <a:pt x="650" y="800"/>
                  <a:pt x="650" y="800"/>
                </a:cubicBezTo>
                <a:cubicBezTo>
                  <a:pt x="675" y="825"/>
                  <a:pt x="700" y="775"/>
                  <a:pt x="725" y="775"/>
                </a:cubicBezTo>
                <a:cubicBezTo>
                  <a:pt x="775" y="775"/>
                  <a:pt x="800" y="675"/>
                  <a:pt x="775" y="625"/>
                </a:cubicBezTo>
                <a:cubicBezTo>
                  <a:pt x="775" y="600"/>
                  <a:pt x="825" y="475"/>
                  <a:pt x="800" y="4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4" name="Freeform 107">
            <a:extLst>
              <a:ext uri="{FF2B5EF4-FFF2-40B4-BE49-F238E27FC236}">
                <a16:creationId xmlns:a16="http://schemas.microsoft.com/office/drawing/2014/main" id="{12F32FBE-89E0-4575-90FD-229E4E9A4896}"/>
              </a:ext>
            </a:extLst>
          </p:cNvPr>
          <p:cNvSpPr>
            <a:spLocks noChangeArrowheads="1"/>
          </p:cNvSpPr>
          <p:nvPr/>
        </p:nvSpPr>
        <p:spPr bwMode="auto">
          <a:xfrm>
            <a:off x="5458189" y="4269191"/>
            <a:ext cx="104061" cy="80156"/>
          </a:xfrm>
          <a:custGeom>
            <a:avLst/>
            <a:gdLst>
              <a:gd name="T0" fmla="*/ 300 w 325"/>
              <a:gd name="T1" fmla="*/ 200 h 252"/>
              <a:gd name="T2" fmla="*/ 300 w 325"/>
              <a:gd name="T3" fmla="*/ 200 h 252"/>
              <a:gd name="T4" fmla="*/ 324 w 325"/>
              <a:gd name="T5" fmla="*/ 151 h 252"/>
              <a:gd name="T6" fmla="*/ 224 w 325"/>
              <a:gd name="T7" fmla="*/ 25 h 252"/>
              <a:gd name="T8" fmla="*/ 175 w 325"/>
              <a:gd name="T9" fmla="*/ 25 h 252"/>
              <a:gd name="T10" fmla="*/ 100 w 325"/>
              <a:gd name="T11" fmla="*/ 0 h 252"/>
              <a:gd name="T12" fmla="*/ 49 w 325"/>
              <a:gd name="T13" fmla="*/ 0 h 252"/>
              <a:gd name="T14" fmla="*/ 24 w 325"/>
              <a:gd name="T15" fmla="*/ 50 h 252"/>
              <a:gd name="T16" fmla="*/ 49 w 325"/>
              <a:gd name="T17" fmla="*/ 125 h 252"/>
              <a:gd name="T18" fmla="*/ 100 w 325"/>
              <a:gd name="T19" fmla="*/ 100 h 252"/>
              <a:gd name="T20" fmla="*/ 149 w 325"/>
              <a:gd name="T21" fmla="*/ 151 h 252"/>
              <a:gd name="T22" fmla="*/ 224 w 325"/>
              <a:gd name="T23" fmla="*/ 200 h 252"/>
              <a:gd name="T24" fmla="*/ 275 w 325"/>
              <a:gd name="T25" fmla="*/ 251 h 252"/>
              <a:gd name="T26" fmla="*/ 300 w 325"/>
              <a:gd name="T27" fmla="*/ 251 h 252"/>
              <a:gd name="T28" fmla="*/ 300 w 325"/>
              <a:gd name="T29" fmla="*/ 20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 h="252">
                <a:moveTo>
                  <a:pt x="300" y="200"/>
                </a:moveTo>
                <a:lnTo>
                  <a:pt x="300" y="200"/>
                </a:lnTo>
                <a:cubicBezTo>
                  <a:pt x="300" y="200"/>
                  <a:pt x="300" y="151"/>
                  <a:pt x="324" y="151"/>
                </a:cubicBezTo>
                <a:cubicBezTo>
                  <a:pt x="300" y="100"/>
                  <a:pt x="249" y="50"/>
                  <a:pt x="224" y="25"/>
                </a:cubicBezTo>
                <a:cubicBezTo>
                  <a:pt x="200" y="25"/>
                  <a:pt x="200" y="25"/>
                  <a:pt x="175" y="25"/>
                </a:cubicBezTo>
                <a:cubicBezTo>
                  <a:pt x="149" y="0"/>
                  <a:pt x="100" y="25"/>
                  <a:pt x="100" y="0"/>
                </a:cubicBezTo>
                <a:cubicBezTo>
                  <a:pt x="75" y="0"/>
                  <a:pt x="49" y="0"/>
                  <a:pt x="49" y="0"/>
                </a:cubicBezTo>
                <a:cubicBezTo>
                  <a:pt x="49" y="25"/>
                  <a:pt x="49" y="25"/>
                  <a:pt x="24" y="50"/>
                </a:cubicBezTo>
                <a:cubicBezTo>
                  <a:pt x="0" y="50"/>
                  <a:pt x="0" y="100"/>
                  <a:pt x="49" y="125"/>
                </a:cubicBezTo>
                <a:cubicBezTo>
                  <a:pt x="100" y="151"/>
                  <a:pt x="75" y="100"/>
                  <a:pt x="100" y="100"/>
                </a:cubicBezTo>
                <a:cubicBezTo>
                  <a:pt x="124" y="100"/>
                  <a:pt x="124" y="151"/>
                  <a:pt x="149" y="151"/>
                </a:cubicBezTo>
                <a:cubicBezTo>
                  <a:pt x="175" y="151"/>
                  <a:pt x="224" y="176"/>
                  <a:pt x="224" y="200"/>
                </a:cubicBezTo>
                <a:cubicBezTo>
                  <a:pt x="224" y="225"/>
                  <a:pt x="224" y="251"/>
                  <a:pt x="275" y="251"/>
                </a:cubicBezTo>
                <a:cubicBezTo>
                  <a:pt x="275" y="251"/>
                  <a:pt x="275" y="251"/>
                  <a:pt x="300" y="251"/>
                </a:cubicBezTo>
                <a:cubicBezTo>
                  <a:pt x="300" y="225"/>
                  <a:pt x="300" y="200"/>
                  <a:pt x="300" y="2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5" name="Freeform 108">
            <a:extLst>
              <a:ext uri="{FF2B5EF4-FFF2-40B4-BE49-F238E27FC236}">
                <a16:creationId xmlns:a16="http://schemas.microsoft.com/office/drawing/2014/main" id="{65C5A13A-355D-0BCD-5FBD-0BD548D8FC7A}"/>
              </a:ext>
            </a:extLst>
          </p:cNvPr>
          <p:cNvSpPr>
            <a:spLocks noChangeArrowheads="1"/>
          </p:cNvSpPr>
          <p:nvPr/>
        </p:nvSpPr>
        <p:spPr bwMode="auto">
          <a:xfrm>
            <a:off x="5553815" y="4308564"/>
            <a:ext cx="175780" cy="80156"/>
          </a:xfrm>
          <a:custGeom>
            <a:avLst/>
            <a:gdLst>
              <a:gd name="T0" fmla="*/ 475 w 550"/>
              <a:gd name="T1" fmla="*/ 75 h 252"/>
              <a:gd name="T2" fmla="*/ 475 w 550"/>
              <a:gd name="T3" fmla="*/ 75 h 252"/>
              <a:gd name="T4" fmla="*/ 349 w 550"/>
              <a:gd name="T5" fmla="*/ 26 h 252"/>
              <a:gd name="T6" fmla="*/ 224 w 550"/>
              <a:gd name="T7" fmla="*/ 75 h 252"/>
              <a:gd name="T8" fmla="*/ 75 w 550"/>
              <a:gd name="T9" fmla="*/ 51 h 252"/>
              <a:gd name="T10" fmla="*/ 24 w 550"/>
              <a:gd name="T11" fmla="*/ 26 h 252"/>
              <a:gd name="T12" fmla="*/ 0 w 550"/>
              <a:gd name="T13" fmla="*/ 75 h 252"/>
              <a:gd name="T14" fmla="*/ 0 w 550"/>
              <a:gd name="T15" fmla="*/ 126 h 252"/>
              <a:gd name="T16" fmla="*/ 124 w 550"/>
              <a:gd name="T17" fmla="*/ 175 h 252"/>
              <a:gd name="T18" fmla="*/ 175 w 550"/>
              <a:gd name="T19" fmla="*/ 226 h 252"/>
              <a:gd name="T20" fmla="*/ 249 w 550"/>
              <a:gd name="T21" fmla="*/ 200 h 252"/>
              <a:gd name="T22" fmla="*/ 224 w 550"/>
              <a:gd name="T23" fmla="*/ 151 h 252"/>
              <a:gd name="T24" fmla="*/ 275 w 550"/>
              <a:gd name="T25" fmla="*/ 100 h 252"/>
              <a:gd name="T26" fmla="*/ 375 w 550"/>
              <a:gd name="T27" fmla="*/ 75 h 252"/>
              <a:gd name="T28" fmla="*/ 400 w 550"/>
              <a:gd name="T29" fmla="*/ 151 h 252"/>
              <a:gd name="T30" fmla="*/ 475 w 550"/>
              <a:gd name="T31" fmla="*/ 251 h 252"/>
              <a:gd name="T32" fmla="*/ 525 w 550"/>
              <a:gd name="T33" fmla="*/ 175 h 252"/>
              <a:gd name="T34" fmla="*/ 549 w 550"/>
              <a:gd name="T35" fmla="*/ 151 h 252"/>
              <a:gd name="T36" fmla="*/ 475 w 550"/>
              <a:gd name="T37" fmla="*/ 7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0" h="252">
                <a:moveTo>
                  <a:pt x="475" y="75"/>
                </a:moveTo>
                <a:lnTo>
                  <a:pt x="475" y="75"/>
                </a:lnTo>
                <a:cubicBezTo>
                  <a:pt x="449" y="26"/>
                  <a:pt x="400" y="26"/>
                  <a:pt x="349" y="26"/>
                </a:cubicBezTo>
                <a:cubicBezTo>
                  <a:pt x="324" y="0"/>
                  <a:pt x="275" y="26"/>
                  <a:pt x="224" y="75"/>
                </a:cubicBezTo>
                <a:cubicBezTo>
                  <a:pt x="175" y="100"/>
                  <a:pt x="100" y="75"/>
                  <a:pt x="75" y="51"/>
                </a:cubicBezTo>
                <a:cubicBezTo>
                  <a:pt x="49" y="51"/>
                  <a:pt x="49" y="26"/>
                  <a:pt x="24" y="26"/>
                </a:cubicBezTo>
                <a:cubicBezTo>
                  <a:pt x="0" y="26"/>
                  <a:pt x="0" y="75"/>
                  <a:pt x="0" y="75"/>
                </a:cubicBezTo>
                <a:cubicBezTo>
                  <a:pt x="0" y="75"/>
                  <a:pt x="0" y="100"/>
                  <a:pt x="0" y="126"/>
                </a:cubicBezTo>
                <a:cubicBezTo>
                  <a:pt x="24" y="126"/>
                  <a:pt x="100" y="151"/>
                  <a:pt x="124" y="175"/>
                </a:cubicBezTo>
                <a:cubicBezTo>
                  <a:pt x="149" y="226"/>
                  <a:pt x="175" y="200"/>
                  <a:pt x="175" y="226"/>
                </a:cubicBezTo>
                <a:cubicBezTo>
                  <a:pt x="200" y="251"/>
                  <a:pt x="249" y="226"/>
                  <a:pt x="249" y="200"/>
                </a:cubicBezTo>
                <a:cubicBezTo>
                  <a:pt x="275" y="200"/>
                  <a:pt x="224" y="175"/>
                  <a:pt x="224" y="151"/>
                </a:cubicBezTo>
                <a:cubicBezTo>
                  <a:pt x="224" y="126"/>
                  <a:pt x="275" y="151"/>
                  <a:pt x="275" y="100"/>
                </a:cubicBezTo>
                <a:cubicBezTo>
                  <a:pt x="300" y="75"/>
                  <a:pt x="349" y="75"/>
                  <a:pt x="375" y="75"/>
                </a:cubicBezTo>
                <a:cubicBezTo>
                  <a:pt x="424" y="100"/>
                  <a:pt x="449" y="100"/>
                  <a:pt x="400" y="151"/>
                </a:cubicBezTo>
                <a:cubicBezTo>
                  <a:pt x="400" y="175"/>
                  <a:pt x="424" y="200"/>
                  <a:pt x="475" y="251"/>
                </a:cubicBezTo>
                <a:cubicBezTo>
                  <a:pt x="500" y="226"/>
                  <a:pt x="525" y="175"/>
                  <a:pt x="525" y="175"/>
                </a:cubicBezTo>
                <a:lnTo>
                  <a:pt x="549" y="151"/>
                </a:lnTo>
                <a:cubicBezTo>
                  <a:pt x="525" y="151"/>
                  <a:pt x="500" y="100"/>
                  <a:pt x="47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6" name="Freeform 110">
            <a:extLst>
              <a:ext uri="{FF2B5EF4-FFF2-40B4-BE49-F238E27FC236}">
                <a16:creationId xmlns:a16="http://schemas.microsoft.com/office/drawing/2014/main" id="{D1210915-E47C-03E2-1E2E-67C2CDE2AECE}"/>
              </a:ext>
            </a:extLst>
          </p:cNvPr>
          <p:cNvSpPr>
            <a:spLocks noChangeArrowheads="1"/>
          </p:cNvSpPr>
          <p:nvPr/>
        </p:nvSpPr>
        <p:spPr bwMode="auto">
          <a:xfrm>
            <a:off x="5951780" y="4899187"/>
            <a:ext cx="367028" cy="414841"/>
          </a:xfrm>
          <a:custGeom>
            <a:avLst/>
            <a:gdLst>
              <a:gd name="T0" fmla="*/ 1151 w 1152"/>
              <a:gd name="T1" fmla="*/ 774 h 1301"/>
              <a:gd name="T2" fmla="*/ 1151 w 1152"/>
              <a:gd name="T3" fmla="*/ 774 h 1301"/>
              <a:gd name="T4" fmla="*/ 1076 w 1152"/>
              <a:gd name="T5" fmla="*/ 700 h 1301"/>
              <a:gd name="T6" fmla="*/ 1001 w 1152"/>
              <a:gd name="T7" fmla="*/ 650 h 1301"/>
              <a:gd name="T8" fmla="*/ 901 w 1152"/>
              <a:gd name="T9" fmla="*/ 600 h 1301"/>
              <a:gd name="T10" fmla="*/ 901 w 1152"/>
              <a:gd name="T11" fmla="*/ 525 h 1301"/>
              <a:gd name="T12" fmla="*/ 876 w 1152"/>
              <a:gd name="T13" fmla="*/ 450 h 1301"/>
              <a:gd name="T14" fmla="*/ 851 w 1152"/>
              <a:gd name="T15" fmla="*/ 375 h 1301"/>
              <a:gd name="T16" fmla="*/ 751 w 1152"/>
              <a:gd name="T17" fmla="*/ 350 h 1301"/>
              <a:gd name="T18" fmla="*/ 676 w 1152"/>
              <a:gd name="T19" fmla="*/ 325 h 1301"/>
              <a:gd name="T20" fmla="*/ 626 w 1152"/>
              <a:gd name="T21" fmla="*/ 300 h 1301"/>
              <a:gd name="T22" fmla="*/ 551 w 1152"/>
              <a:gd name="T23" fmla="*/ 275 h 1301"/>
              <a:gd name="T24" fmla="*/ 451 w 1152"/>
              <a:gd name="T25" fmla="*/ 200 h 1301"/>
              <a:gd name="T26" fmla="*/ 426 w 1152"/>
              <a:gd name="T27" fmla="*/ 25 h 1301"/>
              <a:gd name="T28" fmla="*/ 326 w 1152"/>
              <a:gd name="T29" fmla="*/ 25 h 1301"/>
              <a:gd name="T30" fmla="*/ 226 w 1152"/>
              <a:gd name="T31" fmla="*/ 75 h 1301"/>
              <a:gd name="T32" fmla="*/ 126 w 1152"/>
              <a:gd name="T33" fmla="*/ 100 h 1301"/>
              <a:gd name="T34" fmla="*/ 51 w 1152"/>
              <a:gd name="T35" fmla="*/ 125 h 1301"/>
              <a:gd name="T36" fmla="*/ 26 w 1152"/>
              <a:gd name="T37" fmla="*/ 125 h 1301"/>
              <a:gd name="T38" fmla="*/ 101 w 1152"/>
              <a:gd name="T39" fmla="*/ 250 h 1301"/>
              <a:gd name="T40" fmla="*/ 76 w 1152"/>
              <a:gd name="T41" fmla="*/ 300 h 1301"/>
              <a:gd name="T42" fmla="*/ 76 w 1152"/>
              <a:gd name="T43" fmla="*/ 450 h 1301"/>
              <a:gd name="T44" fmla="*/ 51 w 1152"/>
              <a:gd name="T45" fmla="*/ 525 h 1301"/>
              <a:gd name="T46" fmla="*/ 26 w 1152"/>
              <a:gd name="T47" fmla="*/ 600 h 1301"/>
              <a:gd name="T48" fmla="*/ 76 w 1152"/>
              <a:gd name="T49" fmla="*/ 650 h 1301"/>
              <a:gd name="T50" fmla="*/ 26 w 1152"/>
              <a:gd name="T51" fmla="*/ 725 h 1301"/>
              <a:gd name="T52" fmla="*/ 0 w 1152"/>
              <a:gd name="T53" fmla="*/ 750 h 1301"/>
              <a:gd name="T54" fmla="*/ 51 w 1152"/>
              <a:gd name="T55" fmla="*/ 800 h 1301"/>
              <a:gd name="T56" fmla="*/ 76 w 1152"/>
              <a:gd name="T57" fmla="*/ 900 h 1301"/>
              <a:gd name="T58" fmla="*/ 101 w 1152"/>
              <a:gd name="T59" fmla="*/ 950 h 1301"/>
              <a:gd name="T60" fmla="*/ 76 w 1152"/>
              <a:gd name="T61" fmla="*/ 1025 h 1301"/>
              <a:gd name="T62" fmla="*/ 126 w 1152"/>
              <a:gd name="T63" fmla="*/ 1100 h 1301"/>
              <a:gd name="T64" fmla="*/ 151 w 1152"/>
              <a:gd name="T65" fmla="*/ 1175 h 1301"/>
              <a:gd name="T66" fmla="*/ 176 w 1152"/>
              <a:gd name="T67" fmla="*/ 1275 h 1301"/>
              <a:gd name="T68" fmla="*/ 301 w 1152"/>
              <a:gd name="T69" fmla="*/ 1200 h 1301"/>
              <a:gd name="T70" fmla="*/ 376 w 1152"/>
              <a:gd name="T71" fmla="*/ 1200 h 1301"/>
              <a:gd name="T72" fmla="*/ 501 w 1152"/>
              <a:gd name="T73" fmla="*/ 1250 h 1301"/>
              <a:gd name="T74" fmla="*/ 551 w 1152"/>
              <a:gd name="T75" fmla="*/ 1200 h 1301"/>
              <a:gd name="T76" fmla="*/ 676 w 1152"/>
              <a:gd name="T77" fmla="*/ 1200 h 1301"/>
              <a:gd name="T78" fmla="*/ 701 w 1152"/>
              <a:gd name="T79" fmla="*/ 1050 h 1301"/>
              <a:gd name="T80" fmla="*/ 776 w 1152"/>
              <a:gd name="T81" fmla="*/ 975 h 1301"/>
              <a:gd name="T82" fmla="*/ 901 w 1152"/>
              <a:gd name="T83" fmla="*/ 950 h 1301"/>
              <a:gd name="T84" fmla="*/ 1001 w 1152"/>
              <a:gd name="T85" fmla="*/ 925 h 1301"/>
              <a:gd name="T86" fmla="*/ 1076 w 1152"/>
              <a:gd name="T87" fmla="*/ 975 h 1301"/>
              <a:gd name="T88" fmla="*/ 1126 w 1152"/>
              <a:gd name="T89" fmla="*/ 900 h 1301"/>
              <a:gd name="T90" fmla="*/ 1151 w 1152"/>
              <a:gd name="T91" fmla="*/ 774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2" h="1301">
                <a:moveTo>
                  <a:pt x="1151" y="774"/>
                </a:moveTo>
                <a:lnTo>
                  <a:pt x="1151" y="774"/>
                </a:lnTo>
                <a:cubicBezTo>
                  <a:pt x="1126" y="750"/>
                  <a:pt x="1076" y="725"/>
                  <a:pt x="1076" y="700"/>
                </a:cubicBezTo>
                <a:cubicBezTo>
                  <a:pt x="1076" y="650"/>
                  <a:pt x="1076" y="650"/>
                  <a:pt x="1001" y="650"/>
                </a:cubicBezTo>
                <a:cubicBezTo>
                  <a:pt x="951" y="650"/>
                  <a:pt x="901" y="625"/>
                  <a:pt x="901" y="600"/>
                </a:cubicBezTo>
                <a:cubicBezTo>
                  <a:pt x="901" y="550"/>
                  <a:pt x="876" y="525"/>
                  <a:pt x="901" y="525"/>
                </a:cubicBezTo>
                <a:cubicBezTo>
                  <a:pt x="926" y="500"/>
                  <a:pt x="876" y="475"/>
                  <a:pt x="876" y="450"/>
                </a:cubicBezTo>
                <a:cubicBezTo>
                  <a:pt x="876" y="400"/>
                  <a:pt x="876" y="400"/>
                  <a:pt x="851" y="375"/>
                </a:cubicBezTo>
                <a:cubicBezTo>
                  <a:pt x="826" y="375"/>
                  <a:pt x="751" y="400"/>
                  <a:pt x="751" y="350"/>
                </a:cubicBezTo>
                <a:cubicBezTo>
                  <a:pt x="751" y="325"/>
                  <a:pt x="701" y="325"/>
                  <a:pt x="676" y="325"/>
                </a:cubicBezTo>
                <a:cubicBezTo>
                  <a:pt x="626" y="325"/>
                  <a:pt x="651" y="275"/>
                  <a:pt x="626" y="300"/>
                </a:cubicBezTo>
                <a:cubicBezTo>
                  <a:pt x="601" y="300"/>
                  <a:pt x="601" y="275"/>
                  <a:pt x="551" y="275"/>
                </a:cubicBezTo>
                <a:cubicBezTo>
                  <a:pt x="526" y="275"/>
                  <a:pt x="501" y="250"/>
                  <a:pt x="451" y="200"/>
                </a:cubicBezTo>
                <a:cubicBezTo>
                  <a:pt x="401" y="150"/>
                  <a:pt x="401" y="50"/>
                  <a:pt x="426" y="25"/>
                </a:cubicBezTo>
                <a:cubicBezTo>
                  <a:pt x="426" y="0"/>
                  <a:pt x="376" y="25"/>
                  <a:pt x="326" y="25"/>
                </a:cubicBezTo>
                <a:cubicBezTo>
                  <a:pt x="301" y="25"/>
                  <a:pt x="251" y="50"/>
                  <a:pt x="226" y="75"/>
                </a:cubicBezTo>
                <a:cubicBezTo>
                  <a:pt x="176" y="100"/>
                  <a:pt x="151" y="100"/>
                  <a:pt x="126" y="100"/>
                </a:cubicBezTo>
                <a:cubicBezTo>
                  <a:pt x="126" y="125"/>
                  <a:pt x="76" y="150"/>
                  <a:pt x="51" y="125"/>
                </a:cubicBezTo>
                <a:lnTo>
                  <a:pt x="26" y="125"/>
                </a:lnTo>
                <a:cubicBezTo>
                  <a:pt x="51" y="175"/>
                  <a:pt x="76" y="225"/>
                  <a:pt x="101" y="250"/>
                </a:cubicBezTo>
                <a:cubicBezTo>
                  <a:pt x="101" y="275"/>
                  <a:pt x="76" y="300"/>
                  <a:pt x="76" y="300"/>
                </a:cubicBezTo>
                <a:cubicBezTo>
                  <a:pt x="51" y="325"/>
                  <a:pt x="76" y="425"/>
                  <a:pt x="76" y="450"/>
                </a:cubicBezTo>
                <a:cubicBezTo>
                  <a:pt x="76" y="450"/>
                  <a:pt x="26" y="500"/>
                  <a:pt x="51" y="525"/>
                </a:cubicBezTo>
                <a:cubicBezTo>
                  <a:pt x="76" y="525"/>
                  <a:pt x="26" y="575"/>
                  <a:pt x="26" y="600"/>
                </a:cubicBezTo>
                <a:cubicBezTo>
                  <a:pt x="26" y="625"/>
                  <a:pt x="76" y="625"/>
                  <a:pt x="76" y="650"/>
                </a:cubicBezTo>
                <a:cubicBezTo>
                  <a:pt x="76" y="650"/>
                  <a:pt x="26" y="700"/>
                  <a:pt x="26" y="725"/>
                </a:cubicBezTo>
                <a:cubicBezTo>
                  <a:pt x="0" y="725"/>
                  <a:pt x="0" y="725"/>
                  <a:pt x="0" y="750"/>
                </a:cubicBezTo>
                <a:cubicBezTo>
                  <a:pt x="0" y="750"/>
                  <a:pt x="26" y="774"/>
                  <a:pt x="51" y="800"/>
                </a:cubicBezTo>
                <a:cubicBezTo>
                  <a:pt x="76" y="825"/>
                  <a:pt x="51" y="875"/>
                  <a:pt x="76" y="900"/>
                </a:cubicBezTo>
                <a:cubicBezTo>
                  <a:pt x="101" y="925"/>
                  <a:pt x="126" y="925"/>
                  <a:pt x="101" y="950"/>
                </a:cubicBezTo>
                <a:cubicBezTo>
                  <a:pt x="76" y="975"/>
                  <a:pt x="101" y="1000"/>
                  <a:pt x="76" y="1025"/>
                </a:cubicBezTo>
                <a:cubicBezTo>
                  <a:pt x="76" y="1025"/>
                  <a:pt x="101" y="1075"/>
                  <a:pt x="126" y="1100"/>
                </a:cubicBezTo>
                <a:cubicBezTo>
                  <a:pt x="151" y="1100"/>
                  <a:pt x="126" y="1150"/>
                  <a:pt x="151" y="1175"/>
                </a:cubicBezTo>
                <a:cubicBezTo>
                  <a:pt x="176" y="1200"/>
                  <a:pt x="176" y="1275"/>
                  <a:pt x="176" y="1275"/>
                </a:cubicBezTo>
                <a:cubicBezTo>
                  <a:pt x="176" y="1300"/>
                  <a:pt x="251" y="1250"/>
                  <a:pt x="301" y="1200"/>
                </a:cubicBezTo>
                <a:cubicBezTo>
                  <a:pt x="351" y="1175"/>
                  <a:pt x="351" y="1200"/>
                  <a:pt x="376" y="1200"/>
                </a:cubicBezTo>
                <a:cubicBezTo>
                  <a:pt x="426" y="1225"/>
                  <a:pt x="476" y="1225"/>
                  <a:pt x="501" y="1250"/>
                </a:cubicBezTo>
                <a:cubicBezTo>
                  <a:pt x="526" y="1300"/>
                  <a:pt x="526" y="1225"/>
                  <a:pt x="551" y="1200"/>
                </a:cubicBezTo>
                <a:cubicBezTo>
                  <a:pt x="576" y="1175"/>
                  <a:pt x="651" y="1200"/>
                  <a:pt x="676" y="1200"/>
                </a:cubicBezTo>
                <a:cubicBezTo>
                  <a:pt x="701" y="1200"/>
                  <a:pt x="701" y="1075"/>
                  <a:pt x="701" y="1050"/>
                </a:cubicBezTo>
                <a:cubicBezTo>
                  <a:pt x="701" y="1025"/>
                  <a:pt x="751" y="975"/>
                  <a:pt x="776" y="975"/>
                </a:cubicBezTo>
                <a:cubicBezTo>
                  <a:pt x="801" y="950"/>
                  <a:pt x="851" y="950"/>
                  <a:pt x="901" y="950"/>
                </a:cubicBezTo>
                <a:cubicBezTo>
                  <a:pt x="926" y="925"/>
                  <a:pt x="951" y="925"/>
                  <a:pt x="1001" y="925"/>
                </a:cubicBezTo>
                <a:cubicBezTo>
                  <a:pt x="1026" y="925"/>
                  <a:pt x="1076" y="975"/>
                  <a:pt x="1076" y="975"/>
                </a:cubicBezTo>
                <a:cubicBezTo>
                  <a:pt x="1101" y="975"/>
                  <a:pt x="1126" y="925"/>
                  <a:pt x="1126" y="900"/>
                </a:cubicBezTo>
                <a:cubicBezTo>
                  <a:pt x="1126" y="875"/>
                  <a:pt x="1151" y="825"/>
                  <a:pt x="1151" y="774"/>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7" name="Freeform 111">
            <a:extLst>
              <a:ext uri="{FF2B5EF4-FFF2-40B4-BE49-F238E27FC236}">
                <a16:creationId xmlns:a16="http://schemas.microsoft.com/office/drawing/2014/main" id="{D9656DED-3275-EDFB-B221-430992A565ED}"/>
              </a:ext>
            </a:extLst>
          </p:cNvPr>
          <p:cNvSpPr>
            <a:spLocks noChangeArrowheads="1"/>
          </p:cNvSpPr>
          <p:nvPr/>
        </p:nvSpPr>
        <p:spPr bwMode="auto">
          <a:xfrm>
            <a:off x="5593190" y="4603876"/>
            <a:ext cx="390935" cy="566716"/>
          </a:xfrm>
          <a:custGeom>
            <a:avLst/>
            <a:gdLst>
              <a:gd name="T0" fmla="*/ 1125 w 1227"/>
              <a:gd name="T1" fmla="*/ 1675 h 1776"/>
              <a:gd name="T2" fmla="*/ 1125 w 1227"/>
              <a:gd name="T3" fmla="*/ 1675 h 1776"/>
              <a:gd name="T4" fmla="*/ 1125 w 1227"/>
              <a:gd name="T5" fmla="*/ 1675 h 1776"/>
              <a:gd name="T6" fmla="*/ 1151 w 1227"/>
              <a:gd name="T7" fmla="*/ 1650 h 1776"/>
              <a:gd name="T8" fmla="*/ 1201 w 1227"/>
              <a:gd name="T9" fmla="*/ 1575 h 1776"/>
              <a:gd name="T10" fmla="*/ 1151 w 1227"/>
              <a:gd name="T11" fmla="*/ 1525 h 1776"/>
              <a:gd name="T12" fmla="*/ 1176 w 1227"/>
              <a:gd name="T13" fmla="*/ 1450 h 1776"/>
              <a:gd name="T14" fmla="*/ 1201 w 1227"/>
              <a:gd name="T15" fmla="*/ 1375 h 1776"/>
              <a:gd name="T16" fmla="*/ 1201 w 1227"/>
              <a:gd name="T17" fmla="*/ 1225 h 1776"/>
              <a:gd name="T18" fmla="*/ 1226 w 1227"/>
              <a:gd name="T19" fmla="*/ 1175 h 1776"/>
              <a:gd name="T20" fmla="*/ 1151 w 1227"/>
              <a:gd name="T21" fmla="*/ 1050 h 1776"/>
              <a:gd name="T22" fmla="*/ 1051 w 1227"/>
              <a:gd name="T23" fmla="*/ 1050 h 1776"/>
              <a:gd name="T24" fmla="*/ 1025 w 1227"/>
              <a:gd name="T25" fmla="*/ 925 h 1776"/>
              <a:gd name="T26" fmla="*/ 1001 w 1227"/>
              <a:gd name="T27" fmla="*/ 950 h 1776"/>
              <a:gd name="T28" fmla="*/ 901 w 1227"/>
              <a:gd name="T29" fmla="*/ 950 h 1776"/>
              <a:gd name="T30" fmla="*/ 851 w 1227"/>
              <a:gd name="T31" fmla="*/ 900 h 1776"/>
              <a:gd name="T32" fmla="*/ 801 w 1227"/>
              <a:gd name="T33" fmla="*/ 875 h 1776"/>
              <a:gd name="T34" fmla="*/ 751 w 1227"/>
              <a:gd name="T35" fmla="*/ 775 h 1776"/>
              <a:gd name="T36" fmla="*/ 725 w 1227"/>
              <a:gd name="T37" fmla="*/ 700 h 1776"/>
              <a:gd name="T38" fmla="*/ 751 w 1227"/>
              <a:gd name="T39" fmla="*/ 650 h 1776"/>
              <a:gd name="T40" fmla="*/ 801 w 1227"/>
              <a:gd name="T41" fmla="*/ 600 h 1776"/>
              <a:gd name="T42" fmla="*/ 825 w 1227"/>
              <a:gd name="T43" fmla="*/ 500 h 1776"/>
              <a:gd name="T44" fmla="*/ 901 w 1227"/>
              <a:gd name="T45" fmla="*/ 450 h 1776"/>
              <a:gd name="T46" fmla="*/ 1025 w 1227"/>
              <a:gd name="T47" fmla="*/ 400 h 1776"/>
              <a:gd name="T48" fmla="*/ 1101 w 1227"/>
              <a:gd name="T49" fmla="*/ 400 h 1776"/>
              <a:gd name="T50" fmla="*/ 1025 w 1227"/>
              <a:gd name="T51" fmla="*/ 350 h 1776"/>
              <a:gd name="T52" fmla="*/ 1076 w 1227"/>
              <a:gd name="T53" fmla="*/ 274 h 1776"/>
              <a:gd name="T54" fmla="*/ 1025 w 1227"/>
              <a:gd name="T55" fmla="*/ 225 h 1776"/>
              <a:gd name="T56" fmla="*/ 951 w 1227"/>
              <a:gd name="T57" fmla="*/ 225 h 1776"/>
              <a:gd name="T58" fmla="*/ 901 w 1227"/>
              <a:gd name="T59" fmla="*/ 225 h 1776"/>
              <a:gd name="T60" fmla="*/ 801 w 1227"/>
              <a:gd name="T61" fmla="*/ 225 h 1776"/>
              <a:gd name="T62" fmla="*/ 751 w 1227"/>
              <a:gd name="T63" fmla="*/ 150 h 1776"/>
              <a:gd name="T64" fmla="*/ 701 w 1227"/>
              <a:gd name="T65" fmla="*/ 100 h 1776"/>
              <a:gd name="T66" fmla="*/ 651 w 1227"/>
              <a:gd name="T67" fmla="*/ 25 h 1776"/>
              <a:gd name="T68" fmla="*/ 551 w 1227"/>
              <a:gd name="T69" fmla="*/ 25 h 1776"/>
              <a:gd name="T70" fmla="*/ 576 w 1227"/>
              <a:gd name="T71" fmla="*/ 100 h 1776"/>
              <a:gd name="T72" fmla="*/ 525 w 1227"/>
              <a:gd name="T73" fmla="*/ 174 h 1776"/>
              <a:gd name="T74" fmla="*/ 351 w 1227"/>
              <a:gd name="T75" fmla="*/ 274 h 1776"/>
              <a:gd name="T76" fmla="*/ 251 w 1227"/>
              <a:gd name="T77" fmla="*/ 425 h 1776"/>
              <a:gd name="T78" fmla="*/ 200 w 1227"/>
              <a:gd name="T79" fmla="*/ 450 h 1776"/>
              <a:gd name="T80" fmla="*/ 125 w 1227"/>
              <a:gd name="T81" fmla="*/ 425 h 1776"/>
              <a:gd name="T82" fmla="*/ 125 w 1227"/>
              <a:gd name="T83" fmla="*/ 374 h 1776"/>
              <a:gd name="T84" fmla="*/ 100 w 1227"/>
              <a:gd name="T85" fmla="*/ 325 h 1776"/>
              <a:gd name="T86" fmla="*/ 25 w 1227"/>
              <a:gd name="T87" fmla="*/ 400 h 1776"/>
              <a:gd name="T88" fmla="*/ 51 w 1227"/>
              <a:gd name="T89" fmla="*/ 525 h 1776"/>
              <a:gd name="T90" fmla="*/ 25 w 1227"/>
              <a:gd name="T91" fmla="*/ 550 h 1776"/>
              <a:gd name="T92" fmla="*/ 125 w 1227"/>
              <a:gd name="T93" fmla="*/ 650 h 1776"/>
              <a:gd name="T94" fmla="*/ 225 w 1227"/>
              <a:gd name="T95" fmla="*/ 775 h 1776"/>
              <a:gd name="T96" fmla="*/ 300 w 1227"/>
              <a:gd name="T97" fmla="*/ 925 h 1776"/>
              <a:gd name="T98" fmla="*/ 451 w 1227"/>
              <a:gd name="T99" fmla="*/ 1200 h 1776"/>
              <a:gd name="T100" fmla="*/ 501 w 1227"/>
              <a:gd name="T101" fmla="*/ 1325 h 1776"/>
              <a:gd name="T102" fmla="*/ 525 w 1227"/>
              <a:gd name="T103" fmla="*/ 1400 h 1776"/>
              <a:gd name="T104" fmla="*/ 676 w 1227"/>
              <a:gd name="T105" fmla="*/ 1500 h 1776"/>
              <a:gd name="T106" fmla="*/ 951 w 1227"/>
              <a:gd name="T107" fmla="*/ 1675 h 1776"/>
              <a:gd name="T108" fmla="*/ 1076 w 1227"/>
              <a:gd name="T109" fmla="*/ 1750 h 1776"/>
              <a:gd name="T110" fmla="*/ 1076 w 1227"/>
              <a:gd name="T111" fmla="*/ 1775 h 1776"/>
              <a:gd name="T112" fmla="*/ 1101 w 1227"/>
              <a:gd name="T113" fmla="*/ 1750 h 1776"/>
              <a:gd name="T114" fmla="*/ 1125 w 1227"/>
              <a:gd name="T115" fmla="*/ 1675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7" h="1776">
                <a:moveTo>
                  <a:pt x="1125" y="1675"/>
                </a:moveTo>
                <a:lnTo>
                  <a:pt x="1125" y="1675"/>
                </a:lnTo>
                <a:lnTo>
                  <a:pt x="1125" y="1675"/>
                </a:lnTo>
                <a:cubicBezTo>
                  <a:pt x="1125" y="1650"/>
                  <a:pt x="1125" y="1650"/>
                  <a:pt x="1151" y="1650"/>
                </a:cubicBezTo>
                <a:cubicBezTo>
                  <a:pt x="1151" y="1625"/>
                  <a:pt x="1201" y="1575"/>
                  <a:pt x="1201" y="1575"/>
                </a:cubicBezTo>
                <a:cubicBezTo>
                  <a:pt x="1201" y="1550"/>
                  <a:pt x="1151" y="1550"/>
                  <a:pt x="1151" y="1525"/>
                </a:cubicBezTo>
                <a:cubicBezTo>
                  <a:pt x="1151" y="1500"/>
                  <a:pt x="1201" y="1450"/>
                  <a:pt x="1176" y="1450"/>
                </a:cubicBezTo>
                <a:cubicBezTo>
                  <a:pt x="1151" y="1425"/>
                  <a:pt x="1201" y="1375"/>
                  <a:pt x="1201" y="1375"/>
                </a:cubicBezTo>
                <a:cubicBezTo>
                  <a:pt x="1201" y="1350"/>
                  <a:pt x="1176" y="1250"/>
                  <a:pt x="1201" y="1225"/>
                </a:cubicBezTo>
                <a:cubicBezTo>
                  <a:pt x="1201" y="1225"/>
                  <a:pt x="1226" y="1200"/>
                  <a:pt x="1226" y="1175"/>
                </a:cubicBezTo>
                <a:cubicBezTo>
                  <a:pt x="1201" y="1150"/>
                  <a:pt x="1176" y="1100"/>
                  <a:pt x="1151" y="1050"/>
                </a:cubicBezTo>
                <a:cubicBezTo>
                  <a:pt x="1125" y="1050"/>
                  <a:pt x="1076" y="1050"/>
                  <a:pt x="1051" y="1050"/>
                </a:cubicBezTo>
                <a:cubicBezTo>
                  <a:pt x="1025" y="1075"/>
                  <a:pt x="1025" y="975"/>
                  <a:pt x="1025" y="925"/>
                </a:cubicBezTo>
                <a:cubicBezTo>
                  <a:pt x="1025" y="900"/>
                  <a:pt x="1001" y="925"/>
                  <a:pt x="1001" y="950"/>
                </a:cubicBezTo>
                <a:cubicBezTo>
                  <a:pt x="976" y="975"/>
                  <a:pt x="951" y="950"/>
                  <a:pt x="901" y="950"/>
                </a:cubicBezTo>
                <a:cubicBezTo>
                  <a:pt x="851" y="950"/>
                  <a:pt x="876" y="900"/>
                  <a:pt x="851" y="900"/>
                </a:cubicBezTo>
                <a:cubicBezTo>
                  <a:pt x="825" y="900"/>
                  <a:pt x="801" y="900"/>
                  <a:pt x="801" y="875"/>
                </a:cubicBezTo>
                <a:cubicBezTo>
                  <a:pt x="801" y="825"/>
                  <a:pt x="776" y="825"/>
                  <a:pt x="751" y="775"/>
                </a:cubicBezTo>
                <a:cubicBezTo>
                  <a:pt x="751" y="750"/>
                  <a:pt x="725" y="725"/>
                  <a:pt x="725" y="700"/>
                </a:cubicBezTo>
                <a:cubicBezTo>
                  <a:pt x="751" y="675"/>
                  <a:pt x="725" y="675"/>
                  <a:pt x="751" y="650"/>
                </a:cubicBezTo>
                <a:cubicBezTo>
                  <a:pt x="776" y="625"/>
                  <a:pt x="801" y="625"/>
                  <a:pt x="801" y="600"/>
                </a:cubicBezTo>
                <a:cubicBezTo>
                  <a:pt x="776" y="550"/>
                  <a:pt x="825" y="550"/>
                  <a:pt x="825" y="500"/>
                </a:cubicBezTo>
                <a:cubicBezTo>
                  <a:pt x="825" y="474"/>
                  <a:pt x="876" y="474"/>
                  <a:pt x="901" y="450"/>
                </a:cubicBezTo>
                <a:cubicBezTo>
                  <a:pt x="951" y="425"/>
                  <a:pt x="976" y="425"/>
                  <a:pt x="1025" y="400"/>
                </a:cubicBezTo>
                <a:cubicBezTo>
                  <a:pt x="1051" y="374"/>
                  <a:pt x="1076" y="400"/>
                  <a:pt x="1101" y="400"/>
                </a:cubicBezTo>
                <a:cubicBezTo>
                  <a:pt x="1076" y="374"/>
                  <a:pt x="1051" y="374"/>
                  <a:pt x="1025" y="350"/>
                </a:cubicBezTo>
                <a:cubicBezTo>
                  <a:pt x="1025" y="325"/>
                  <a:pt x="1076" y="299"/>
                  <a:pt x="1076" y="274"/>
                </a:cubicBezTo>
                <a:cubicBezTo>
                  <a:pt x="1101" y="250"/>
                  <a:pt x="1025" y="225"/>
                  <a:pt x="1025" y="225"/>
                </a:cubicBezTo>
                <a:cubicBezTo>
                  <a:pt x="1001" y="225"/>
                  <a:pt x="976" y="225"/>
                  <a:pt x="951" y="225"/>
                </a:cubicBezTo>
                <a:cubicBezTo>
                  <a:pt x="951" y="225"/>
                  <a:pt x="925" y="225"/>
                  <a:pt x="901" y="225"/>
                </a:cubicBezTo>
                <a:cubicBezTo>
                  <a:pt x="876" y="250"/>
                  <a:pt x="801" y="250"/>
                  <a:pt x="801" y="225"/>
                </a:cubicBezTo>
                <a:cubicBezTo>
                  <a:pt x="801" y="200"/>
                  <a:pt x="751" y="174"/>
                  <a:pt x="751" y="150"/>
                </a:cubicBezTo>
                <a:cubicBezTo>
                  <a:pt x="751" y="150"/>
                  <a:pt x="725" y="100"/>
                  <a:pt x="701" y="100"/>
                </a:cubicBezTo>
                <a:cubicBezTo>
                  <a:pt x="651" y="100"/>
                  <a:pt x="676" y="25"/>
                  <a:pt x="651" y="25"/>
                </a:cubicBezTo>
                <a:cubicBezTo>
                  <a:pt x="625" y="0"/>
                  <a:pt x="601" y="25"/>
                  <a:pt x="551" y="25"/>
                </a:cubicBezTo>
                <a:cubicBezTo>
                  <a:pt x="601" y="50"/>
                  <a:pt x="601" y="74"/>
                  <a:pt x="576" y="100"/>
                </a:cubicBezTo>
                <a:cubicBezTo>
                  <a:pt x="551" y="100"/>
                  <a:pt x="576" y="125"/>
                  <a:pt x="525" y="174"/>
                </a:cubicBezTo>
                <a:cubicBezTo>
                  <a:pt x="476" y="250"/>
                  <a:pt x="401" y="274"/>
                  <a:pt x="351" y="274"/>
                </a:cubicBezTo>
                <a:cubicBezTo>
                  <a:pt x="300" y="299"/>
                  <a:pt x="276" y="374"/>
                  <a:pt x="251" y="425"/>
                </a:cubicBezTo>
                <a:cubicBezTo>
                  <a:pt x="225" y="500"/>
                  <a:pt x="225" y="474"/>
                  <a:pt x="200" y="450"/>
                </a:cubicBezTo>
                <a:cubicBezTo>
                  <a:pt x="176" y="400"/>
                  <a:pt x="151" y="450"/>
                  <a:pt x="125" y="425"/>
                </a:cubicBezTo>
                <a:cubicBezTo>
                  <a:pt x="100" y="400"/>
                  <a:pt x="100" y="400"/>
                  <a:pt x="125" y="374"/>
                </a:cubicBezTo>
                <a:cubicBezTo>
                  <a:pt x="125" y="350"/>
                  <a:pt x="125" y="350"/>
                  <a:pt x="100" y="325"/>
                </a:cubicBezTo>
                <a:cubicBezTo>
                  <a:pt x="76" y="325"/>
                  <a:pt x="51" y="374"/>
                  <a:pt x="25" y="400"/>
                </a:cubicBezTo>
                <a:cubicBezTo>
                  <a:pt x="0" y="450"/>
                  <a:pt x="51" y="500"/>
                  <a:pt x="51" y="525"/>
                </a:cubicBezTo>
                <a:cubicBezTo>
                  <a:pt x="76" y="550"/>
                  <a:pt x="25" y="550"/>
                  <a:pt x="25" y="550"/>
                </a:cubicBezTo>
                <a:cubicBezTo>
                  <a:pt x="25" y="575"/>
                  <a:pt x="100" y="625"/>
                  <a:pt x="125" y="650"/>
                </a:cubicBezTo>
                <a:cubicBezTo>
                  <a:pt x="176" y="675"/>
                  <a:pt x="200" y="750"/>
                  <a:pt x="225" y="775"/>
                </a:cubicBezTo>
                <a:cubicBezTo>
                  <a:pt x="251" y="800"/>
                  <a:pt x="251" y="825"/>
                  <a:pt x="300" y="925"/>
                </a:cubicBezTo>
                <a:cubicBezTo>
                  <a:pt x="325" y="1000"/>
                  <a:pt x="401" y="1125"/>
                  <a:pt x="451" y="1200"/>
                </a:cubicBezTo>
                <a:cubicBezTo>
                  <a:pt x="476" y="1250"/>
                  <a:pt x="501" y="1300"/>
                  <a:pt x="501" y="1325"/>
                </a:cubicBezTo>
                <a:cubicBezTo>
                  <a:pt x="476" y="1325"/>
                  <a:pt x="501" y="1375"/>
                  <a:pt x="525" y="1400"/>
                </a:cubicBezTo>
                <a:cubicBezTo>
                  <a:pt x="576" y="1425"/>
                  <a:pt x="601" y="1450"/>
                  <a:pt x="676" y="1500"/>
                </a:cubicBezTo>
                <a:cubicBezTo>
                  <a:pt x="776" y="1550"/>
                  <a:pt x="925" y="1625"/>
                  <a:pt x="951" y="1675"/>
                </a:cubicBezTo>
                <a:cubicBezTo>
                  <a:pt x="976" y="1699"/>
                  <a:pt x="1051" y="1750"/>
                  <a:pt x="1076" y="1750"/>
                </a:cubicBezTo>
                <a:lnTo>
                  <a:pt x="1076" y="1775"/>
                </a:lnTo>
                <a:cubicBezTo>
                  <a:pt x="1076" y="1775"/>
                  <a:pt x="1076" y="1750"/>
                  <a:pt x="1101" y="1750"/>
                </a:cubicBezTo>
                <a:cubicBezTo>
                  <a:pt x="1125" y="1750"/>
                  <a:pt x="1125" y="1699"/>
                  <a:pt x="1125" y="16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8" name="Freeform 112">
            <a:extLst>
              <a:ext uri="{FF2B5EF4-FFF2-40B4-BE49-F238E27FC236}">
                <a16:creationId xmlns:a16="http://schemas.microsoft.com/office/drawing/2014/main" id="{4B82FB6F-D2BC-BC83-3E5E-E31500C2E6EA}"/>
              </a:ext>
            </a:extLst>
          </p:cNvPr>
          <p:cNvSpPr>
            <a:spLocks noChangeArrowheads="1"/>
          </p:cNvSpPr>
          <p:nvPr/>
        </p:nvSpPr>
        <p:spPr bwMode="auto">
          <a:xfrm>
            <a:off x="5840689" y="4236846"/>
            <a:ext cx="414841" cy="351560"/>
          </a:xfrm>
          <a:custGeom>
            <a:avLst/>
            <a:gdLst>
              <a:gd name="T0" fmla="*/ 125 w 1301"/>
              <a:gd name="T1" fmla="*/ 76 h 1102"/>
              <a:gd name="T2" fmla="*/ 125 w 1301"/>
              <a:gd name="T3" fmla="*/ 76 h 1102"/>
              <a:gd name="T4" fmla="*/ 49 w 1301"/>
              <a:gd name="T5" fmla="*/ 176 h 1102"/>
              <a:gd name="T6" fmla="*/ 25 w 1301"/>
              <a:gd name="T7" fmla="*/ 251 h 1102"/>
              <a:gd name="T8" fmla="*/ 0 w 1301"/>
              <a:gd name="T9" fmla="*/ 276 h 1102"/>
              <a:gd name="T10" fmla="*/ 49 w 1301"/>
              <a:gd name="T11" fmla="*/ 300 h 1102"/>
              <a:gd name="T12" fmla="*/ 100 w 1301"/>
              <a:gd name="T13" fmla="*/ 376 h 1102"/>
              <a:gd name="T14" fmla="*/ 149 w 1301"/>
              <a:gd name="T15" fmla="*/ 501 h 1102"/>
              <a:gd name="T16" fmla="*/ 325 w 1301"/>
              <a:gd name="T17" fmla="*/ 501 h 1102"/>
              <a:gd name="T18" fmla="*/ 450 w 1301"/>
              <a:gd name="T19" fmla="*/ 576 h 1102"/>
              <a:gd name="T20" fmla="*/ 550 w 1301"/>
              <a:gd name="T21" fmla="*/ 601 h 1102"/>
              <a:gd name="T22" fmla="*/ 525 w 1301"/>
              <a:gd name="T23" fmla="*/ 776 h 1102"/>
              <a:gd name="T24" fmla="*/ 575 w 1301"/>
              <a:gd name="T25" fmla="*/ 825 h 1102"/>
              <a:gd name="T26" fmla="*/ 575 w 1301"/>
              <a:gd name="T27" fmla="*/ 901 h 1102"/>
              <a:gd name="T28" fmla="*/ 575 w 1301"/>
              <a:gd name="T29" fmla="*/ 951 h 1102"/>
              <a:gd name="T30" fmla="*/ 575 w 1301"/>
              <a:gd name="T31" fmla="*/ 951 h 1102"/>
              <a:gd name="T32" fmla="*/ 650 w 1301"/>
              <a:gd name="T33" fmla="*/ 1051 h 1102"/>
              <a:gd name="T34" fmla="*/ 700 w 1301"/>
              <a:gd name="T35" fmla="*/ 1076 h 1102"/>
              <a:gd name="T36" fmla="*/ 750 w 1301"/>
              <a:gd name="T37" fmla="*/ 1076 h 1102"/>
              <a:gd name="T38" fmla="*/ 825 w 1301"/>
              <a:gd name="T39" fmla="*/ 1025 h 1102"/>
              <a:gd name="T40" fmla="*/ 875 w 1301"/>
              <a:gd name="T41" fmla="*/ 1001 h 1102"/>
              <a:gd name="T42" fmla="*/ 925 w 1301"/>
              <a:gd name="T43" fmla="*/ 951 h 1102"/>
              <a:gd name="T44" fmla="*/ 950 w 1301"/>
              <a:gd name="T45" fmla="*/ 925 h 1102"/>
              <a:gd name="T46" fmla="*/ 900 w 1301"/>
              <a:gd name="T47" fmla="*/ 901 h 1102"/>
              <a:gd name="T48" fmla="*/ 875 w 1301"/>
              <a:gd name="T49" fmla="*/ 851 h 1102"/>
              <a:gd name="T50" fmla="*/ 825 w 1301"/>
              <a:gd name="T51" fmla="*/ 776 h 1102"/>
              <a:gd name="T52" fmla="*/ 900 w 1301"/>
              <a:gd name="T53" fmla="*/ 776 h 1102"/>
              <a:gd name="T54" fmla="*/ 975 w 1301"/>
              <a:gd name="T55" fmla="*/ 801 h 1102"/>
              <a:gd name="T56" fmla="*/ 1025 w 1301"/>
              <a:gd name="T57" fmla="*/ 801 h 1102"/>
              <a:gd name="T58" fmla="*/ 1075 w 1301"/>
              <a:gd name="T59" fmla="*/ 751 h 1102"/>
              <a:gd name="T60" fmla="*/ 1200 w 1301"/>
              <a:gd name="T61" fmla="*/ 725 h 1102"/>
              <a:gd name="T62" fmla="*/ 1225 w 1301"/>
              <a:gd name="T63" fmla="*/ 676 h 1102"/>
              <a:gd name="T64" fmla="*/ 1150 w 1301"/>
              <a:gd name="T65" fmla="*/ 601 h 1102"/>
              <a:gd name="T66" fmla="*/ 1175 w 1301"/>
              <a:gd name="T67" fmla="*/ 551 h 1102"/>
              <a:gd name="T68" fmla="*/ 1200 w 1301"/>
              <a:gd name="T69" fmla="*/ 501 h 1102"/>
              <a:gd name="T70" fmla="*/ 1225 w 1301"/>
              <a:gd name="T71" fmla="*/ 451 h 1102"/>
              <a:gd name="T72" fmla="*/ 1250 w 1301"/>
              <a:gd name="T73" fmla="*/ 400 h 1102"/>
              <a:gd name="T74" fmla="*/ 1300 w 1301"/>
              <a:gd name="T75" fmla="*/ 351 h 1102"/>
              <a:gd name="T76" fmla="*/ 1150 w 1301"/>
              <a:gd name="T77" fmla="*/ 325 h 1102"/>
              <a:gd name="T78" fmla="*/ 1175 w 1301"/>
              <a:gd name="T79" fmla="*/ 251 h 1102"/>
              <a:gd name="T80" fmla="*/ 1050 w 1301"/>
              <a:gd name="T81" fmla="*/ 200 h 1102"/>
              <a:gd name="T82" fmla="*/ 1050 w 1301"/>
              <a:gd name="T83" fmla="*/ 150 h 1102"/>
              <a:gd name="T84" fmla="*/ 975 w 1301"/>
              <a:gd name="T85" fmla="*/ 125 h 1102"/>
              <a:gd name="T86" fmla="*/ 800 w 1301"/>
              <a:gd name="T87" fmla="*/ 200 h 1102"/>
              <a:gd name="T88" fmla="*/ 625 w 1301"/>
              <a:gd name="T89" fmla="*/ 150 h 1102"/>
              <a:gd name="T90" fmla="*/ 500 w 1301"/>
              <a:gd name="T91" fmla="*/ 125 h 1102"/>
              <a:gd name="T92" fmla="*/ 425 w 1301"/>
              <a:gd name="T93" fmla="*/ 50 h 1102"/>
              <a:gd name="T94" fmla="*/ 349 w 1301"/>
              <a:gd name="T95" fmla="*/ 0 h 1102"/>
              <a:gd name="T96" fmla="*/ 325 w 1301"/>
              <a:gd name="T97" fmla="*/ 50 h 1102"/>
              <a:gd name="T98" fmla="*/ 200 w 1301"/>
              <a:gd name="T99" fmla="*/ 125 h 1102"/>
              <a:gd name="T100" fmla="*/ 225 w 1301"/>
              <a:gd name="T101" fmla="*/ 276 h 1102"/>
              <a:gd name="T102" fmla="*/ 125 w 1301"/>
              <a:gd name="T103" fmla="*/ 225 h 1102"/>
              <a:gd name="T104" fmla="*/ 149 w 1301"/>
              <a:gd name="T105" fmla="*/ 125 h 1102"/>
              <a:gd name="T106" fmla="*/ 149 w 1301"/>
              <a:gd name="T107" fmla="*/ 50 h 1102"/>
              <a:gd name="T108" fmla="*/ 125 w 1301"/>
              <a:gd name="T109" fmla="*/ 76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1" h="1102">
                <a:moveTo>
                  <a:pt x="125" y="76"/>
                </a:moveTo>
                <a:lnTo>
                  <a:pt x="125" y="76"/>
                </a:lnTo>
                <a:cubicBezTo>
                  <a:pt x="100" y="100"/>
                  <a:pt x="49" y="125"/>
                  <a:pt x="49" y="176"/>
                </a:cubicBezTo>
                <a:cubicBezTo>
                  <a:pt x="25" y="200"/>
                  <a:pt x="49" y="225"/>
                  <a:pt x="25" y="251"/>
                </a:cubicBezTo>
                <a:cubicBezTo>
                  <a:pt x="0" y="251"/>
                  <a:pt x="0" y="276"/>
                  <a:pt x="0" y="276"/>
                </a:cubicBezTo>
                <a:cubicBezTo>
                  <a:pt x="25" y="276"/>
                  <a:pt x="49" y="276"/>
                  <a:pt x="49" y="300"/>
                </a:cubicBezTo>
                <a:cubicBezTo>
                  <a:pt x="49" y="325"/>
                  <a:pt x="100" y="325"/>
                  <a:pt x="100" y="376"/>
                </a:cubicBezTo>
                <a:cubicBezTo>
                  <a:pt x="100" y="400"/>
                  <a:pt x="75" y="501"/>
                  <a:pt x="149" y="501"/>
                </a:cubicBezTo>
                <a:cubicBezTo>
                  <a:pt x="225" y="501"/>
                  <a:pt x="275" y="451"/>
                  <a:pt x="325" y="501"/>
                </a:cubicBezTo>
                <a:cubicBezTo>
                  <a:pt x="349" y="551"/>
                  <a:pt x="400" y="576"/>
                  <a:pt x="450" y="576"/>
                </a:cubicBezTo>
                <a:cubicBezTo>
                  <a:pt x="500" y="551"/>
                  <a:pt x="575" y="551"/>
                  <a:pt x="550" y="601"/>
                </a:cubicBezTo>
                <a:cubicBezTo>
                  <a:pt x="525" y="651"/>
                  <a:pt x="500" y="725"/>
                  <a:pt x="525" y="776"/>
                </a:cubicBezTo>
                <a:cubicBezTo>
                  <a:pt x="550" y="801"/>
                  <a:pt x="600" y="825"/>
                  <a:pt x="575" y="825"/>
                </a:cubicBezTo>
                <a:cubicBezTo>
                  <a:pt x="550" y="851"/>
                  <a:pt x="550" y="876"/>
                  <a:pt x="575" y="901"/>
                </a:cubicBezTo>
                <a:cubicBezTo>
                  <a:pt x="600" y="925"/>
                  <a:pt x="575" y="951"/>
                  <a:pt x="575" y="951"/>
                </a:cubicBezTo>
                <a:lnTo>
                  <a:pt x="575" y="951"/>
                </a:lnTo>
                <a:cubicBezTo>
                  <a:pt x="600" y="1001"/>
                  <a:pt x="625" y="1051"/>
                  <a:pt x="650" y="1051"/>
                </a:cubicBezTo>
                <a:cubicBezTo>
                  <a:pt x="675" y="1076"/>
                  <a:pt x="675" y="1101"/>
                  <a:pt x="700" y="1076"/>
                </a:cubicBezTo>
                <a:cubicBezTo>
                  <a:pt x="725" y="1076"/>
                  <a:pt x="725" y="1051"/>
                  <a:pt x="750" y="1076"/>
                </a:cubicBezTo>
                <a:cubicBezTo>
                  <a:pt x="775" y="1076"/>
                  <a:pt x="800" y="1051"/>
                  <a:pt x="825" y="1025"/>
                </a:cubicBezTo>
                <a:cubicBezTo>
                  <a:pt x="850" y="1025"/>
                  <a:pt x="875" y="1025"/>
                  <a:pt x="875" y="1001"/>
                </a:cubicBezTo>
                <a:cubicBezTo>
                  <a:pt x="875" y="976"/>
                  <a:pt x="900" y="951"/>
                  <a:pt x="925" y="951"/>
                </a:cubicBezTo>
                <a:cubicBezTo>
                  <a:pt x="975" y="951"/>
                  <a:pt x="975" y="925"/>
                  <a:pt x="950" y="925"/>
                </a:cubicBezTo>
                <a:cubicBezTo>
                  <a:pt x="925" y="925"/>
                  <a:pt x="900" y="951"/>
                  <a:pt x="900" y="901"/>
                </a:cubicBezTo>
                <a:cubicBezTo>
                  <a:pt x="900" y="876"/>
                  <a:pt x="875" y="876"/>
                  <a:pt x="875" y="851"/>
                </a:cubicBezTo>
                <a:cubicBezTo>
                  <a:pt x="875" y="825"/>
                  <a:pt x="875" y="801"/>
                  <a:pt x="825" y="776"/>
                </a:cubicBezTo>
                <a:cubicBezTo>
                  <a:pt x="800" y="751"/>
                  <a:pt x="875" y="751"/>
                  <a:pt x="900" y="776"/>
                </a:cubicBezTo>
                <a:cubicBezTo>
                  <a:pt x="900" y="776"/>
                  <a:pt x="975" y="776"/>
                  <a:pt x="975" y="801"/>
                </a:cubicBezTo>
                <a:cubicBezTo>
                  <a:pt x="975" y="825"/>
                  <a:pt x="1025" y="825"/>
                  <a:pt x="1025" y="801"/>
                </a:cubicBezTo>
                <a:cubicBezTo>
                  <a:pt x="1025" y="776"/>
                  <a:pt x="1050" y="751"/>
                  <a:pt x="1075" y="751"/>
                </a:cubicBezTo>
                <a:cubicBezTo>
                  <a:pt x="1100" y="776"/>
                  <a:pt x="1175" y="725"/>
                  <a:pt x="1200" y="725"/>
                </a:cubicBezTo>
                <a:cubicBezTo>
                  <a:pt x="1200" y="701"/>
                  <a:pt x="1200" y="701"/>
                  <a:pt x="1225" y="676"/>
                </a:cubicBezTo>
                <a:cubicBezTo>
                  <a:pt x="1200" y="651"/>
                  <a:pt x="1175" y="625"/>
                  <a:pt x="1150" y="601"/>
                </a:cubicBezTo>
                <a:cubicBezTo>
                  <a:pt x="1150" y="576"/>
                  <a:pt x="1175" y="576"/>
                  <a:pt x="1175" y="551"/>
                </a:cubicBezTo>
                <a:cubicBezTo>
                  <a:pt x="1175" y="525"/>
                  <a:pt x="1175" y="525"/>
                  <a:pt x="1200" y="501"/>
                </a:cubicBezTo>
                <a:cubicBezTo>
                  <a:pt x="1250" y="501"/>
                  <a:pt x="1250" y="476"/>
                  <a:pt x="1225" y="451"/>
                </a:cubicBezTo>
                <a:cubicBezTo>
                  <a:pt x="1200" y="451"/>
                  <a:pt x="1225" y="400"/>
                  <a:pt x="1250" y="400"/>
                </a:cubicBezTo>
                <a:cubicBezTo>
                  <a:pt x="1275" y="400"/>
                  <a:pt x="1275" y="376"/>
                  <a:pt x="1300" y="351"/>
                </a:cubicBezTo>
                <a:cubicBezTo>
                  <a:pt x="1250" y="325"/>
                  <a:pt x="1175" y="325"/>
                  <a:pt x="1150" y="325"/>
                </a:cubicBezTo>
                <a:cubicBezTo>
                  <a:pt x="1125" y="351"/>
                  <a:pt x="1175" y="300"/>
                  <a:pt x="1175" y="251"/>
                </a:cubicBezTo>
                <a:cubicBezTo>
                  <a:pt x="1175" y="225"/>
                  <a:pt x="1075" y="225"/>
                  <a:pt x="1050" y="200"/>
                </a:cubicBezTo>
                <a:cubicBezTo>
                  <a:pt x="1000" y="200"/>
                  <a:pt x="1025" y="150"/>
                  <a:pt x="1050" y="150"/>
                </a:cubicBezTo>
                <a:cubicBezTo>
                  <a:pt x="1100" y="150"/>
                  <a:pt x="1025" y="125"/>
                  <a:pt x="975" y="125"/>
                </a:cubicBezTo>
                <a:cubicBezTo>
                  <a:pt x="925" y="150"/>
                  <a:pt x="850" y="176"/>
                  <a:pt x="800" y="200"/>
                </a:cubicBezTo>
                <a:cubicBezTo>
                  <a:pt x="750" y="225"/>
                  <a:pt x="675" y="125"/>
                  <a:pt x="625" y="150"/>
                </a:cubicBezTo>
                <a:cubicBezTo>
                  <a:pt x="575" y="176"/>
                  <a:pt x="500" y="176"/>
                  <a:pt x="500" y="125"/>
                </a:cubicBezTo>
                <a:cubicBezTo>
                  <a:pt x="500" y="76"/>
                  <a:pt x="475" y="50"/>
                  <a:pt x="425" y="50"/>
                </a:cubicBezTo>
                <a:cubicBezTo>
                  <a:pt x="375" y="50"/>
                  <a:pt x="375" y="0"/>
                  <a:pt x="349" y="0"/>
                </a:cubicBezTo>
                <a:cubicBezTo>
                  <a:pt x="300" y="0"/>
                  <a:pt x="349" y="50"/>
                  <a:pt x="325" y="50"/>
                </a:cubicBezTo>
                <a:cubicBezTo>
                  <a:pt x="300" y="76"/>
                  <a:pt x="200" y="100"/>
                  <a:pt x="200" y="125"/>
                </a:cubicBezTo>
                <a:cubicBezTo>
                  <a:pt x="175" y="176"/>
                  <a:pt x="249" y="225"/>
                  <a:pt x="225" y="276"/>
                </a:cubicBezTo>
                <a:cubicBezTo>
                  <a:pt x="200" y="300"/>
                  <a:pt x="149" y="276"/>
                  <a:pt x="125" y="225"/>
                </a:cubicBezTo>
                <a:cubicBezTo>
                  <a:pt x="100" y="200"/>
                  <a:pt x="175" y="125"/>
                  <a:pt x="149" y="125"/>
                </a:cubicBezTo>
                <a:cubicBezTo>
                  <a:pt x="149" y="100"/>
                  <a:pt x="149" y="76"/>
                  <a:pt x="149" y="50"/>
                </a:cubicBezTo>
                <a:cubicBezTo>
                  <a:pt x="149" y="50"/>
                  <a:pt x="125" y="50"/>
                  <a:pt x="125" y="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69" name="Freeform 113">
            <a:extLst>
              <a:ext uri="{FF2B5EF4-FFF2-40B4-BE49-F238E27FC236}">
                <a16:creationId xmlns:a16="http://schemas.microsoft.com/office/drawing/2014/main" id="{E5129B2F-7FDE-E4DD-52F4-53D5DB06DA16}"/>
              </a:ext>
            </a:extLst>
          </p:cNvPr>
          <p:cNvSpPr>
            <a:spLocks noChangeArrowheads="1"/>
          </p:cNvSpPr>
          <p:nvPr/>
        </p:nvSpPr>
        <p:spPr bwMode="auto">
          <a:xfrm>
            <a:off x="6303341" y="4412625"/>
            <a:ext cx="127968" cy="136405"/>
          </a:xfrm>
          <a:custGeom>
            <a:avLst/>
            <a:gdLst>
              <a:gd name="T0" fmla="*/ 100 w 401"/>
              <a:gd name="T1" fmla="*/ 100 h 426"/>
              <a:gd name="T2" fmla="*/ 100 w 401"/>
              <a:gd name="T3" fmla="*/ 100 h 426"/>
              <a:gd name="T4" fmla="*/ 50 w 401"/>
              <a:gd name="T5" fmla="*/ 150 h 426"/>
              <a:gd name="T6" fmla="*/ 25 w 401"/>
              <a:gd name="T7" fmla="*/ 225 h 426"/>
              <a:gd name="T8" fmla="*/ 100 w 401"/>
              <a:gd name="T9" fmla="*/ 325 h 426"/>
              <a:gd name="T10" fmla="*/ 150 w 401"/>
              <a:gd name="T11" fmla="*/ 425 h 426"/>
              <a:gd name="T12" fmla="*/ 200 w 401"/>
              <a:gd name="T13" fmla="*/ 425 h 426"/>
              <a:gd name="T14" fmla="*/ 225 w 401"/>
              <a:gd name="T15" fmla="*/ 374 h 426"/>
              <a:gd name="T16" fmla="*/ 350 w 401"/>
              <a:gd name="T17" fmla="*/ 374 h 426"/>
              <a:gd name="T18" fmla="*/ 350 w 401"/>
              <a:gd name="T19" fmla="*/ 374 h 426"/>
              <a:gd name="T20" fmla="*/ 375 w 401"/>
              <a:gd name="T21" fmla="*/ 325 h 426"/>
              <a:gd name="T22" fmla="*/ 375 w 401"/>
              <a:gd name="T23" fmla="*/ 200 h 426"/>
              <a:gd name="T24" fmla="*/ 375 w 401"/>
              <a:gd name="T25" fmla="*/ 100 h 426"/>
              <a:gd name="T26" fmla="*/ 400 w 401"/>
              <a:gd name="T27" fmla="*/ 50 h 426"/>
              <a:gd name="T28" fmla="*/ 300 w 401"/>
              <a:gd name="T29" fmla="*/ 25 h 426"/>
              <a:gd name="T30" fmla="*/ 175 w 401"/>
              <a:gd name="T31" fmla="*/ 25 h 426"/>
              <a:gd name="T32" fmla="*/ 125 w 401"/>
              <a:gd name="T33" fmla="*/ 25 h 426"/>
              <a:gd name="T34" fmla="*/ 100 w 401"/>
              <a:gd name="T35" fmla="*/ 25 h 426"/>
              <a:gd name="T36" fmla="*/ 100 w 401"/>
              <a:gd name="T37" fmla="*/ 10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26">
                <a:moveTo>
                  <a:pt x="100" y="100"/>
                </a:moveTo>
                <a:lnTo>
                  <a:pt x="100" y="100"/>
                </a:lnTo>
                <a:cubicBezTo>
                  <a:pt x="100" y="125"/>
                  <a:pt x="75" y="125"/>
                  <a:pt x="50" y="150"/>
                </a:cubicBezTo>
                <a:cubicBezTo>
                  <a:pt x="25" y="150"/>
                  <a:pt x="25" y="200"/>
                  <a:pt x="25" y="225"/>
                </a:cubicBezTo>
                <a:cubicBezTo>
                  <a:pt x="0" y="225"/>
                  <a:pt x="75" y="274"/>
                  <a:pt x="100" y="325"/>
                </a:cubicBezTo>
                <a:cubicBezTo>
                  <a:pt x="100" y="350"/>
                  <a:pt x="125" y="374"/>
                  <a:pt x="150" y="425"/>
                </a:cubicBezTo>
                <a:cubicBezTo>
                  <a:pt x="175" y="425"/>
                  <a:pt x="175" y="425"/>
                  <a:pt x="200" y="425"/>
                </a:cubicBezTo>
                <a:cubicBezTo>
                  <a:pt x="225" y="400"/>
                  <a:pt x="200" y="374"/>
                  <a:pt x="225" y="374"/>
                </a:cubicBezTo>
                <a:cubicBezTo>
                  <a:pt x="275" y="374"/>
                  <a:pt x="325" y="350"/>
                  <a:pt x="350" y="374"/>
                </a:cubicBezTo>
                <a:lnTo>
                  <a:pt x="350" y="374"/>
                </a:lnTo>
                <a:cubicBezTo>
                  <a:pt x="350" y="374"/>
                  <a:pt x="375" y="350"/>
                  <a:pt x="375" y="325"/>
                </a:cubicBezTo>
                <a:cubicBezTo>
                  <a:pt x="375" y="325"/>
                  <a:pt x="375" y="250"/>
                  <a:pt x="375" y="200"/>
                </a:cubicBezTo>
                <a:cubicBezTo>
                  <a:pt x="350" y="174"/>
                  <a:pt x="375" y="125"/>
                  <a:pt x="375" y="100"/>
                </a:cubicBezTo>
                <a:cubicBezTo>
                  <a:pt x="375" y="100"/>
                  <a:pt x="400" y="74"/>
                  <a:pt x="400" y="50"/>
                </a:cubicBezTo>
                <a:cubicBezTo>
                  <a:pt x="375" y="50"/>
                  <a:pt x="325" y="25"/>
                  <a:pt x="300" y="25"/>
                </a:cubicBezTo>
                <a:cubicBezTo>
                  <a:pt x="250" y="50"/>
                  <a:pt x="200" y="50"/>
                  <a:pt x="175" y="25"/>
                </a:cubicBezTo>
                <a:cubicBezTo>
                  <a:pt x="175" y="0"/>
                  <a:pt x="150" y="0"/>
                  <a:pt x="125" y="25"/>
                </a:cubicBezTo>
                <a:lnTo>
                  <a:pt x="100" y="25"/>
                </a:lnTo>
                <a:cubicBezTo>
                  <a:pt x="100" y="50"/>
                  <a:pt x="100" y="74"/>
                  <a:pt x="100"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0" name="Freeform 114">
            <a:extLst>
              <a:ext uri="{FF2B5EF4-FFF2-40B4-BE49-F238E27FC236}">
                <a16:creationId xmlns:a16="http://schemas.microsoft.com/office/drawing/2014/main" id="{74DD02A6-AAF7-C8E4-4D11-8470FD958153}"/>
              </a:ext>
            </a:extLst>
          </p:cNvPr>
          <p:cNvSpPr>
            <a:spLocks noChangeArrowheads="1"/>
          </p:cNvSpPr>
          <p:nvPr/>
        </p:nvSpPr>
        <p:spPr bwMode="auto">
          <a:xfrm>
            <a:off x="6207716" y="4349345"/>
            <a:ext cx="143436" cy="223592"/>
          </a:xfrm>
          <a:custGeom>
            <a:avLst/>
            <a:gdLst>
              <a:gd name="T0" fmla="*/ 100 w 451"/>
              <a:gd name="T1" fmla="*/ 49 h 701"/>
              <a:gd name="T2" fmla="*/ 100 w 451"/>
              <a:gd name="T3" fmla="*/ 49 h 701"/>
              <a:gd name="T4" fmla="*/ 75 w 451"/>
              <a:gd name="T5" fmla="*/ 100 h 701"/>
              <a:gd name="T6" fmla="*/ 50 w 451"/>
              <a:gd name="T7" fmla="*/ 150 h 701"/>
              <a:gd name="T8" fmla="*/ 25 w 451"/>
              <a:gd name="T9" fmla="*/ 200 h 701"/>
              <a:gd name="T10" fmla="*/ 0 w 451"/>
              <a:gd name="T11" fmla="*/ 250 h 701"/>
              <a:gd name="T12" fmla="*/ 75 w 451"/>
              <a:gd name="T13" fmla="*/ 325 h 701"/>
              <a:gd name="T14" fmla="*/ 100 w 451"/>
              <a:gd name="T15" fmla="*/ 300 h 701"/>
              <a:gd name="T16" fmla="*/ 150 w 451"/>
              <a:gd name="T17" fmla="*/ 400 h 701"/>
              <a:gd name="T18" fmla="*/ 150 w 451"/>
              <a:gd name="T19" fmla="*/ 474 h 701"/>
              <a:gd name="T20" fmla="*/ 175 w 451"/>
              <a:gd name="T21" fmla="*/ 625 h 701"/>
              <a:gd name="T22" fmla="*/ 275 w 451"/>
              <a:gd name="T23" fmla="*/ 674 h 701"/>
              <a:gd name="T24" fmla="*/ 325 w 451"/>
              <a:gd name="T25" fmla="*/ 650 h 701"/>
              <a:gd name="T26" fmla="*/ 375 w 451"/>
              <a:gd name="T27" fmla="*/ 625 h 701"/>
              <a:gd name="T28" fmla="*/ 450 w 451"/>
              <a:gd name="T29" fmla="*/ 625 h 701"/>
              <a:gd name="T30" fmla="*/ 400 w 451"/>
              <a:gd name="T31" fmla="*/ 525 h 701"/>
              <a:gd name="T32" fmla="*/ 325 w 451"/>
              <a:gd name="T33" fmla="*/ 425 h 701"/>
              <a:gd name="T34" fmla="*/ 350 w 451"/>
              <a:gd name="T35" fmla="*/ 350 h 701"/>
              <a:gd name="T36" fmla="*/ 400 w 451"/>
              <a:gd name="T37" fmla="*/ 300 h 701"/>
              <a:gd name="T38" fmla="*/ 400 w 451"/>
              <a:gd name="T39" fmla="*/ 225 h 701"/>
              <a:gd name="T40" fmla="*/ 325 w 451"/>
              <a:gd name="T41" fmla="*/ 150 h 701"/>
              <a:gd name="T42" fmla="*/ 275 w 451"/>
              <a:gd name="T43" fmla="*/ 100 h 701"/>
              <a:gd name="T44" fmla="*/ 175 w 451"/>
              <a:gd name="T45" fmla="*/ 25 h 701"/>
              <a:gd name="T46" fmla="*/ 150 w 451"/>
              <a:gd name="T47" fmla="*/ 0 h 701"/>
              <a:gd name="T48" fmla="*/ 100 w 451"/>
              <a:gd name="T49" fmla="*/ 4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1" h="701">
                <a:moveTo>
                  <a:pt x="100" y="49"/>
                </a:moveTo>
                <a:lnTo>
                  <a:pt x="100" y="49"/>
                </a:lnTo>
                <a:cubicBezTo>
                  <a:pt x="75" y="49"/>
                  <a:pt x="50" y="100"/>
                  <a:pt x="75" y="100"/>
                </a:cubicBezTo>
                <a:cubicBezTo>
                  <a:pt x="100" y="125"/>
                  <a:pt x="100" y="150"/>
                  <a:pt x="50" y="150"/>
                </a:cubicBezTo>
                <a:cubicBezTo>
                  <a:pt x="25" y="174"/>
                  <a:pt x="25" y="174"/>
                  <a:pt x="25" y="200"/>
                </a:cubicBezTo>
                <a:cubicBezTo>
                  <a:pt x="25" y="225"/>
                  <a:pt x="0" y="225"/>
                  <a:pt x="0" y="250"/>
                </a:cubicBezTo>
                <a:cubicBezTo>
                  <a:pt x="25" y="274"/>
                  <a:pt x="50" y="300"/>
                  <a:pt x="75" y="325"/>
                </a:cubicBezTo>
                <a:cubicBezTo>
                  <a:pt x="75" y="325"/>
                  <a:pt x="75" y="300"/>
                  <a:pt x="100" y="300"/>
                </a:cubicBezTo>
                <a:cubicBezTo>
                  <a:pt x="150" y="325"/>
                  <a:pt x="100" y="374"/>
                  <a:pt x="150" y="400"/>
                </a:cubicBezTo>
                <a:cubicBezTo>
                  <a:pt x="175" y="400"/>
                  <a:pt x="175" y="450"/>
                  <a:pt x="150" y="474"/>
                </a:cubicBezTo>
                <a:cubicBezTo>
                  <a:pt x="125" y="474"/>
                  <a:pt x="125" y="574"/>
                  <a:pt x="175" y="625"/>
                </a:cubicBezTo>
                <a:cubicBezTo>
                  <a:pt x="225" y="700"/>
                  <a:pt x="250" y="674"/>
                  <a:pt x="275" y="674"/>
                </a:cubicBezTo>
                <a:cubicBezTo>
                  <a:pt x="275" y="650"/>
                  <a:pt x="325" y="674"/>
                  <a:pt x="325" y="650"/>
                </a:cubicBezTo>
                <a:cubicBezTo>
                  <a:pt x="350" y="625"/>
                  <a:pt x="350" y="650"/>
                  <a:pt x="375" y="625"/>
                </a:cubicBezTo>
                <a:cubicBezTo>
                  <a:pt x="400" y="600"/>
                  <a:pt x="425" y="625"/>
                  <a:pt x="450" y="625"/>
                </a:cubicBezTo>
                <a:cubicBezTo>
                  <a:pt x="425" y="574"/>
                  <a:pt x="400" y="550"/>
                  <a:pt x="400" y="525"/>
                </a:cubicBezTo>
                <a:cubicBezTo>
                  <a:pt x="375" y="474"/>
                  <a:pt x="300" y="425"/>
                  <a:pt x="325" y="425"/>
                </a:cubicBezTo>
                <a:cubicBezTo>
                  <a:pt x="325" y="400"/>
                  <a:pt x="325" y="350"/>
                  <a:pt x="350" y="350"/>
                </a:cubicBezTo>
                <a:cubicBezTo>
                  <a:pt x="375" y="325"/>
                  <a:pt x="400" y="325"/>
                  <a:pt x="400" y="300"/>
                </a:cubicBezTo>
                <a:cubicBezTo>
                  <a:pt x="400" y="274"/>
                  <a:pt x="400" y="250"/>
                  <a:pt x="400" y="225"/>
                </a:cubicBezTo>
                <a:cubicBezTo>
                  <a:pt x="375" y="225"/>
                  <a:pt x="350" y="150"/>
                  <a:pt x="325" y="150"/>
                </a:cubicBezTo>
                <a:cubicBezTo>
                  <a:pt x="300" y="150"/>
                  <a:pt x="275" y="125"/>
                  <a:pt x="275" y="100"/>
                </a:cubicBezTo>
                <a:cubicBezTo>
                  <a:pt x="275" y="74"/>
                  <a:pt x="225" y="49"/>
                  <a:pt x="175" y="25"/>
                </a:cubicBezTo>
                <a:cubicBezTo>
                  <a:pt x="175" y="0"/>
                  <a:pt x="150" y="0"/>
                  <a:pt x="150" y="0"/>
                </a:cubicBezTo>
                <a:cubicBezTo>
                  <a:pt x="125" y="25"/>
                  <a:pt x="125" y="49"/>
                  <a:pt x="100"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1" name="Freeform 115">
            <a:extLst>
              <a:ext uri="{FF2B5EF4-FFF2-40B4-BE49-F238E27FC236}">
                <a16:creationId xmlns:a16="http://schemas.microsoft.com/office/drawing/2014/main" id="{D04D3D96-77C4-DAF8-F86F-8EE535F66F32}"/>
              </a:ext>
            </a:extLst>
          </p:cNvPr>
          <p:cNvSpPr>
            <a:spLocks noChangeArrowheads="1"/>
          </p:cNvSpPr>
          <p:nvPr/>
        </p:nvSpPr>
        <p:spPr bwMode="auto">
          <a:xfrm>
            <a:off x="6414433" y="4429502"/>
            <a:ext cx="95624" cy="119531"/>
          </a:xfrm>
          <a:custGeom>
            <a:avLst/>
            <a:gdLst>
              <a:gd name="T0" fmla="*/ 25 w 301"/>
              <a:gd name="T1" fmla="*/ 150 h 376"/>
              <a:gd name="T2" fmla="*/ 25 w 301"/>
              <a:gd name="T3" fmla="*/ 150 h 376"/>
              <a:gd name="T4" fmla="*/ 25 w 301"/>
              <a:gd name="T5" fmla="*/ 275 h 376"/>
              <a:gd name="T6" fmla="*/ 0 w 301"/>
              <a:gd name="T7" fmla="*/ 324 h 376"/>
              <a:gd name="T8" fmla="*/ 75 w 301"/>
              <a:gd name="T9" fmla="*/ 350 h 376"/>
              <a:gd name="T10" fmla="*/ 175 w 301"/>
              <a:gd name="T11" fmla="*/ 300 h 376"/>
              <a:gd name="T12" fmla="*/ 300 w 301"/>
              <a:gd name="T13" fmla="*/ 150 h 376"/>
              <a:gd name="T14" fmla="*/ 300 w 301"/>
              <a:gd name="T15" fmla="*/ 150 h 376"/>
              <a:gd name="T16" fmla="*/ 125 w 301"/>
              <a:gd name="T17" fmla="*/ 24 h 376"/>
              <a:gd name="T18" fmla="*/ 50 w 301"/>
              <a:gd name="T19" fmla="*/ 0 h 376"/>
              <a:gd name="T20" fmla="*/ 25 w 301"/>
              <a:gd name="T21" fmla="*/ 50 h 376"/>
              <a:gd name="T22" fmla="*/ 25 w 301"/>
              <a:gd name="T23" fmla="*/ 1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376">
                <a:moveTo>
                  <a:pt x="25" y="150"/>
                </a:moveTo>
                <a:lnTo>
                  <a:pt x="25" y="150"/>
                </a:lnTo>
                <a:cubicBezTo>
                  <a:pt x="25" y="200"/>
                  <a:pt x="25" y="275"/>
                  <a:pt x="25" y="275"/>
                </a:cubicBezTo>
                <a:cubicBezTo>
                  <a:pt x="25" y="300"/>
                  <a:pt x="0" y="324"/>
                  <a:pt x="0" y="324"/>
                </a:cubicBezTo>
                <a:cubicBezTo>
                  <a:pt x="25" y="350"/>
                  <a:pt x="50" y="350"/>
                  <a:pt x="75" y="350"/>
                </a:cubicBezTo>
                <a:cubicBezTo>
                  <a:pt x="125" y="324"/>
                  <a:pt x="150" y="375"/>
                  <a:pt x="175" y="300"/>
                </a:cubicBezTo>
                <a:cubicBezTo>
                  <a:pt x="200" y="250"/>
                  <a:pt x="250" y="200"/>
                  <a:pt x="300" y="150"/>
                </a:cubicBezTo>
                <a:lnTo>
                  <a:pt x="300" y="150"/>
                </a:lnTo>
                <a:cubicBezTo>
                  <a:pt x="250" y="150"/>
                  <a:pt x="200" y="50"/>
                  <a:pt x="125" y="24"/>
                </a:cubicBezTo>
                <a:cubicBezTo>
                  <a:pt x="100" y="24"/>
                  <a:pt x="75" y="24"/>
                  <a:pt x="50" y="0"/>
                </a:cubicBezTo>
                <a:cubicBezTo>
                  <a:pt x="50" y="24"/>
                  <a:pt x="25" y="50"/>
                  <a:pt x="25" y="50"/>
                </a:cubicBezTo>
                <a:cubicBezTo>
                  <a:pt x="25" y="75"/>
                  <a:pt x="0" y="124"/>
                  <a:pt x="2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2" name="Freeform 116">
            <a:extLst>
              <a:ext uri="{FF2B5EF4-FFF2-40B4-BE49-F238E27FC236}">
                <a16:creationId xmlns:a16="http://schemas.microsoft.com/office/drawing/2014/main" id="{0EC40EF1-84D4-CB34-0DBE-8EB7FC6BC9B1}"/>
              </a:ext>
            </a:extLst>
          </p:cNvPr>
          <p:cNvSpPr>
            <a:spLocks noChangeArrowheads="1"/>
          </p:cNvSpPr>
          <p:nvPr/>
        </p:nvSpPr>
        <p:spPr bwMode="auto">
          <a:xfrm>
            <a:off x="5497566" y="3878254"/>
            <a:ext cx="319217" cy="119531"/>
          </a:xfrm>
          <a:custGeom>
            <a:avLst/>
            <a:gdLst>
              <a:gd name="T0" fmla="*/ 801 w 1002"/>
              <a:gd name="T1" fmla="*/ 225 h 377"/>
              <a:gd name="T2" fmla="*/ 801 w 1002"/>
              <a:gd name="T3" fmla="*/ 225 h 377"/>
              <a:gd name="T4" fmla="*/ 351 w 1002"/>
              <a:gd name="T5" fmla="*/ 50 h 377"/>
              <a:gd name="T6" fmla="*/ 25 w 1002"/>
              <a:gd name="T7" fmla="*/ 176 h 377"/>
              <a:gd name="T8" fmla="*/ 176 w 1002"/>
              <a:gd name="T9" fmla="*/ 100 h 377"/>
              <a:gd name="T10" fmla="*/ 276 w 1002"/>
              <a:gd name="T11" fmla="*/ 125 h 377"/>
              <a:gd name="T12" fmla="*/ 425 w 1002"/>
              <a:gd name="T13" fmla="*/ 176 h 377"/>
              <a:gd name="T14" fmla="*/ 625 w 1002"/>
              <a:gd name="T15" fmla="*/ 276 h 377"/>
              <a:gd name="T16" fmla="*/ 676 w 1002"/>
              <a:gd name="T17" fmla="*/ 350 h 377"/>
              <a:gd name="T18" fmla="*/ 976 w 1002"/>
              <a:gd name="T19" fmla="*/ 350 h 377"/>
              <a:gd name="T20" fmla="*/ 801 w 1002"/>
              <a:gd name="T21" fmla="*/ 22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2" h="377">
                <a:moveTo>
                  <a:pt x="801" y="225"/>
                </a:moveTo>
                <a:lnTo>
                  <a:pt x="801" y="225"/>
                </a:lnTo>
                <a:cubicBezTo>
                  <a:pt x="751" y="225"/>
                  <a:pt x="551" y="100"/>
                  <a:pt x="351" y="50"/>
                </a:cubicBezTo>
                <a:cubicBezTo>
                  <a:pt x="176" y="0"/>
                  <a:pt x="0" y="150"/>
                  <a:pt x="25" y="176"/>
                </a:cubicBezTo>
                <a:cubicBezTo>
                  <a:pt x="51" y="200"/>
                  <a:pt x="151" y="125"/>
                  <a:pt x="176" y="100"/>
                </a:cubicBezTo>
                <a:cubicBezTo>
                  <a:pt x="225" y="50"/>
                  <a:pt x="276" y="100"/>
                  <a:pt x="276" y="125"/>
                </a:cubicBezTo>
                <a:cubicBezTo>
                  <a:pt x="276" y="150"/>
                  <a:pt x="351" y="176"/>
                  <a:pt x="425" y="176"/>
                </a:cubicBezTo>
                <a:cubicBezTo>
                  <a:pt x="525" y="176"/>
                  <a:pt x="551" y="250"/>
                  <a:pt x="625" y="276"/>
                </a:cubicBezTo>
                <a:cubicBezTo>
                  <a:pt x="725" y="300"/>
                  <a:pt x="625" y="325"/>
                  <a:pt x="676" y="350"/>
                </a:cubicBezTo>
                <a:cubicBezTo>
                  <a:pt x="725" y="376"/>
                  <a:pt x="976" y="350"/>
                  <a:pt x="976" y="350"/>
                </a:cubicBezTo>
                <a:cubicBezTo>
                  <a:pt x="1001" y="325"/>
                  <a:pt x="876" y="225"/>
                  <a:pt x="801" y="2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3" name="Freeform 117">
            <a:extLst>
              <a:ext uri="{FF2B5EF4-FFF2-40B4-BE49-F238E27FC236}">
                <a16:creationId xmlns:a16="http://schemas.microsoft.com/office/drawing/2014/main" id="{ED9EADD5-5776-A6D6-B96F-EC0E574C9932}"/>
              </a:ext>
            </a:extLst>
          </p:cNvPr>
          <p:cNvSpPr>
            <a:spLocks noChangeArrowheads="1"/>
          </p:cNvSpPr>
          <p:nvPr/>
        </p:nvSpPr>
        <p:spPr bwMode="auto">
          <a:xfrm>
            <a:off x="5680378" y="4030129"/>
            <a:ext cx="71719" cy="40781"/>
          </a:xfrm>
          <a:custGeom>
            <a:avLst/>
            <a:gdLst>
              <a:gd name="T0" fmla="*/ 24 w 226"/>
              <a:gd name="T1" fmla="*/ 49 h 126"/>
              <a:gd name="T2" fmla="*/ 24 w 226"/>
              <a:gd name="T3" fmla="*/ 49 h 126"/>
              <a:gd name="T4" fmla="*/ 225 w 226"/>
              <a:gd name="T5" fmla="*/ 74 h 126"/>
              <a:gd name="T6" fmla="*/ 24 w 226"/>
              <a:gd name="T7" fmla="*/ 49 h 126"/>
            </a:gdLst>
            <a:ahLst/>
            <a:cxnLst>
              <a:cxn ang="0">
                <a:pos x="T0" y="T1"/>
              </a:cxn>
              <a:cxn ang="0">
                <a:pos x="T2" y="T3"/>
              </a:cxn>
              <a:cxn ang="0">
                <a:pos x="T4" y="T5"/>
              </a:cxn>
              <a:cxn ang="0">
                <a:pos x="T6" y="T7"/>
              </a:cxn>
            </a:cxnLst>
            <a:rect l="0" t="0" r="r" b="b"/>
            <a:pathLst>
              <a:path w="226" h="126">
                <a:moveTo>
                  <a:pt x="24" y="49"/>
                </a:moveTo>
                <a:lnTo>
                  <a:pt x="24" y="49"/>
                </a:lnTo>
                <a:cubicBezTo>
                  <a:pt x="49" y="74"/>
                  <a:pt x="200" y="125"/>
                  <a:pt x="225" y="74"/>
                </a:cubicBezTo>
                <a:cubicBezTo>
                  <a:pt x="225" y="49"/>
                  <a:pt x="0" y="0"/>
                  <a:pt x="24"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4" name="Freeform 118">
            <a:extLst>
              <a:ext uri="{FF2B5EF4-FFF2-40B4-BE49-F238E27FC236}">
                <a16:creationId xmlns:a16="http://schemas.microsoft.com/office/drawing/2014/main" id="{93CF43AC-2E79-BD48-A0F5-096903E532DB}"/>
              </a:ext>
            </a:extLst>
          </p:cNvPr>
          <p:cNvSpPr>
            <a:spLocks noChangeArrowheads="1"/>
          </p:cNvSpPr>
          <p:nvPr/>
        </p:nvSpPr>
        <p:spPr bwMode="auto">
          <a:xfrm>
            <a:off x="6015063" y="4030129"/>
            <a:ext cx="71719" cy="40781"/>
          </a:xfrm>
          <a:custGeom>
            <a:avLst/>
            <a:gdLst>
              <a:gd name="T0" fmla="*/ 50 w 226"/>
              <a:gd name="T1" fmla="*/ 49 h 126"/>
              <a:gd name="T2" fmla="*/ 50 w 226"/>
              <a:gd name="T3" fmla="*/ 49 h 126"/>
              <a:gd name="T4" fmla="*/ 200 w 226"/>
              <a:gd name="T5" fmla="*/ 49 h 126"/>
              <a:gd name="T6" fmla="*/ 50 w 226"/>
              <a:gd name="T7" fmla="*/ 49 h 126"/>
            </a:gdLst>
            <a:ahLst/>
            <a:cxnLst>
              <a:cxn ang="0">
                <a:pos x="T0" y="T1"/>
              </a:cxn>
              <a:cxn ang="0">
                <a:pos x="T2" y="T3"/>
              </a:cxn>
              <a:cxn ang="0">
                <a:pos x="T4" y="T5"/>
              </a:cxn>
              <a:cxn ang="0">
                <a:pos x="T6" y="T7"/>
              </a:cxn>
            </a:cxnLst>
            <a:rect l="0" t="0" r="r" b="b"/>
            <a:pathLst>
              <a:path w="226" h="126">
                <a:moveTo>
                  <a:pt x="50" y="49"/>
                </a:moveTo>
                <a:lnTo>
                  <a:pt x="50" y="49"/>
                </a:lnTo>
                <a:cubicBezTo>
                  <a:pt x="75" y="125"/>
                  <a:pt x="200" y="74"/>
                  <a:pt x="200" y="49"/>
                </a:cubicBezTo>
                <a:cubicBezTo>
                  <a:pt x="225" y="25"/>
                  <a:pt x="0" y="0"/>
                  <a:pt x="50"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5" name="Freeform 120">
            <a:extLst>
              <a:ext uri="{FF2B5EF4-FFF2-40B4-BE49-F238E27FC236}">
                <a16:creationId xmlns:a16="http://schemas.microsoft.com/office/drawing/2014/main" id="{AA009573-7FD5-1A62-4367-413071B4621B}"/>
              </a:ext>
            </a:extLst>
          </p:cNvPr>
          <p:cNvSpPr>
            <a:spLocks noChangeArrowheads="1"/>
          </p:cNvSpPr>
          <p:nvPr/>
        </p:nvSpPr>
        <p:spPr bwMode="auto">
          <a:xfrm>
            <a:off x="5282410" y="4556064"/>
            <a:ext cx="503435" cy="208124"/>
          </a:xfrm>
          <a:custGeom>
            <a:avLst/>
            <a:gdLst>
              <a:gd name="T0" fmla="*/ 1526 w 1577"/>
              <a:gd name="T1" fmla="*/ 175 h 651"/>
              <a:gd name="T2" fmla="*/ 1526 w 1577"/>
              <a:gd name="T3" fmla="*/ 175 h 651"/>
              <a:gd name="T4" fmla="*/ 1476 w 1577"/>
              <a:gd name="T5" fmla="*/ 124 h 651"/>
              <a:gd name="T6" fmla="*/ 1400 w 1577"/>
              <a:gd name="T7" fmla="*/ 124 h 651"/>
              <a:gd name="T8" fmla="*/ 1326 w 1577"/>
              <a:gd name="T9" fmla="*/ 75 h 651"/>
              <a:gd name="T10" fmla="*/ 1226 w 1577"/>
              <a:gd name="T11" fmla="*/ 0 h 651"/>
              <a:gd name="T12" fmla="*/ 1226 w 1577"/>
              <a:gd name="T13" fmla="*/ 24 h 651"/>
              <a:gd name="T14" fmla="*/ 1151 w 1577"/>
              <a:gd name="T15" fmla="*/ 50 h 651"/>
              <a:gd name="T16" fmla="*/ 1126 w 1577"/>
              <a:gd name="T17" fmla="*/ 124 h 651"/>
              <a:gd name="T18" fmla="*/ 1075 w 1577"/>
              <a:gd name="T19" fmla="*/ 175 h 651"/>
              <a:gd name="T20" fmla="*/ 1051 w 1577"/>
              <a:gd name="T21" fmla="*/ 224 h 651"/>
              <a:gd name="T22" fmla="*/ 1026 w 1577"/>
              <a:gd name="T23" fmla="*/ 300 h 651"/>
              <a:gd name="T24" fmla="*/ 1026 w 1577"/>
              <a:gd name="T25" fmla="*/ 350 h 651"/>
              <a:gd name="T26" fmla="*/ 1075 w 1577"/>
              <a:gd name="T27" fmla="*/ 400 h 651"/>
              <a:gd name="T28" fmla="*/ 1126 w 1577"/>
              <a:gd name="T29" fmla="*/ 424 h 651"/>
              <a:gd name="T30" fmla="*/ 1075 w 1577"/>
              <a:gd name="T31" fmla="*/ 475 h 651"/>
              <a:gd name="T32" fmla="*/ 1075 w 1577"/>
              <a:gd name="T33" fmla="*/ 475 h 651"/>
              <a:gd name="T34" fmla="*/ 1100 w 1577"/>
              <a:gd name="T35" fmla="*/ 524 h 651"/>
              <a:gd name="T36" fmla="*/ 1100 w 1577"/>
              <a:gd name="T37" fmla="*/ 575 h 651"/>
              <a:gd name="T38" fmla="*/ 1175 w 1577"/>
              <a:gd name="T39" fmla="*/ 600 h 651"/>
              <a:gd name="T40" fmla="*/ 1226 w 1577"/>
              <a:gd name="T41" fmla="*/ 575 h 651"/>
              <a:gd name="T42" fmla="*/ 1326 w 1577"/>
              <a:gd name="T43" fmla="*/ 424 h 651"/>
              <a:gd name="T44" fmla="*/ 1500 w 1577"/>
              <a:gd name="T45" fmla="*/ 324 h 651"/>
              <a:gd name="T46" fmla="*/ 1551 w 1577"/>
              <a:gd name="T47" fmla="*/ 250 h 651"/>
              <a:gd name="T48" fmla="*/ 1526 w 1577"/>
              <a:gd name="T49" fmla="*/ 175 h 651"/>
              <a:gd name="T50" fmla="*/ 50 w 1577"/>
              <a:gd name="T51" fmla="*/ 150 h 651"/>
              <a:gd name="T52" fmla="*/ 50 w 1577"/>
              <a:gd name="T53" fmla="*/ 150 h 651"/>
              <a:gd name="T54" fmla="*/ 100 w 1577"/>
              <a:gd name="T55" fmla="*/ 250 h 651"/>
              <a:gd name="T56" fmla="*/ 50 w 1577"/>
              <a:gd name="T57" fmla="*/ 1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7" h="651">
                <a:moveTo>
                  <a:pt x="1526" y="175"/>
                </a:moveTo>
                <a:lnTo>
                  <a:pt x="1526" y="175"/>
                </a:lnTo>
                <a:cubicBezTo>
                  <a:pt x="1500" y="124"/>
                  <a:pt x="1476" y="100"/>
                  <a:pt x="1476" y="124"/>
                </a:cubicBezTo>
                <a:cubicBezTo>
                  <a:pt x="1451" y="124"/>
                  <a:pt x="1426" y="124"/>
                  <a:pt x="1400" y="124"/>
                </a:cubicBezTo>
                <a:cubicBezTo>
                  <a:pt x="1376" y="100"/>
                  <a:pt x="1351" y="75"/>
                  <a:pt x="1326" y="75"/>
                </a:cubicBezTo>
                <a:cubicBezTo>
                  <a:pt x="1326" y="75"/>
                  <a:pt x="1251" y="50"/>
                  <a:pt x="1226" y="0"/>
                </a:cubicBezTo>
                <a:cubicBezTo>
                  <a:pt x="1226" y="24"/>
                  <a:pt x="1226" y="24"/>
                  <a:pt x="1226" y="24"/>
                </a:cubicBezTo>
                <a:cubicBezTo>
                  <a:pt x="1226" y="50"/>
                  <a:pt x="1200" y="50"/>
                  <a:pt x="1151" y="50"/>
                </a:cubicBezTo>
                <a:cubicBezTo>
                  <a:pt x="1126" y="50"/>
                  <a:pt x="1126" y="100"/>
                  <a:pt x="1126" y="124"/>
                </a:cubicBezTo>
                <a:cubicBezTo>
                  <a:pt x="1126" y="150"/>
                  <a:pt x="1100" y="150"/>
                  <a:pt x="1075" y="175"/>
                </a:cubicBezTo>
                <a:cubicBezTo>
                  <a:pt x="1075" y="200"/>
                  <a:pt x="1075" y="224"/>
                  <a:pt x="1051" y="224"/>
                </a:cubicBezTo>
                <a:cubicBezTo>
                  <a:pt x="1026" y="250"/>
                  <a:pt x="1026" y="275"/>
                  <a:pt x="1026" y="300"/>
                </a:cubicBezTo>
                <a:cubicBezTo>
                  <a:pt x="1051" y="324"/>
                  <a:pt x="1026" y="350"/>
                  <a:pt x="1026" y="350"/>
                </a:cubicBezTo>
                <a:cubicBezTo>
                  <a:pt x="1026" y="375"/>
                  <a:pt x="1051" y="375"/>
                  <a:pt x="1075" y="400"/>
                </a:cubicBezTo>
                <a:cubicBezTo>
                  <a:pt x="1100" y="424"/>
                  <a:pt x="1126" y="400"/>
                  <a:pt x="1126" y="424"/>
                </a:cubicBezTo>
                <a:cubicBezTo>
                  <a:pt x="1151" y="424"/>
                  <a:pt x="1126" y="475"/>
                  <a:pt x="1075" y="475"/>
                </a:cubicBezTo>
                <a:lnTo>
                  <a:pt x="1075" y="475"/>
                </a:lnTo>
                <a:cubicBezTo>
                  <a:pt x="1100" y="500"/>
                  <a:pt x="1100" y="500"/>
                  <a:pt x="1100" y="524"/>
                </a:cubicBezTo>
                <a:cubicBezTo>
                  <a:pt x="1075" y="550"/>
                  <a:pt x="1075" y="550"/>
                  <a:pt x="1100" y="575"/>
                </a:cubicBezTo>
                <a:cubicBezTo>
                  <a:pt x="1126" y="600"/>
                  <a:pt x="1151" y="550"/>
                  <a:pt x="1175" y="600"/>
                </a:cubicBezTo>
                <a:cubicBezTo>
                  <a:pt x="1200" y="624"/>
                  <a:pt x="1200" y="650"/>
                  <a:pt x="1226" y="575"/>
                </a:cubicBezTo>
                <a:cubicBezTo>
                  <a:pt x="1251" y="524"/>
                  <a:pt x="1275" y="449"/>
                  <a:pt x="1326" y="424"/>
                </a:cubicBezTo>
                <a:cubicBezTo>
                  <a:pt x="1376" y="424"/>
                  <a:pt x="1451" y="400"/>
                  <a:pt x="1500" y="324"/>
                </a:cubicBezTo>
                <a:cubicBezTo>
                  <a:pt x="1551" y="275"/>
                  <a:pt x="1526" y="250"/>
                  <a:pt x="1551" y="250"/>
                </a:cubicBezTo>
                <a:cubicBezTo>
                  <a:pt x="1576" y="224"/>
                  <a:pt x="1576" y="200"/>
                  <a:pt x="1526" y="175"/>
                </a:cubicBezTo>
                <a:close/>
                <a:moveTo>
                  <a:pt x="50" y="150"/>
                </a:moveTo>
                <a:lnTo>
                  <a:pt x="50" y="150"/>
                </a:lnTo>
                <a:cubicBezTo>
                  <a:pt x="0" y="200"/>
                  <a:pt x="100" y="275"/>
                  <a:pt x="100" y="250"/>
                </a:cubicBezTo>
                <a:cubicBezTo>
                  <a:pt x="126" y="200"/>
                  <a:pt x="100" y="75"/>
                  <a:pt x="50" y="15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6" name="Freeform 123">
            <a:extLst>
              <a:ext uri="{FF2B5EF4-FFF2-40B4-BE49-F238E27FC236}">
                <a16:creationId xmlns:a16="http://schemas.microsoft.com/office/drawing/2014/main" id="{4420F814-AD7E-66AE-8D66-F02566959B5A}"/>
              </a:ext>
            </a:extLst>
          </p:cNvPr>
          <p:cNvSpPr>
            <a:spLocks noChangeArrowheads="1"/>
          </p:cNvSpPr>
          <p:nvPr/>
        </p:nvSpPr>
        <p:spPr bwMode="auto">
          <a:xfrm>
            <a:off x="3798827" y="1192334"/>
            <a:ext cx="2671857" cy="2057331"/>
          </a:xfrm>
          <a:custGeom>
            <a:avLst/>
            <a:gdLst>
              <a:gd name="T0" fmla="*/ 1701 w 8378"/>
              <a:gd name="T1" fmla="*/ 5726 h 6452"/>
              <a:gd name="T2" fmla="*/ 2076 w 8378"/>
              <a:gd name="T3" fmla="*/ 1901 h 6452"/>
              <a:gd name="T4" fmla="*/ 3426 w 8378"/>
              <a:gd name="T5" fmla="*/ 2001 h 6452"/>
              <a:gd name="T6" fmla="*/ 2551 w 8378"/>
              <a:gd name="T7" fmla="*/ 2175 h 6452"/>
              <a:gd name="T8" fmla="*/ 2601 w 8378"/>
              <a:gd name="T9" fmla="*/ 2800 h 6452"/>
              <a:gd name="T10" fmla="*/ 1750 w 8378"/>
              <a:gd name="T11" fmla="*/ 1525 h 6452"/>
              <a:gd name="T12" fmla="*/ 2350 w 8378"/>
              <a:gd name="T13" fmla="*/ 1275 h 6452"/>
              <a:gd name="T14" fmla="*/ 2501 w 8378"/>
              <a:gd name="T15" fmla="*/ 1725 h 6452"/>
              <a:gd name="T16" fmla="*/ 3026 w 8378"/>
              <a:gd name="T17" fmla="*/ 1650 h 6452"/>
              <a:gd name="T18" fmla="*/ 2926 w 8378"/>
              <a:gd name="T19" fmla="*/ 1225 h 6452"/>
              <a:gd name="T20" fmla="*/ 3801 w 8378"/>
              <a:gd name="T21" fmla="*/ 1150 h 6452"/>
              <a:gd name="T22" fmla="*/ 3901 w 8378"/>
              <a:gd name="T23" fmla="*/ 750 h 6452"/>
              <a:gd name="T24" fmla="*/ 3501 w 8378"/>
              <a:gd name="T25" fmla="*/ 1525 h 6452"/>
              <a:gd name="T26" fmla="*/ 4201 w 8378"/>
              <a:gd name="T27" fmla="*/ 1200 h 6452"/>
              <a:gd name="T28" fmla="*/ 4177 w 8378"/>
              <a:gd name="T29" fmla="*/ 2125 h 6452"/>
              <a:gd name="T30" fmla="*/ 4751 w 8378"/>
              <a:gd name="T31" fmla="*/ 1801 h 6452"/>
              <a:gd name="T32" fmla="*/ 4501 w 8378"/>
              <a:gd name="T33" fmla="*/ 1500 h 6452"/>
              <a:gd name="T34" fmla="*/ 4926 w 8378"/>
              <a:gd name="T35" fmla="*/ 1125 h 6452"/>
              <a:gd name="T36" fmla="*/ 4326 w 8378"/>
              <a:gd name="T37" fmla="*/ 700 h 6452"/>
              <a:gd name="T38" fmla="*/ 5826 w 8378"/>
              <a:gd name="T39" fmla="*/ 600 h 6452"/>
              <a:gd name="T40" fmla="*/ 5077 w 8378"/>
              <a:gd name="T41" fmla="*/ 1200 h 6452"/>
              <a:gd name="T42" fmla="*/ 5926 w 8378"/>
              <a:gd name="T43" fmla="*/ 1275 h 6452"/>
              <a:gd name="T44" fmla="*/ 7502 w 8378"/>
              <a:gd name="T45" fmla="*/ 175 h 6452"/>
              <a:gd name="T46" fmla="*/ 5526 w 8378"/>
              <a:gd name="T47" fmla="*/ 175 h 6452"/>
              <a:gd name="T48" fmla="*/ 5426 w 8378"/>
              <a:gd name="T49" fmla="*/ 3875 h 6452"/>
              <a:gd name="T50" fmla="*/ 5551 w 8378"/>
              <a:gd name="T51" fmla="*/ 3650 h 6452"/>
              <a:gd name="T52" fmla="*/ 6927 w 8378"/>
              <a:gd name="T53" fmla="*/ 2750 h 6452"/>
              <a:gd name="T54" fmla="*/ 5926 w 8378"/>
              <a:gd name="T55" fmla="*/ 2250 h 6452"/>
              <a:gd name="T56" fmla="*/ 4926 w 8378"/>
              <a:gd name="T57" fmla="*/ 2075 h 6452"/>
              <a:gd name="T58" fmla="*/ 6051 w 8378"/>
              <a:gd name="T59" fmla="*/ 2675 h 6452"/>
              <a:gd name="T60" fmla="*/ 5977 w 8378"/>
              <a:gd name="T61" fmla="*/ 3550 h 6452"/>
              <a:gd name="T62" fmla="*/ 6952 w 8378"/>
              <a:gd name="T63" fmla="*/ 3226 h 6452"/>
              <a:gd name="T64" fmla="*/ 5702 w 8378"/>
              <a:gd name="T65" fmla="*/ 2001 h 6452"/>
              <a:gd name="T66" fmla="*/ 8002 w 8378"/>
              <a:gd name="T67" fmla="*/ 5476 h 6452"/>
              <a:gd name="T68" fmla="*/ 8327 w 8378"/>
              <a:gd name="T69" fmla="*/ 5801 h 6452"/>
              <a:gd name="T70" fmla="*/ 7227 w 8378"/>
              <a:gd name="T71" fmla="*/ 5826 h 6452"/>
              <a:gd name="T72" fmla="*/ 8077 w 8378"/>
              <a:gd name="T73" fmla="*/ 5251 h 6452"/>
              <a:gd name="T74" fmla="*/ 7752 w 8378"/>
              <a:gd name="T75" fmla="*/ 4851 h 6452"/>
              <a:gd name="T76" fmla="*/ 7177 w 8378"/>
              <a:gd name="T77" fmla="*/ 4226 h 6452"/>
              <a:gd name="T78" fmla="*/ 6577 w 8378"/>
              <a:gd name="T79" fmla="*/ 4001 h 6452"/>
              <a:gd name="T80" fmla="*/ 6027 w 8378"/>
              <a:gd name="T81" fmla="*/ 4200 h 6452"/>
              <a:gd name="T82" fmla="*/ 5802 w 8378"/>
              <a:gd name="T83" fmla="*/ 5376 h 6452"/>
              <a:gd name="T84" fmla="*/ 4726 w 8378"/>
              <a:gd name="T85" fmla="*/ 4575 h 6452"/>
              <a:gd name="T86" fmla="*/ 4626 w 8378"/>
              <a:gd name="T87" fmla="*/ 3675 h 6452"/>
              <a:gd name="T88" fmla="*/ 5277 w 8378"/>
              <a:gd name="T89" fmla="*/ 3250 h 6452"/>
              <a:gd name="T90" fmla="*/ 5526 w 8378"/>
              <a:gd name="T91" fmla="*/ 2725 h 6452"/>
              <a:gd name="T92" fmla="*/ 5026 w 8378"/>
              <a:gd name="T93" fmla="*/ 2926 h 6452"/>
              <a:gd name="T94" fmla="*/ 4551 w 8378"/>
              <a:gd name="T95" fmla="*/ 2501 h 6452"/>
              <a:gd name="T96" fmla="*/ 4301 w 8378"/>
              <a:gd name="T97" fmla="*/ 2101 h 6452"/>
              <a:gd name="T98" fmla="*/ 4426 w 8378"/>
              <a:gd name="T99" fmla="*/ 2926 h 6452"/>
              <a:gd name="T100" fmla="*/ 4151 w 8378"/>
              <a:gd name="T101" fmla="*/ 2701 h 6452"/>
              <a:gd name="T102" fmla="*/ 3226 w 8378"/>
              <a:gd name="T103" fmla="*/ 2850 h 6452"/>
              <a:gd name="T104" fmla="*/ 2451 w 8378"/>
              <a:gd name="T105" fmla="*/ 3026 h 6452"/>
              <a:gd name="T106" fmla="*/ 1201 w 8378"/>
              <a:gd name="T107" fmla="*/ 2650 h 6452"/>
              <a:gd name="T108" fmla="*/ 625 w 8378"/>
              <a:gd name="T109" fmla="*/ 2725 h 6452"/>
              <a:gd name="T110" fmla="*/ 601 w 8378"/>
              <a:gd name="T111" fmla="*/ 4275 h 6452"/>
              <a:gd name="T112" fmla="*/ 1250 w 8378"/>
              <a:gd name="T113" fmla="*/ 5326 h 6452"/>
              <a:gd name="T114" fmla="*/ 4651 w 8378"/>
              <a:gd name="T115" fmla="*/ 5726 h 6452"/>
              <a:gd name="T116" fmla="*/ 5551 w 8378"/>
              <a:gd name="T117" fmla="*/ 6376 h 6452"/>
              <a:gd name="T118" fmla="*/ 6802 w 8378"/>
              <a:gd name="T119" fmla="*/ 5826 h 6452"/>
              <a:gd name="T120" fmla="*/ 7677 w 8378"/>
              <a:gd name="T121" fmla="*/ 6026 h 6452"/>
              <a:gd name="T122" fmla="*/ 1876 w 8378"/>
              <a:gd name="T123" fmla="*/ 3301 h 6452"/>
              <a:gd name="T124" fmla="*/ 2476 w 8378"/>
              <a:gd name="T125" fmla="*/ 3926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8" h="6452">
                <a:moveTo>
                  <a:pt x="1650" y="5651"/>
                </a:moveTo>
                <a:lnTo>
                  <a:pt x="1650" y="5651"/>
                </a:lnTo>
                <a:cubicBezTo>
                  <a:pt x="1626" y="5626"/>
                  <a:pt x="1576" y="5626"/>
                  <a:pt x="1550" y="5600"/>
                </a:cubicBezTo>
                <a:cubicBezTo>
                  <a:pt x="1550" y="5576"/>
                  <a:pt x="1476" y="5476"/>
                  <a:pt x="1450" y="5476"/>
                </a:cubicBezTo>
                <a:cubicBezTo>
                  <a:pt x="1401" y="5476"/>
                  <a:pt x="1350" y="5476"/>
                  <a:pt x="1325" y="5451"/>
                </a:cubicBezTo>
                <a:cubicBezTo>
                  <a:pt x="1276" y="5426"/>
                  <a:pt x="1250" y="5401"/>
                  <a:pt x="1225" y="5426"/>
                </a:cubicBezTo>
                <a:cubicBezTo>
                  <a:pt x="1201" y="5451"/>
                  <a:pt x="1250" y="5451"/>
                  <a:pt x="1250" y="5476"/>
                </a:cubicBezTo>
                <a:cubicBezTo>
                  <a:pt x="1250" y="5500"/>
                  <a:pt x="1276" y="5500"/>
                  <a:pt x="1301" y="5500"/>
                </a:cubicBezTo>
                <a:cubicBezTo>
                  <a:pt x="1325" y="5500"/>
                  <a:pt x="1325" y="5551"/>
                  <a:pt x="1350" y="5551"/>
                </a:cubicBezTo>
                <a:cubicBezTo>
                  <a:pt x="1376" y="5551"/>
                  <a:pt x="1401" y="5600"/>
                  <a:pt x="1425" y="5600"/>
                </a:cubicBezTo>
                <a:cubicBezTo>
                  <a:pt x="1450" y="5600"/>
                  <a:pt x="1450" y="5626"/>
                  <a:pt x="1476" y="5651"/>
                </a:cubicBezTo>
                <a:cubicBezTo>
                  <a:pt x="1476" y="5676"/>
                  <a:pt x="1526" y="5651"/>
                  <a:pt x="1526" y="5676"/>
                </a:cubicBezTo>
                <a:cubicBezTo>
                  <a:pt x="1526" y="5676"/>
                  <a:pt x="1550" y="5701"/>
                  <a:pt x="1550" y="5726"/>
                </a:cubicBezTo>
                <a:cubicBezTo>
                  <a:pt x="1626" y="5726"/>
                  <a:pt x="1676" y="5726"/>
                  <a:pt x="1701" y="5726"/>
                </a:cubicBezTo>
                <a:cubicBezTo>
                  <a:pt x="1701" y="5701"/>
                  <a:pt x="1726" y="5701"/>
                  <a:pt x="1726" y="5676"/>
                </a:cubicBezTo>
                <a:cubicBezTo>
                  <a:pt x="1726" y="5651"/>
                  <a:pt x="1701" y="5676"/>
                  <a:pt x="1650" y="5651"/>
                </a:cubicBezTo>
                <a:close/>
                <a:moveTo>
                  <a:pt x="1601" y="2325"/>
                </a:moveTo>
                <a:lnTo>
                  <a:pt x="1601" y="2325"/>
                </a:lnTo>
                <a:cubicBezTo>
                  <a:pt x="1676" y="2350"/>
                  <a:pt x="1676" y="2475"/>
                  <a:pt x="1726" y="2475"/>
                </a:cubicBezTo>
                <a:cubicBezTo>
                  <a:pt x="1750" y="2475"/>
                  <a:pt x="1726" y="2450"/>
                  <a:pt x="1776" y="2450"/>
                </a:cubicBezTo>
                <a:cubicBezTo>
                  <a:pt x="1850" y="2450"/>
                  <a:pt x="1826" y="2425"/>
                  <a:pt x="1876" y="2425"/>
                </a:cubicBezTo>
                <a:cubicBezTo>
                  <a:pt x="1926" y="2425"/>
                  <a:pt x="1976" y="2401"/>
                  <a:pt x="1976" y="2350"/>
                </a:cubicBezTo>
                <a:cubicBezTo>
                  <a:pt x="1976" y="2301"/>
                  <a:pt x="2001" y="2275"/>
                  <a:pt x="2050" y="2250"/>
                </a:cubicBezTo>
                <a:cubicBezTo>
                  <a:pt x="2101" y="2250"/>
                  <a:pt x="2050" y="2175"/>
                  <a:pt x="2126" y="2175"/>
                </a:cubicBezTo>
                <a:cubicBezTo>
                  <a:pt x="2201" y="2150"/>
                  <a:pt x="2401" y="2075"/>
                  <a:pt x="2426" y="2050"/>
                </a:cubicBezTo>
                <a:cubicBezTo>
                  <a:pt x="2476" y="2025"/>
                  <a:pt x="2401" y="1975"/>
                  <a:pt x="2326" y="1925"/>
                </a:cubicBezTo>
                <a:cubicBezTo>
                  <a:pt x="2250" y="1901"/>
                  <a:pt x="2176" y="1875"/>
                  <a:pt x="2126" y="1925"/>
                </a:cubicBezTo>
                <a:cubicBezTo>
                  <a:pt x="2076" y="1950"/>
                  <a:pt x="2101" y="1875"/>
                  <a:pt x="2076" y="1901"/>
                </a:cubicBezTo>
                <a:cubicBezTo>
                  <a:pt x="2026" y="1925"/>
                  <a:pt x="1901" y="1850"/>
                  <a:pt x="1876" y="1850"/>
                </a:cubicBezTo>
                <a:cubicBezTo>
                  <a:pt x="1850" y="1825"/>
                  <a:pt x="1626" y="1875"/>
                  <a:pt x="1576" y="1875"/>
                </a:cubicBezTo>
                <a:cubicBezTo>
                  <a:pt x="1526" y="1875"/>
                  <a:pt x="1576" y="1950"/>
                  <a:pt x="1626" y="1975"/>
                </a:cubicBezTo>
                <a:cubicBezTo>
                  <a:pt x="1650" y="2001"/>
                  <a:pt x="1526" y="2101"/>
                  <a:pt x="1550" y="2125"/>
                </a:cubicBezTo>
                <a:cubicBezTo>
                  <a:pt x="1576" y="2125"/>
                  <a:pt x="1526" y="2201"/>
                  <a:pt x="1476" y="2250"/>
                </a:cubicBezTo>
                <a:cubicBezTo>
                  <a:pt x="1425" y="2325"/>
                  <a:pt x="1526" y="2325"/>
                  <a:pt x="1601" y="2325"/>
                </a:cubicBezTo>
                <a:close/>
                <a:moveTo>
                  <a:pt x="3676" y="2675"/>
                </a:moveTo>
                <a:lnTo>
                  <a:pt x="3676" y="2675"/>
                </a:lnTo>
                <a:cubicBezTo>
                  <a:pt x="3701" y="2650"/>
                  <a:pt x="3801" y="2725"/>
                  <a:pt x="3801" y="2675"/>
                </a:cubicBezTo>
                <a:cubicBezTo>
                  <a:pt x="3801" y="2601"/>
                  <a:pt x="3701" y="2575"/>
                  <a:pt x="3651" y="2550"/>
                </a:cubicBezTo>
                <a:cubicBezTo>
                  <a:pt x="3601" y="2525"/>
                  <a:pt x="3576" y="2525"/>
                  <a:pt x="3501" y="2475"/>
                </a:cubicBezTo>
                <a:cubicBezTo>
                  <a:pt x="3401" y="2425"/>
                  <a:pt x="3501" y="2375"/>
                  <a:pt x="3451" y="2350"/>
                </a:cubicBezTo>
                <a:cubicBezTo>
                  <a:pt x="3401" y="2301"/>
                  <a:pt x="3376" y="2175"/>
                  <a:pt x="3426" y="2125"/>
                </a:cubicBezTo>
                <a:cubicBezTo>
                  <a:pt x="3451" y="2075"/>
                  <a:pt x="3501" y="2025"/>
                  <a:pt x="3426" y="2001"/>
                </a:cubicBezTo>
                <a:cubicBezTo>
                  <a:pt x="3351" y="1975"/>
                  <a:pt x="3226" y="2025"/>
                  <a:pt x="3251" y="2025"/>
                </a:cubicBezTo>
                <a:cubicBezTo>
                  <a:pt x="3251" y="2050"/>
                  <a:pt x="3351" y="2101"/>
                  <a:pt x="3351" y="2125"/>
                </a:cubicBezTo>
                <a:cubicBezTo>
                  <a:pt x="3351" y="2150"/>
                  <a:pt x="3276" y="2075"/>
                  <a:pt x="3226" y="2075"/>
                </a:cubicBezTo>
                <a:cubicBezTo>
                  <a:pt x="3201" y="2101"/>
                  <a:pt x="3151" y="2050"/>
                  <a:pt x="3126" y="2075"/>
                </a:cubicBezTo>
                <a:cubicBezTo>
                  <a:pt x="3101" y="2125"/>
                  <a:pt x="3176" y="2275"/>
                  <a:pt x="3201" y="2325"/>
                </a:cubicBezTo>
                <a:cubicBezTo>
                  <a:pt x="3226" y="2350"/>
                  <a:pt x="3176" y="2350"/>
                  <a:pt x="3126" y="2375"/>
                </a:cubicBezTo>
                <a:cubicBezTo>
                  <a:pt x="3101" y="2375"/>
                  <a:pt x="3101" y="2250"/>
                  <a:pt x="3076" y="2201"/>
                </a:cubicBezTo>
                <a:cubicBezTo>
                  <a:pt x="3026" y="2150"/>
                  <a:pt x="2901" y="2101"/>
                  <a:pt x="2901" y="2125"/>
                </a:cubicBezTo>
                <a:cubicBezTo>
                  <a:pt x="2876" y="2175"/>
                  <a:pt x="2976" y="2175"/>
                  <a:pt x="2951" y="2225"/>
                </a:cubicBezTo>
                <a:cubicBezTo>
                  <a:pt x="2951" y="2250"/>
                  <a:pt x="2901" y="2175"/>
                  <a:pt x="2851" y="2225"/>
                </a:cubicBezTo>
                <a:cubicBezTo>
                  <a:pt x="2801" y="2250"/>
                  <a:pt x="2826" y="2225"/>
                  <a:pt x="2826" y="2201"/>
                </a:cubicBezTo>
                <a:cubicBezTo>
                  <a:pt x="2826" y="2150"/>
                  <a:pt x="2751" y="2125"/>
                  <a:pt x="2676" y="2125"/>
                </a:cubicBezTo>
                <a:cubicBezTo>
                  <a:pt x="2601" y="2125"/>
                  <a:pt x="2626" y="2201"/>
                  <a:pt x="2601" y="2225"/>
                </a:cubicBezTo>
                <a:cubicBezTo>
                  <a:pt x="2576" y="2225"/>
                  <a:pt x="2451" y="2201"/>
                  <a:pt x="2551" y="2175"/>
                </a:cubicBezTo>
                <a:cubicBezTo>
                  <a:pt x="2626" y="2175"/>
                  <a:pt x="2576" y="2125"/>
                  <a:pt x="2551" y="2075"/>
                </a:cubicBezTo>
                <a:cubicBezTo>
                  <a:pt x="2526" y="2025"/>
                  <a:pt x="2451" y="2075"/>
                  <a:pt x="2326" y="2125"/>
                </a:cubicBezTo>
                <a:cubicBezTo>
                  <a:pt x="2201" y="2175"/>
                  <a:pt x="2126" y="2225"/>
                  <a:pt x="2150" y="2225"/>
                </a:cubicBezTo>
                <a:cubicBezTo>
                  <a:pt x="2176" y="2225"/>
                  <a:pt x="2176" y="2250"/>
                  <a:pt x="2126" y="2301"/>
                </a:cubicBezTo>
                <a:cubicBezTo>
                  <a:pt x="2076" y="2350"/>
                  <a:pt x="2126" y="2375"/>
                  <a:pt x="2176" y="2375"/>
                </a:cubicBezTo>
                <a:cubicBezTo>
                  <a:pt x="2201" y="2375"/>
                  <a:pt x="2176" y="2401"/>
                  <a:pt x="2201" y="2425"/>
                </a:cubicBezTo>
                <a:cubicBezTo>
                  <a:pt x="2226" y="2425"/>
                  <a:pt x="2376" y="2375"/>
                  <a:pt x="2426" y="2401"/>
                </a:cubicBezTo>
                <a:cubicBezTo>
                  <a:pt x="2476" y="2425"/>
                  <a:pt x="2176" y="2450"/>
                  <a:pt x="2176" y="2501"/>
                </a:cubicBezTo>
                <a:cubicBezTo>
                  <a:pt x="2176" y="2550"/>
                  <a:pt x="2326" y="2575"/>
                  <a:pt x="2451" y="2550"/>
                </a:cubicBezTo>
                <a:cubicBezTo>
                  <a:pt x="2576" y="2525"/>
                  <a:pt x="2776" y="2575"/>
                  <a:pt x="2776" y="2601"/>
                </a:cubicBezTo>
                <a:cubicBezTo>
                  <a:pt x="2776" y="2625"/>
                  <a:pt x="2626" y="2625"/>
                  <a:pt x="2526" y="2601"/>
                </a:cubicBezTo>
                <a:cubicBezTo>
                  <a:pt x="2426" y="2601"/>
                  <a:pt x="2250" y="2650"/>
                  <a:pt x="2250" y="2675"/>
                </a:cubicBezTo>
                <a:cubicBezTo>
                  <a:pt x="2276" y="2701"/>
                  <a:pt x="2276" y="2701"/>
                  <a:pt x="2376" y="2750"/>
                </a:cubicBezTo>
                <a:cubicBezTo>
                  <a:pt x="2501" y="2800"/>
                  <a:pt x="2601" y="2725"/>
                  <a:pt x="2601" y="2800"/>
                </a:cubicBezTo>
                <a:cubicBezTo>
                  <a:pt x="2601" y="2875"/>
                  <a:pt x="2651" y="2900"/>
                  <a:pt x="2801" y="2900"/>
                </a:cubicBezTo>
                <a:cubicBezTo>
                  <a:pt x="2951" y="2900"/>
                  <a:pt x="3026" y="2825"/>
                  <a:pt x="3101" y="2825"/>
                </a:cubicBezTo>
                <a:cubicBezTo>
                  <a:pt x="3151" y="2850"/>
                  <a:pt x="3201" y="2825"/>
                  <a:pt x="3226" y="2775"/>
                </a:cubicBezTo>
                <a:cubicBezTo>
                  <a:pt x="3251" y="2725"/>
                  <a:pt x="3301" y="2750"/>
                  <a:pt x="3301" y="2775"/>
                </a:cubicBezTo>
                <a:cubicBezTo>
                  <a:pt x="3301" y="2800"/>
                  <a:pt x="3401" y="2800"/>
                  <a:pt x="3426" y="2825"/>
                </a:cubicBezTo>
                <a:cubicBezTo>
                  <a:pt x="3476" y="2875"/>
                  <a:pt x="3651" y="2850"/>
                  <a:pt x="3726" y="2825"/>
                </a:cubicBezTo>
                <a:cubicBezTo>
                  <a:pt x="3776" y="2800"/>
                  <a:pt x="3676" y="2701"/>
                  <a:pt x="3651" y="2750"/>
                </a:cubicBezTo>
                <a:cubicBezTo>
                  <a:pt x="3626" y="2775"/>
                  <a:pt x="3601" y="2750"/>
                  <a:pt x="3576" y="2750"/>
                </a:cubicBezTo>
                <a:cubicBezTo>
                  <a:pt x="3576" y="2725"/>
                  <a:pt x="3651" y="2701"/>
                  <a:pt x="3676" y="2675"/>
                </a:cubicBezTo>
                <a:close/>
                <a:moveTo>
                  <a:pt x="2101" y="1650"/>
                </a:moveTo>
                <a:lnTo>
                  <a:pt x="2101" y="1650"/>
                </a:lnTo>
                <a:cubicBezTo>
                  <a:pt x="2176" y="1650"/>
                  <a:pt x="2250" y="1600"/>
                  <a:pt x="2226" y="1550"/>
                </a:cubicBezTo>
                <a:cubicBezTo>
                  <a:pt x="2226" y="1525"/>
                  <a:pt x="2050" y="1650"/>
                  <a:pt x="2101" y="1650"/>
                </a:cubicBezTo>
                <a:close/>
                <a:moveTo>
                  <a:pt x="1750" y="1525"/>
                </a:moveTo>
                <a:lnTo>
                  <a:pt x="1750" y="1525"/>
                </a:lnTo>
                <a:cubicBezTo>
                  <a:pt x="1776" y="1550"/>
                  <a:pt x="1750" y="1600"/>
                  <a:pt x="1776" y="1600"/>
                </a:cubicBezTo>
                <a:cubicBezTo>
                  <a:pt x="1801" y="1575"/>
                  <a:pt x="1826" y="1575"/>
                  <a:pt x="1850" y="1575"/>
                </a:cubicBezTo>
                <a:cubicBezTo>
                  <a:pt x="1901" y="1600"/>
                  <a:pt x="1901" y="1550"/>
                  <a:pt x="1926" y="1525"/>
                </a:cubicBezTo>
                <a:cubicBezTo>
                  <a:pt x="1950" y="1500"/>
                  <a:pt x="1926" y="1600"/>
                  <a:pt x="1976" y="1600"/>
                </a:cubicBezTo>
                <a:cubicBezTo>
                  <a:pt x="2026" y="1600"/>
                  <a:pt x="2026" y="1500"/>
                  <a:pt x="2076" y="1525"/>
                </a:cubicBezTo>
                <a:cubicBezTo>
                  <a:pt x="2101" y="1575"/>
                  <a:pt x="2126" y="1525"/>
                  <a:pt x="2126" y="1500"/>
                </a:cubicBezTo>
                <a:cubicBezTo>
                  <a:pt x="2126" y="1475"/>
                  <a:pt x="2126" y="1425"/>
                  <a:pt x="2176" y="1400"/>
                </a:cubicBezTo>
                <a:cubicBezTo>
                  <a:pt x="2226" y="1400"/>
                  <a:pt x="2201" y="1450"/>
                  <a:pt x="2201" y="1500"/>
                </a:cubicBezTo>
                <a:cubicBezTo>
                  <a:pt x="2250" y="1550"/>
                  <a:pt x="2301" y="1500"/>
                  <a:pt x="2301" y="1475"/>
                </a:cubicBezTo>
                <a:cubicBezTo>
                  <a:pt x="2301" y="1450"/>
                  <a:pt x="2376" y="1450"/>
                  <a:pt x="2376" y="1425"/>
                </a:cubicBezTo>
                <a:cubicBezTo>
                  <a:pt x="2376" y="1400"/>
                  <a:pt x="2401" y="1400"/>
                  <a:pt x="2376" y="1350"/>
                </a:cubicBezTo>
                <a:cubicBezTo>
                  <a:pt x="2350" y="1325"/>
                  <a:pt x="2401" y="1325"/>
                  <a:pt x="2426" y="1300"/>
                </a:cubicBezTo>
                <a:cubicBezTo>
                  <a:pt x="2451" y="1275"/>
                  <a:pt x="2401" y="1300"/>
                  <a:pt x="2350" y="1275"/>
                </a:cubicBezTo>
                <a:cubicBezTo>
                  <a:pt x="2326" y="1225"/>
                  <a:pt x="2301" y="1275"/>
                  <a:pt x="2301" y="1300"/>
                </a:cubicBezTo>
                <a:cubicBezTo>
                  <a:pt x="2301" y="1325"/>
                  <a:pt x="2226" y="1300"/>
                  <a:pt x="2176" y="1300"/>
                </a:cubicBezTo>
                <a:cubicBezTo>
                  <a:pt x="2126" y="1275"/>
                  <a:pt x="2076" y="1350"/>
                  <a:pt x="2001" y="1375"/>
                </a:cubicBezTo>
                <a:cubicBezTo>
                  <a:pt x="1926" y="1425"/>
                  <a:pt x="1926" y="1475"/>
                  <a:pt x="1876" y="1475"/>
                </a:cubicBezTo>
                <a:cubicBezTo>
                  <a:pt x="1801" y="1475"/>
                  <a:pt x="1726" y="1525"/>
                  <a:pt x="1750" y="1525"/>
                </a:cubicBezTo>
                <a:close/>
                <a:moveTo>
                  <a:pt x="2401" y="1525"/>
                </a:moveTo>
                <a:lnTo>
                  <a:pt x="2401" y="1525"/>
                </a:lnTo>
                <a:cubicBezTo>
                  <a:pt x="2326" y="1525"/>
                  <a:pt x="2350" y="1575"/>
                  <a:pt x="2401" y="1575"/>
                </a:cubicBezTo>
                <a:cubicBezTo>
                  <a:pt x="2476" y="1575"/>
                  <a:pt x="2501" y="1600"/>
                  <a:pt x="2401" y="1600"/>
                </a:cubicBezTo>
                <a:cubicBezTo>
                  <a:pt x="2301" y="1600"/>
                  <a:pt x="2250" y="1675"/>
                  <a:pt x="2326" y="1650"/>
                </a:cubicBezTo>
                <a:cubicBezTo>
                  <a:pt x="2401" y="1650"/>
                  <a:pt x="2476" y="1650"/>
                  <a:pt x="2426" y="1650"/>
                </a:cubicBezTo>
                <a:cubicBezTo>
                  <a:pt x="2376" y="1675"/>
                  <a:pt x="2250" y="1675"/>
                  <a:pt x="2250" y="1700"/>
                </a:cubicBezTo>
                <a:cubicBezTo>
                  <a:pt x="2276" y="1725"/>
                  <a:pt x="2326" y="1725"/>
                  <a:pt x="2376" y="1750"/>
                </a:cubicBezTo>
                <a:cubicBezTo>
                  <a:pt x="2426" y="1775"/>
                  <a:pt x="2476" y="1775"/>
                  <a:pt x="2501" y="1725"/>
                </a:cubicBezTo>
                <a:cubicBezTo>
                  <a:pt x="2551" y="1675"/>
                  <a:pt x="2601" y="1650"/>
                  <a:pt x="2576" y="1700"/>
                </a:cubicBezTo>
                <a:cubicBezTo>
                  <a:pt x="2551" y="1775"/>
                  <a:pt x="2651" y="1725"/>
                  <a:pt x="2751" y="1725"/>
                </a:cubicBezTo>
                <a:cubicBezTo>
                  <a:pt x="2876" y="1700"/>
                  <a:pt x="2751" y="1775"/>
                  <a:pt x="2626" y="1801"/>
                </a:cubicBezTo>
                <a:cubicBezTo>
                  <a:pt x="2501" y="1801"/>
                  <a:pt x="2526" y="1850"/>
                  <a:pt x="2626" y="1875"/>
                </a:cubicBezTo>
                <a:cubicBezTo>
                  <a:pt x="2701" y="1901"/>
                  <a:pt x="2901" y="1825"/>
                  <a:pt x="2951" y="1775"/>
                </a:cubicBezTo>
                <a:cubicBezTo>
                  <a:pt x="3001" y="1725"/>
                  <a:pt x="3051" y="1801"/>
                  <a:pt x="3076" y="1775"/>
                </a:cubicBezTo>
                <a:cubicBezTo>
                  <a:pt x="3126" y="1725"/>
                  <a:pt x="3226" y="1775"/>
                  <a:pt x="3301" y="1750"/>
                </a:cubicBezTo>
                <a:cubicBezTo>
                  <a:pt x="3376" y="1725"/>
                  <a:pt x="3401" y="1575"/>
                  <a:pt x="3326" y="1550"/>
                </a:cubicBezTo>
                <a:cubicBezTo>
                  <a:pt x="3276" y="1525"/>
                  <a:pt x="3276" y="1600"/>
                  <a:pt x="3226" y="1600"/>
                </a:cubicBezTo>
                <a:cubicBezTo>
                  <a:pt x="3176" y="1600"/>
                  <a:pt x="3151" y="1550"/>
                  <a:pt x="3126" y="1500"/>
                </a:cubicBezTo>
                <a:cubicBezTo>
                  <a:pt x="3076" y="1475"/>
                  <a:pt x="3101" y="1400"/>
                  <a:pt x="3051" y="1400"/>
                </a:cubicBezTo>
                <a:cubicBezTo>
                  <a:pt x="3001" y="1425"/>
                  <a:pt x="2876" y="1500"/>
                  <a:pt x="2951" y="1525"/>
                </a:cubicBezTo>
                <a:cubicBezTo>
                  <a:pt x="3026" y="1525"/>
                  <a:pt x="3001" y="1550"/>
                  <a:pt x="2951" y="1575"/>
                </a:cubicBezTo>
                <a:cubicBezTo>
                  <a:pt x="2926" y="1600"/>
                  <a:pt x="3051" y="1625"/>
                  <a:pt x="3026" y="1650"/>
                </a:cubicBezTo>
                <a:cubicBezTo>
                  <a:pt x="3026" y="1675"/>
                  <a:pt x="2826" y="1650"/>
                  <a:pt x="2826" y="1600"/>
                </a:cubicBezTo>
                <a:cubicBezTo>
                  <a:pt x="2801" y="1575"/>
                  <a:pt x="2651" y="1500"/>
                  <a:pt x="2601" y="1500"/>
                </a:cubicBezTo>
                <a:cubicBezTo>
                  <a:pt x="2526" y="1525"/>
                  <a:pt x="2551" y="1450"/>
                  <a:pt x="2501" y="1450"/>
                </a:cubicBezTo>
                <a:cubicBezTo>
                  <a:pt x="2426" y="1450"/>
                  <a:pt x="2451" y="1500"/>
                  <a:pt x="2401" y="1525"/>
                </a:cubicBezTo>
                <a:close/>
                <a:moveTo>
                  <a:pt x="2601" y="1225"/>
                </a:moveTo>
                <a:lnTo>
                  <a:pt x="2601" y="1225"/>
                </a:lnTo>
                <a:cubicBezTo>
                  <a:pt x="2626" y="1175"/>
                  <a:pt x="2476" y="1175"/>
                  <a:pt x="2476" y="1200"/>
                </a:cubicBezTo>
                <a:cubicBezTo>
                  <a:pt x="2526" y="1225"/>
                  <a:pt x="2601" y="1275"/>
                  <a:pt x="2601" y="1225"/>
                </a:cubicBezTo>
                <a:close/>
                <a:moveTo>
                  <a:pt x="2951" y="1200"/>
                </a:moveTo>
                <a:lnTo>
                  <a:pt x="2951" y="1200"/>
                </a:lnTo>
                <a:cubicBezTo>
                  <a:pt x="3001" y="1175"/>
                  <a:pt x="2976" y="1150"/>
                  <a:pt x="2901" y="1150"/>
                </a:cubicBezTo>
                <a:cubicBezTo>
                  <a:pt x="2801" y="1175"/>
                  <a:pt x="2651" y="1175"/>
                  <a:pt x="2651" y="1225"/>
                </a:cubicBezTo>
                <a:cubicBezTo>
                  <a:pt x="2651" y="1275"/>
                  <a:pt x="2701" y="1300"/>
                  <a:pt x="2776" y="1325"/>
                </a:cubicBezTo>
                <a:cubicBezTo>
                  <a:pt x="2876" y="1325"/>
                  <a:pt x="2976" y="1225"/>
                  <a:pt x="2926" y="1225"/>
                </a:cubicBezTo>
                <a:cubicBezTo>
                  <a:pt x="2876" y="1225"/>
                  <a:pt x="2901" y="1200"/>
                  <a:pt x="2951" y="1200"/>
                </a:cubicBezTo>
                <a:close/>
                <a:moveTo>
                  <a:pt x="2751" y="1125"/>
                </a:moveTo>
                <a:lnTo>
                  <a:pt x="2751" y="1125"/>
                </a:lnTo>
                <a:cubicBezTo>
                  <a:pt x="2801" y="1125"/>
                  <a:pt x="2826" y="1075"/>
                  <a:pt x="2876" y="1100"/>
                </a:cubicBezTo>
                <a:cubicBezTo>
                  <a:pt x="2901" y="1125"/>
                  <a:pt x="3026" y="1150"/>
                  <a:pt x="3026" y="1075"/>
                </a:cubicBezTo>
                <a:cubicBezTo>
                  <a:pt x="3026" y="1025"/>
                  <a:pt x="2851" y="1000"/>
                  <a:pt x="2826" y="1025"/>
                </a:cubicBezTo>
                <a:cubicBezTo>
                  <a:pt x="2776" y="1050"/>
                  <a:pt x="2576" y="1075"/>
                  <a:pt x="2651" y="1100"/>
                </a:cubicBezTo>
                <a:cubicBezTo>
                  <a:pt x="2676" y="1125"/>
                  <a:pt x="2701" y="1100"/>
                  <a:pt x="2751" y="1125"/>
                </a:cubicBezTo>
                <a:close/>
                <a:moveTo>
                  <a:pt x="3451" y="975"/>
                </a:moveTo>
                <a:lnTo>
                  <a:pt x="3451" y="975"/>
                </a:lnTo>
                <a:cubicBezTo>
                  <a:pt x="3501" y="950"/>
                  <a:pt x="3601" y="1000"/>
                  <a:pt x="3576" y="1050"/>
                </a:cubicBezTo>
                <a:cubicBezTo>
                  <a:pt x="3551" y="1075"/>
                  <a:pt x="3426" y="1025"/>
                  <a:pt x="3426" y="1075"/>
                </a:cubicBezTo>
                <a:cubicBezTo>
                  <a:pt x="3426" y="1075"/>
                  <a:pt x="3451" y="1125"/>
                  <a:pt x="3551" y="1100"/>
                </a:cubicBezTo>
                <a:cubicBezTo>
                  <a:pt x="3651" y="1075"/>
                  <a:pt x="3726" y="1100"/>
                  <a:pt x="3801" y="1150"/>
                </a:cubicBezTo>
                <a:cubicBezTo>
                  <a:pt x="3851" y="1200"/>
                  <a:pt x="3926" y="1225"/>
                  <a:pt x="3976" y="1175"/>
                </a:cubicBezTo>
                <a:cubicBezTo>
                  <a:pt x="4026" y="1125"/>
                  <a:pt x="3901" y="1100"/>
                  <a:pt x="3926" y="1075"/>
                </a:cubicBezTo>
                <a:cubicBezTo>
                  <a:pt x="3951" y="1025"/>
                  <a:pt x="3876" y="1000"/>
                  <a:pt x="3826" y="1000"/>
                </a:cubicBezTo>
                <a:cubicBezTo>
                  <a:pt x="3776" y="1000"/>
                  <a:pt x="3751" y="925"/>
                  <a:pt x="3726" y="925"/>
                </a:cubicBezTo>
                <a:cubicBezTo>
                  <a:pt x="3676" y="950"/>
                  <a:pt x="3651" y="975"/>
                  <a:pt x="3651" y="925"/>
                </a:cubicBezTo>
                <a:cubicBezTo>
                  <a:pt x="3651" y="875"/>
                  <a:pt x="3451" y="875"/>
                  <a:pt x="3376" y="875"/>
                </a:cubicBezTo>
                <a:cubicBezTo>
                  <a:pt x="3326" y="900"/>
                  <a:pt x="3401" y="1025"/>
                  <a:pt x="3451" y="975"/>
                </a:cubicBezTo>
                <a:close/>
                <a:moveTo>
                  <a:pt x="3476" y="1325"/>
                </a:moveTo>
                <a:lnTo>
                  <a:pt x="3476" y="1325"/>
                </a:lnTo>
                <a:cubicBezTo>
                  <a:pt x="3501" y="1300"/>
                  <a:pt x="3351" y="1150"/>
                  <a:pt x="3326" y="1225"/>
                </a:cubicBezTo>
                <a:cubicBezTo>
                  <a:pt x="3326" y="1275"/>
                  <a:pt x="3451" y="1375"/>
                  <a:pt x="3476" y="1325"/>
                </a:cubicBezTo>
                <a:close/>
                <a:moveTo>
                  <a:pt x="4026" y="800"/>
                </a:moveTo>
                <a:lnTo>
                  <a:pt x="4026" y="800"/>
                </a:lnTo>
                <a:cubicBezTo>
                  <a:pt x="4051" y="750"/>
                  <a:pt x="3851" y="700"/>
                  <a:pt x="3901" y="750"/>
                </a:cubicBezTo>
                <a:cubicBezTo>
                  <a:pt x="3926" y="775"/>
                  <a:pt x="4001" y="850"/>
                  <a:pt x="4026" y="800"/>
                </a:cubicBezTo>
                <a:close/>
                <a:moveTo>
                  <a:pt x="3551" y="1725"/>
                </a:moveTo>
                <a:lnTo>
                  <a:pt x="3551" y="1725"/>
                </a:lnTo>
                <a:cubicBezTo>
                  <a:pt x="3576" y="1700"/>
                  <a:pt x="3476" y="1625"/>
                  <a:pt x="3451" y="1700"/>
                </a:cubicBezTo>
                <a:cubicBezTo>
                  <a:pt x="3426" y="1750"/>
                  <a:pt x="3526" y="1775"/>
                  <a:pt x="3551" y="1725"/>
                </a:cubicBezTo>
                <a:close/>
                <a:moveTo>
                  <a:pt x="4026" y="1450"/>
                </a:moveTo>
                <a:lnTo>
                  <a:pt x="4026" y="1450"/>
                </a:lnTo>
                <a:cubicBezTo>
                  <a:pt x="4026" y="1475"/>
                  <a:pt x="3926" y="1425"/>
                  <a:pt x="3851" y="1400"/>
                </a:cubicBezTo>
                <a:cubicBezTo>
                  <a:pt x="3776" y="1375"/>
                  <a:pt x="3826" y="1475"/>
                  <a:pt x="3876" y="1525"/>
                </a:cubicBezTo>
                <a:cubicBezTo>
                  <a:pt x="3926" y="1575"/>
                  <a:pt x="3851" y="1550"/>
                  <a:pt x="3776" y="1475"/>
                </a:cubicBezTo>
                <a:cubicBezTo>
                  <a:pt x="3676" y="1425"/>
                  <a:pt x="3701" y="1525"/>
                  <a:pt x="3726" y="1550"/>
                </a:cubicBezTo>
                <a:cubicBezTo>
                  <a:pt x="3776" y="1575"/>
                  <a:pt x="3726" y="1625"/>
                  <a:pt x="3676" y="1550"/>
                </a:cubicBezTo>
                <a:cubicBezTo>
                  <a:pt x="3626" y="1500"/>
                  <a:pt x="3601" y="1425"/>
                  <a:pt x="3526" y="1425"/>
                </a:cubicBezTo>
                <a:cubicBezTo>
                  <a:pt x="3451" y="1400"/>
                  <a:pt x="3476" y="1500"/>
                  <a:pt x="3501" y="1525"/>
                </a:cubicBezTo>
                <a:cubicBezTo>
                  <a:pt x="3551" y="1575"/>
                  <a:pt x="3601" y="1600"/>
                  <a:pt x="3651" y="1625"/>
                </a:cubicBezTo>
                <a:cubicBezTo>
                  <a:pt x="3726" y="1675"/>
                  <a:pt x="3826" y="1625"/>
                  <a:pt x="3876" y="1625"/>
                </a:cubicBezTo>
                <a:cubicBezTo>
                  <a:pt x="3926" y="1650"/>
                  <a:pt x="3826" y="1700"/>
                  <a:pt x="3851" y="1750"/>
                </a:cubicBezTo>
                <a:cubicBezTo>
                  <a:pt x="3901" y="1801"/>
                  <a:pt x="3976" y="1750"/>
                  <a:pt x="4051" y="1750"/>
                </a:cubicBezTo>
                <a:cubicBezTo>
                  <a:pt x="4126" y="1750"/>
                  <a:pt x="4101" y="1700"/>
                  <a:pt x="4126" y="1675"/>
                </a:cubicBezTo>
                <a:cubicBezTo>
                  <a:pt x="4177" y="1650"/>
                  <a:pt x="4101" y="1650"/>
                  <a:pt x="4126" y="1575"/>
                </a:cubicBezTo>
                <a:cubicBezTo>
                  <a:pt x="4151" y="1525"/>
                  <a:pt x="4026" y="1400"/>
                  <a:pt x="4026" y="1450"/>
                </a:cubicBezTo>
                <a:close/>
                <a:moveTo>
                  <a:pt x="4201" y="1200"/>
                </a:moveTo>
                <a:lnTo>
                  <a:pt x="4201" y="1200"/>
                </a:lnTo>
                <a:cubicBezTo>
                  <a:pt x="4251" y="1200"/>
                  <a:pt x="4301" y="1200"/>
                  <a:pt x="4351" y="1175"/>
                </a:cubicBezTo>
                <a:cubicBezTo>
                  <a:pt x="4426" y="1150"/>
                  <a:pt x="4326" y="1150"/>
                  <a:pt x="4377" y="1100"/>
                </a:cubicBezTo>
                <a:cubicBezTo>
                  <a:pt x="4401" y="1050"/>
                  <a:pt x="4277" y="1050"/>
                  <a:pt x="4277" y="1050"/>
                </a:cubicBezTo>
                <a:cubicBezTo>
                  <a:pt x="4251" y="1075"/>
                  <a:pt x="4101" y="950"/>
                  <a:pt x="4076" y="1000"/>
                </a:cubicBezTo>
                <a:cubicBezTo>
                  <a:pt x="4051" y="1025"/>
                  <a:pt x="4126" y="1200"/>
                  <a:pt x="4201" y="1200"/>
                </a:cubicBezTo>
                <a:close/>
                <a:moveTo>
                  <a:pt x="4526" y="1225"/>
                </a:moveTo>
                <a:lnTo>
                  <a:pt x="4526" y="1225"/>
                </a:lnTo>
                <a:cubicBezTo>
                  <a:pt x="4526" y="1200"/>
                  <a:pt x="4201" y="1225"/>
                  <a:pt x="4251" y="1275"/>
                </a:cubicBezTo>
                <a:cubicBezTo>
                  <a:pt x="4351" y="1325"/>
                  <a:pt x="4551" y="1250"/>
                  <a:pt x="4526" y="1225"/>
                </a:cubicBezTo>
                <a:close/>
                <a:moveTo>
                  <a:pt x="4477" y="1825"/>
                </a:moveTo>
                <a:lnTo>
                  <a:pt x="4477" y="1825"/>
                </a:lnTo>
                <a:cubicBezTo>
                  <a:pt x="4551" y="1825"/>
                  <a:pt x="4526" y="1725"/>
                  <a:pt x="4451" y="1675"/>
                </a:cubicBezTo>
                <a:cubicBezTo>
                  <a:pt x="4351" y="1600"/>
                  <a:pt x="4177" y="1725"/>
                  <a:pt x="4201" y="1750"/>
                </a:cubicBezTo>
                <a:cubicBezTo>
                  <a:pt x="4251" y="1801"/>
                  <a:pt x="4401" y="1825"/>
                  <a:pt x="4477" y="1825"/>
                </a:cubicBezTo>
                <a:close/>
                <a:moveTo>
                  <a:pt x="3951" y="2401"/>
                </a:moveTo>
                <a:lnTo>
                  <a:pt x="3951" y="2401"/>
                </a:lnTo>
                <a:cubicBezTo>
                  <a:pt x="4051" y="2475"/>
                  <a:pt x="4026" y="2350"/>
                  <a:pt x="4126" y="2375"/>
                </a:cubicBezTo>
                <a:cubicBezTo>
                  <a:pt x="4226" y="2375"/>
                  <a:pt x="4226" y="2201"/>
                  <a:pt x="4251" y="2125"/>
                </a:cubicBezTo>
                <a:cubicBezTo>
                  <a:pt x="4251" y="2075"/>
                  <a:pt x="4151" y="2075"/>
                  <a:pt x="4177" y="2125"/>
                </a:cubicBezTo>
                <a:cubicBezTo>
                  <a:pt x="4201" y="2175"/>
                  <a:pt x="4177" y="2225"/>
                  <a:pt x="4177" y="2150"/>
                </a:cubicBezTo>
                <a:cubicBezTo>
                  <a:pt x="4177" y="2101"/>
                  <a:pt x="4076" y="2150"/>
                  <a:pt x="4051" y="2125"/>
                </a:cubicBezTo>
                <a:cubicBezTo>
                  <a:pt x="4026" y="2075"/>
                  <a:pt x="4151" y="2075"/>
                  <a:pt x="4177" y="2025"/>
                </a:cubicBezTo>
                <a:cubicBezTo>
                  <a:pt x="4201" y="1950"/>
                  <a:pt x="4076" y="1975"/>
                  <a:pt x="4101" y="1925"/>
                </a:cubicBezTo>
                <a:cubicBezTo>
                  <a:pt x="4151" y="1875"/>
                  <a:pt x="3926" y="1925"/>
                  <a:pt x="4001" y="1950"/>
                </a:cubicBezTo>
                <a:cubicBezTo>
                  <a:pt x="4051" y="1975"/>
                  <a:pt x="4001" y="2025"/>
                  <a:pt x="3926" y="1975"/>
                </a:cubicBezTo>
                <a:cubicBezTo>
                  <a:pt x="3876" y="1925"/>
                  <a:pt x="3726" y="2001"/>
                  <a:pt x="3776" y="2050"/>
                </a:cubicBezTo>
                <a:cubicBezTo>
                  <a:pt x="3826" y="2075"/>
                  <a:pt x="3951" y="2025"/>
                  <a:pt x="3876" y="2125"/>
                </a:cubicBezTo>
                <a:cubicBezTo>
                  <a:pt x="3801" y="2250"/>
                  <a:pt x="3776" y="2101"/>
                  <a:pt x="3701" y="2125"/>
                </a:cubicBezTo>
                <a:cubicBezTo>
                  <a:pt x="3626" y="2125"/>
                  <a:pt x="3651" y="2225"/>
                  <a:pt x="3751" y="2250"/>
                </a:cubicBezTo>
                <a:cubicBezTo>
                  <a:pt x="3876" y="2275"/>
                  <a:pt x="3851" y="2350"/>
                  <a:pt x="3951" y="2401"/>
                </a:cubicBezTo>
                <a:close/>
                <a:moveTo>
                  <a:pt x="4626" y="1750"/>
                </a:moveTo>
                <a:lnTo>
                  <a:pt x="4626" y="1750"/>
                </a:lnTo>
                <a:cubicBezTo>
                  <a:pt x="4651" y="1825"/>
                  <a:pt x="4701" y="1775"/>
                  <a:pt x="4751" y="1801"/>
                </a:cubicBezTo>
                <a:cubicBezTo>
                  <a:pt x="4777" y="1825"/>
                  <a:pt x="4851" y="1850"/>
                  <a:pt x="4901" y="1825"/>
                </a:cubicBezTo>
                <a:cubicBezTo>
                  <a:pt x="4926" y="1801"/>
                  <a:pt x="4951" y="1775"/>
                  <a:pt x="4951" y="1801"/>
                </a:cubicBezTo>
                <a:cubicBezTo>
                  <a:pt x="4977" y="1850"/>
                  <a:pt x="5077" y="1850"/>
                  <a:pt x="5277" y="1850"/>
                </a:cubicBezTo>
                <a:cubicBezTo>
                  <a:pt x="5477" y="1850"/>
                  <a:pt x="5426" y="1775"/>
                  <a:pt x="5477" y="1801"/>
                </a:cubicBezTo>
                <a:cubicBezTo>
                  <a:pt x="5551" y="1825"/>
                  <a:pt x="5677" y="1825"/>
                  <a:pt x="5726" y="1825"/>
                </a:cubicBezTo>
                <a:cubicBezTo>
                  <a:pt x="5802" y="1801"/>
                  <a:pt x="5826" y="1725"/>
                  <a:pt x="5826" y="1675"/>
                </a:cubicBezTo>
                <a:cubicBezTo>
                  <a:pt x="5802" y="1625"/>
                  <a:pt x="5377" y="1600"/>
                  <a:pt x="5277" y="1625"/>
                </a:cubicBezTo>
                <a:cubicBezTo>
                  <a:pt x="5202" y="1675"/>
                  <a:pt x="5077" y="1625"/>
                  <a:pt x="5026" y="1650"/>
                </a:cubicBezTo>
                <a:cubicBezTo>
                  <a:pt x="4951" y="1675"/>
                  <a:pt x="4977" y="1600"/>
                  <a:pt x="4877" y="1600"/>
                </a:cubicBezTo>
                <a:cubicBezTo>
                  <a:pt x="4751" y="1600"/>
                  <a:pt x="4877" y="1550"/>
                  <a:pt x="4901" y="1525"/>
                </a:cubicBezTo>
                <a:cubicBezTo>
                  <a:pt x="4926" y="1500"/>
                  <a:pt x="4726" y="1425"/>
                  <a:pt x="4651" y="1450"/>
                </a:cubicBezTo>
                <a:cubicBezTo>
                  <a:pt x="4577" y="1450"/>
                  <a:pt x="4526" y="1425"/>
                  <a:pt x="4451" y="1375"/>
                </a:cubicBezTo>
                <a:cubicBezTo>
                  <a:pt x="4377" y="1350"/>
                  <a:pt x="4177" y="1350"/>
                  <a:pt x="4201" y="1425"/>
                </a:cubicBezTo>
                <a:cubicBezTo>
                  <a:pt x="4226" y="1450"/>
                  <a:pt x="4477" y="1550"/>
                  <a:pt x="4501" y="1500"/>
                </a:cubicBezTo>
                <a:cubicBezTo>
                  <a:pt x="4526" y="1450"/>
                  <a:pt x="4601" y="1550"/>
                  <a:pt x="4626" y="1600"/>
                </a:cubicBezTo>
                <a:cubicBezTo>
                  <a:pt x="4677" y="1650"/>
                  <a:pt x="4601" y="1650"/>
                  <a:pt x="4626" y="1750"/>
                </a:cubicBezTo>
                <a:close/>
                <a:moveTo>
                  <a:pt x="4851" y="1250"/>
                </a:moveTo>
                <a:lnTo>
                  <a:pt x="4851" y="1250"/>
                </a:lnTo>
                <a:cubicBezTo>
                  <a:pt x="4777" y="1225"/>
                  <a:pt x="4677" y="1300"/>
                  <a:pt x="4751" y="1325"/>
                </a:cubicBezTo>
                <a:cubicBezTo>
                  <a:pt x="4826" y="1350"/>
                  <a:pt x="4926" y="1300"/>
                  <a:pt x="4851" y="1250"/>
                </a:cubicBezTo>
                <a:close/>
                <a:moveTo>
                  <a:pt x="4251" y="775"/>
                </a:moveTo>
                <a:lnTo>
                  <a:pt x="4251" y="775"/>
                </a:lnTo>
                <a:cubicBezTo>
                  <a:pt x="4301" y="825"/>
                  <a:pt x="4277" y="850"/>
                  <a:pt x="4326" y="875"/>
                </a:cubicBezTo>
                <a:cubicBezTo>
                  <a:pt x="4401" y="925"/>
                  <a:pt x="4601" y="850"/>
                  <a:pt x="4601" y="900"/>
                </a:cubicBezTo>
                <a:cubicBezTo>
                  <a:pt x="4626" y="950"/>
                  <a:pt x="4426" y="950"/>
                  <a:pt x="4451" y="975"/>
                </a:cubicBezTo>
                <a:cubicBezTo>
                  <a:pt x="4477" y="1000"/>
                  <a:pt x="4601" y="1050"/>
                  <a:pt x="4577" y="1075"/>
                </a:cubicBezTo>
                <a:cubicBezTo>
                  <a:pt x="4551" y="1100"/>
                  <a:pt x="4777" y="1175"/>
                  <a:pt x="4801" y="1125"/>
                </a:cubicBezTo>
                <a:cubicBezTo>
                  <a:pt x="4826" y="1100"/>
                  <a:pt x="4877" y="1100"/>
                  <a:pt x="4926" y="1125"/>
                </a:cubicBezTo>
                <a:cubicBezTo>
                  <a:pt x="4977" y="1150"/>
                  <a:pt x="5001" y="1000"/>
                  <a:pt x="5026" y="1025"/>
                </a:cubicBezTo>
                <a:cubicBezTo>
                  <a:pt x="5077" y="1050"/>
                  <a:pt x="5051" y="975"/>
                  <a:pt x="5126" y="950"/>
                </a:cubicBezTo>
                <a:cubicBezTo>
                  <a:pt x="5177" y="925"/>
                  <a:pt x="5277" y="925"/>
                  <a:pt x="5277" y="900"/>
                </a:cubicBezTo>
                <a:cubicBezTo>
                  <a:pt x="5277" y="875"/>
                  <a:pt x="5277" y="850"/>
                  <a:pt x="5202" y="850"/>
                </a:cubicBezTo>
                <a:cubicBezTo>
                  <a:pt x="5126" y="850"/>
                  <a:pt x="5077" y="825"/>
                  <a:pt x="5102" y="800"/>
                </a:cubicBezTo>
                <a:cubicBezTo>
                  <a:pt x="5126" y="750"/>
                  <a:pt x="5026" y="725"/>
                  <a:pt x="5051" y="700"/>
                </a:cubicBezTo>
                <a:cubicBezTo>
                  <a:pt x="5102" y="675"/>
                  <a:pt x="4977" y="625"/>
                  <a:pt x="5001" y="675"/>
                </a:cubicBezTo>
                <a:cubicBezTo>
                  <a:pt x="5001" y="725"/>
                  <a:pt x="4926" y="700"/>
                  <a:pt x="4901" y="650"/>
                </a:cubicBezTo>
                <a:cubicBezTo>
                  <a:pt x="4901" y="600"/>
                  <a:pt x="4726" y="575"/>
                  <a:pt x="4601" y="475"/>
                </a:cubicBezTo>
                <a:cubicBezTo>
                  <a:pt x="4501" y="375"/>
                  <a:pt x="4377" y="450"/>
                  <a:pt x="4451" y="450"/>
                </a:cubicBezTo>
                <a:cubicBezTo>
                  <a:pt x="4501" y="475"/>
                  <a:pt x="4501" y="500"/>
                  <a:pt x="4451" y="500"/>
                </a:cubicBezTo>
                <a:cubicBezTo>
                  <a:pt x="4401" y="500"/>
                  <a:pt x="4301" y="500"/>
                  <a:pt x="4401" y="550"/>
                </a:cubicBezTo>
                <a:cubicBezTo>
                  <a:pt x="4477" y="575"/>
                  <a:pt x="4377" y="575"/>
                  <a:pt x="4301" y="575"/>
                </a:cubicBezTo>
                <a:cubicBezTo>
                  <a:pt x="4251" y="575"/>
                  <a:pt x="4226" y="675"/>
                  <a:pt x="4326" y="700"/>
                </a:cubicBezTo>
                <a:cubicBezTo>
                  <a:pt x="4426" y="700"/>
                  <a:pt x="4351" y="750"/>
                  <a:pt x="4277" y="725"/>
                </a:cubicBezTo>
                <a:cubicBezTo>
                  <a:pt x="4201" y="725"/>
                  <a:pt x="4177" y="750"/>
                  <a:pt x="4251" y="775"/>
                </a:cubicBezTo>
                <a:close/>
                <a:moveTo>
                  <a:pt x="4751" y="375"/>
                </a:moveTo>
                <a:lnTo>
                  <a:pt x="4751" y="375"/>
                </a:lnTo>
                <a:cubicBezTo>
                  <a:pt x="4801" y="325"/>
                  <a:pt x="4851" y="350"/>
                  <a:pt x="4801" y="375"/>
                </a:cubicBezTo>
                <a:cubicBezTo>
                  <a:pt x="4751" y="400"/>
                  <a:pt x="4777" y="425"/>
                  <a:pt x="4851" y="425"/>
                </a:cubicBezTo>
                <a:cubicBezTo>
                  <a:pt x="4901" y="425"/>
                  <a:pt x="4801" y="450"/>
                  <a:pt x="4801" y="475"/>
                </a:cubicBezTo>
                <a:cubicBezTo>
                  <a:pt x="4801" y="525"/>
                  <a:pt x="4901" y="500"/>
                  <a:pt x="4901" y="550"/>
                </a:cubicBezTo>
                <a:cubicBezTo>
                  <a:pt x="4901" y="575"/>
                  <a:pt x="5077" y="600"/>
                  <a:pt x="5126" y="550"/>
                </a:cubicBezTo>
                <a:cubicBezTo>
                  <a:pt x="5202" y="500"/>
                  <a:pt x="5177" y="575"/>
                  <a:pt x="5177" y="600"/>
                </a:cubicBezTo>
                <a:cubicBezTo>
                  <a:pt x="5151" y="625"/>
                  <a:pt x="5426" y="650"/>
                  <a:pt x="5426" y="625"/>
                </a:cubicBezTo>
                <a:cubicBezTo>
                  <a:pt x="5451" y="575"/>
                  <a:pt x="5477" y="600"/>
                  <a:pt x="5526" y="600"/>
                </a:cubicBezTo>
                <a:cubicBezTo>
                  <a:pt x="5577" y="625"/>
                  <a:pt x="5826" y="550"/>
                  <a:pt x="5826" y="500"/>
                </a:cubicBezTo>
                <a:cubicBezTo>
                  <a:pt x="5826" y="450"/>
                  <a:pt x="5902" y="525"/>
                  <a:pt x="5826" y="600"/>
                </a:cubicBezTo>
                <a:cubicBezTo>
                  <a:pt x="5751" y="650"/>
                  <a:pt x="5602" y="625"/>
                  <a:pt x="5526" y="650"/>
                </a:cubicBezTo>
                <a:cubicBezTo>
                  <a:pt x="5451" y="675"/>
                  <a:pt x="5577" y="725"/>
                  <a:pt x="5651" y="775"/>
                </a:cubicBezTo>
                <a:cubicBezTo>
                  <a:pt x="5702" y="825"/>
                  <a:pt x="5551" y="800"/>
                  <a:pt x="5477" y="725"/>
                </a:cubicBezTo>
                <a:cubicBezTo>
                  <a:pt x="5426" y="675"/>
                  <a:pt x="5277" y="675"/>
                  <a:pt x="5177" y="675"/>
                </a:cubicBezTo>
                <a:cubicBezTo>
                  <a:pt x="5102" y="675"/>
                  <a:pt x="5126" y="825"/>
                  <a:pt x="5202" y="825"/>
                </a:cubicBezTo>
                <a:cubicBezTo>
                  <a:pt x="5251" y="825"/>
                  <a:pt x="5302" y="850"/>
                  <a:pt x="5377" y="925"/>
                </a:cubicBezTo>
                <a:cubicBezTo>
                  <a:pt x="5426" y="1025"/>
                  <a:pt x="5551" y="1000"/>
                  <a:pt x="5551" y="1050"/>
                </a:cubicBezTo>
                <a:cubicBezTo>
                  <a:pt x="5551" y="1075"/>
                  <a:pt x="5377" y="1000"/>
                  <a:pt x="5302" y="1000"/>
                </a:cubicBezTo>
                <a:cubicBezTo>
                  <a:pt x="5202" y="975"/>
                  <a:pt x="5051" y="1025"/>
                  <a:pt x="5051" y="1100"/>
                </a:cubicBezTo>
                <a:cubicBezTo>
                  <a:pt x="5051" y="1175"/>
                  <a:pt x="5177" y="1150"/>
                  <a:pt x="5277" y="1100"/>
                </a:cubicBezTo>
                <a:cubicBezTo>
                  <a:pt x="5377" y="1050"/>
                  <a:pt x="5302" y="1125"/>
                  <a:pt x="5251" y="1175"/>
                </a:cubicBezTo>
                <a:cubicBezTo>
                  <a:pt x="5202" y="1200"/>
                  <a:pt x="5377" y="1250"/>
                  <a:pt x="5377" y="1300"/>
                </a:cubicBezTo>
                <a:cubicBezTo>
                  <a:pt x="5377" y="1350"/>
                  <a:pt x="5251" y="1325"/>
                  <a:pt x="5251" y="1275"/>
                </a:cubicBezTo>
                <a:cubicBezTo>
                  <a:pt x="5226" y="1225"/>
                  <a:pt x="5177" y="1175"/>
                  <a:pt x="5077" y="1200"/>
                </a:cubicBezTo>
                <a:cubicBezTo>
                  <a:pt x="4977" y="1200"/>
                  <a:pt x="5001" y="1275"/>
                  <a:pt x="5077" y="1275"/>
                </a:cubicBezTo>
                <a:cubicBezTo>
                  <a:pt x="5126" y="1300"/>
                  <a:pt x="5126" y="1350"/>
                  <a:pt x="5051" y="1350"/>
                </a:cubicBezTo>
                <a:cubicBezTo>
                  <a:pt x="4977" y="1350"/>
                  <a:pt x="4826" y="1400"/>
                  <a:pt x="4877" y="1450"/>
                </a:cubicBezTo>
                <a:cubicBezTo>
                  <a:pt x="4926" y="1500"/>
                  <a:pt x="5151" y="1450"/>
                  <a:pt x="5177" y="1475"/>
                </a:cubicBezTo>
                <a:cubicBezTo>
                  <a:pt x="5226" y="1500"/>
                  <a:pt x="5326" y="1525"/>
                  <a:pt x="5351" y="1475"/>
                </a:cubicBezTo>
                <a:cubicBezTo>
                  <a:pt x="5377" y="1450"/>
                  <a:pt x="5451" y="1450"/>
                  <a:pt x="5526" y="1450"/>
                </a:cubicBezTo>
                <a:cubicBezTo>
                  <a:pt x="5626" y="1450"/>
                  <a:pt x="5651" y="1475"/>
                  <a:pt x="5677" y="1500"/>
                </a:cubicBezTo>
                <a:cubicBezTo>
                  <a:pt x="5726" y="1550"/>
                  <a:pt x="5777" y="1525"/>
                  <a:pt x="5826" y="1500"/>
                </a:cubicBezTo>
                <a:cubicBezTo>
                  <a:pt x="5877" y="1450"/>
                  <a:pt x="5877" y="1450"/>
                  <a:pt x="5926" y="1450"/>
                </a:cubicBezTo>
                <a:cubicBezTo>
                  <a:pt x="6002" y="1450"/>
                  <a:pt x="6002" y="1425"/>
                  <a:pt x="5977" y="1375"/>
                </a:cubicBezTo>
                <a:cubicBezTo>
                  <a:pt x="5951" y="1325"/>
                  <a:pt x="5877" y="1400"/>
                  <a:pt x="5851" y="1375"/>
                </a:cubicBezTo>
                <a:cubicBezTo>
                  <a:pt x="5851" y="1325"/>
                  <a:pt x="5777" y="1325"/>
                  <a:pt x="5677" y="1350"/>
                </a:cubicBezTo>
                <a:cubicBezTo>
                  <a:pt x="5551" y="1350"/>
                  <a:pt x="5602" y="1275"/>
                  <a:pt x="5677" y="1275"/>
                </a:cubicBezTo>
                <a:cubicBezTo>
                  <a:pt x="5751" y="1300"/>
                  <a:pt x="5826" y="1300"/>
                  <a:pt x="5926" y="1275"/>
                </a:cubicBezTo>
                <a:cubicBezTo>
                  <a:pt x="6002" y="1250"/>
                  <a:pt x="5926" y="1225"/>
                  <a:pt x="5926" y="1175"/>
                </a:cubicBezTo>
                <a:cubicBezTo>
                  <a:pt x="5926" y="1150"/>
                  <a:pt x="6027" y="1175"/>
                  <a:pt x="6102" y="1175"/>
                </a:cubicBezTo>
                <a:cubicBezTo>
                  <a:pt x="6177" y="1175"/>
                  <a:pt x="6302" y="1050"/>
                  <a:pt x="6302" y="975"/>
                </a:cubicBezTo>
                <a:cubicBezTo>
                  <a:pt x="6302" y="900"/>
                  <a:pt x="6127" y="925"/>
                  <a:pt x="6051" y="925"/>
                </a:cubicBezTo>
                <a:cubicBezTo>
                  <a:pt x="5951" y="925"/>
                  <a:pt x="6102" y="875"/>
                  <a:pt x="6251" y="875"/>
                </a:cubicBezTo>
                <a:cubicBezTo>
                  <a:pt x="6427" y="875"/>
                  <a:pt x="6351" y="800"/>
                  <a:pt x="6377" y="775"/>
                </a:cubicBezTo>
                <a:cubicBezTo>
                  <a:pt x="6402" y="750"/>
                  <a:pt x="6477" y="825"/>
                  <a:pt x="6551" y="800"/>
                </a:cubicBezTo>
                <a:cubicBezTo>
                  <a:pt x="6627" y="775"/>
                  <a:pt x="6577" y="725"/>
                  <a:pt x="6627" y="725"/>
                </a:cubicBezTo>
                <a:cubicBezTo>
                  <a:pt x="6677" y="725"/>
                  <a:pt x="6751" y="650"/>
                  <a:pt x="6927" y="550"/>
                </a:cubicBezTo>
                <a:cubicBezTo>
                  <a:pt x="7102" y="475"/>
                  <a:pt x="7227" y="475"/>
                  <a:pt x="7252" y="425"/>
                </a:cubicBezTo>
                <a:cubicBezTo>
                  <a:pt x="7252" y="375"/>
                  <a:pt x="7002" y="425"/>
                  <a:pt x="6977" y="400"/>
                </a:cubicBezTo>
                <a:cubicBezTo>
                  <a:pt x="6927" y="400"/>
                  <a:pt x="7127" y="350"/>
                  <a:pt x="7177" y="350"/>
                </a:cubicBezTo>
                <a:cubicBezTo>
                  <a:pt x="7227" y="375"/>
                  <a:pt x="7302" y="350"/>
                  <a:pt x="7477" y="275"/>
                </a:cubicBezTo>
                <a:cubicBezTo>
                  <a:pt x="7652" y="200"/>
                  <a:pt x="7577" y="175"/>
                  <a:pt x="7502" y="175"/>
                </a:cubicBezTo>
                <a:cubicBezTo>
                  <a:pt x="7427" y="200"/>
                  <a:pt x="7352" y="175"/>
                  <a:pt x="7352" y="125"/>
                </a:cubicBezTo>
                <a:cubicBezTo>
                  <a:pt x="7352" y="75"/>
                  <a:pt x="7252" y="125"/>
                  <a:pt x="7252" y="99"/>
                </a:cubicBezTo>
                <a:cubicBezTo>
                  <a:pt x="7252" y="75"/>
                  <a:pt x="7152" y="75"/>
                  <a:pt x="7027" y="125"/>
                </a:cubicBezTo>
                <a:cubicBezTo>
                  <a:pt x="6927" y="175"/>
                  <a:pt x="7027" y="75"/>
                  <a:pt x="7077" y="75"/>
                </a:cubicBezTo>
                <a:cubicBezTo>
                  <a:pt x="7127" y="50"/>
                  <a:pt x="6802" y="75"/>
                  <a:pt x="6751" y="25"/>
                </a:cubicBezTo>
                <a:cubicBezTo>
                  <a:pt x="6677" y="0"/>
                  <a:pt x="6627" y="99"/>
                  <a:pt x="6577" y="50"/>
                </a:cubicBezTo>
                <a:cubicBezTo>
                  <a:pt x="6527" y="0"/>
                  <a:pt x="6402" y="25"/>
                  <a:pt x="6402" y="75"/>
                </a:cubicBezTo>
                <a:cubicBezTo>
                  <a:pt x="6427" y="99"/>
                  <a:pt x="6402" y="99"/>
                  <a:pt x="6351" y="75"/>
                </a:cubicBezTo>
                <a:cubicBezTo>
                  <a:pt x="6302" y="25"/>
                  <a:pt x="6202" y="75"/>
                  <a:pt x="6102" y="50"/>
                </a:cubicBezTo>
                <a:cubicBezTo>
                  <a:pt x="6027" y="50"/>
                  <a:pt x="6051" y="125"/>
                  <a:pt x="5951" y="99"/>
                </a:cubicBezTo>
                <a:cubicBezTo>
                  <a:pt x="5877" y="50"/>
                  <a:pt x="5751" y="75"/>
                  <a:pt x="5802" y="75"/>
                </a:cubicBezTo>
                <a:cubicBezTo>
                  <a:pt x="5826" y="99"/>
                  <a:pt x="5777" y="125"/>
                  <a:pt x="5751" y="99"/>
                </a:cubicBezTo>
                <a:cubicBezTo>
                  <a:pt x="5702" y="99"/>
                  <a:pt x="5651" y="99"/>
                  <a:pt x="5677" y="150"/>
                </a:cubicBezTo>
                <a:cubicBezTo>
                  <a:pt x="5702" y="200"/>
                  <a:pt x="5526" y="150"/>
                  <a:pt x="5526" y="175"/>
                </a:cubicBezTo>
                <a:cubicBezTo>
                  <a:pt x="5526" y="225"/>
                  <a:pt x="5477" y="250"/>
                  <a:pt x="5426" y="225"/>
                </a:cubicBezTo>
                <a:cubicBezTo>
                  <a:pt x="5377" y="175"/>
                  <a:pt x="5202" y="150"/>
                  <a:pt x="5251" y="200"/>
                </a:cubicBezTo>
                <a:cubicBezTo>
                  <a:pt x="5302" y="225"/>
                  <a:pt x="5102" y="225"/>
                  <a:pt x="5151" y="250"/>
                </a:cubicBezTo>
                <a:cubicBezTo>
                  <a:pt x="5202" y="300"/>
                  <a:pt x="5102" y="325"/>
                  <a:pt x="5102" y="300"/>
                </a:cubicBezTo>
                <a:cubicBezTo>
                  <a:pt x="5102" y="275"/>
                  <a:pt x="5001" y="250"/>
                  <a:pt x="4951" y="275"/>
                </a:cubicBezTo>
                <a:cubicBezTo>
                  <a:pt x="4901" y="325"/>
                  <a:pt x="4901" y="350"/>
                  <a:pt x="4877" y="325"/>
                </a:cubicBezTo>
                <a:cubicBezTo>
                  <a:pt x="4851" y="300"/>
                  <a:pt x="4777" y="325"/>
                  <a:pt x="4677" y="350"/>
                </a:cubicBezTo>
                <a:cubicBezTo>
                  <a:pt x="4601" y="375"/>
                  <a:pt x="4701" y="400"/>
                  <a:pt x="4751" y="375"/>
                </a:cubicBezTo>
                <a:close/>
                <a:moveTo>
                  <a:pt x="5802" y="3975"/>
                </a:moveTo>
                <a:lnTo>
                  <a:pt x="5802" y="3975"/>
                </a:lnTo>
                <a:cubicBezTo>
                  <a:pt x="5826" y="3975"/>
                  <a:pt x="5877" y="3850"/>
                  <a:pt x="5802" y="3875"/>
                </a:cubicBezTo>
                <a:cubicBezTo>
                  <a:pt x="5726" y="3875"/>
                  <a:pt x="5751" y="3975"/>
                  <a:pt x="5802" y="3975"/>
                </a:cubicBezTo>
                <a:close/>
                <a:moveTo>
                  <a:pt x="5426" y="3875"/>
                </a:moveTo>
                <a:lnTo>
                  <a:pt x="5426" y="3875"/>
                </a:lnTo>
                <a:cubicBezTo>
                  <a:pt x="5502" y="3926"/>
                  <a:pt x="5602" y="3801"/>
                  <a:pt x="5602" y="3775"/>
                </a:cubicBezTo>
                <a:cubicBezTo>
                  <a:pt x="5577" y="3750"/>
                  <a:pt x="5351" y="3826"/>
                  <a:pt x="5426" y="3875"/>
                </a:cubicBezTo>
                <a:close/>
                <a:moveTo>
                  <a:pt x="5726" y="3650"/>
                </a:moveTo>
                <a:lnTo>
                  <a:pt x="5726" y="3650"/>
                </a:lnTo>
                <a:cubicBezTo>
                  <a:pt x="5751" y="3601"/>
                  <a:pt x="5602" y="3601"/>
                  <a:pt x="5602" y="3550"/>
                </a:cubicBezTo>
                <a:cubicBezTo>
                  <a:pt x="5602" y="3501"/>
                  <a:pt x="5477" y="3450"/>
                  <a:pt x="5426" y="3426"/>
                </a:cubicBezTo>
                <a:cubicBezTo>
                  <a:pt x="5377" y="3401"/>
                  <a:pt x="5302" y="3401"/>
                  <a:pt x="5302" y="3350"/>
                </a:cubicBezTo>
                <a:cubicBezTo>
                  <a:pt x="5302" y="3301"/>
                  <a:pt x="5202" y="3326"/>
                  <a:pt x="5202" y="3401"/>
                </a:cubicBezTo>
                <a:cubicBezTo>
                  <a:pt x="5202" y="3475"/>
                  <a:pt x="5151" y="3475"/>
                  <a:pt x="5177" y="3550"/>
                </a:cubicBezTo>
                <a:cubicBezTo>
                  <a:pt x="5202" y="3601"/>
                  <a:pt x="5077" y="3626"/>
                  <a:pt x="5102" y="3675"/>
                </a:cubicBezTo>
                <a:cubicBezTo>
                  <a:pt x="5102" y="3701"/>
                  <a:pt x="5151" y="3650"/>
                  <a:pt x="5202" y="3650"/>
                </a:cubicBezTo>
                <a:cubicBezTo>
                  <a:pt x="5251" y="3650"/>
                  <a:pt x="5202" y="3726"/>
                  <a:pt x="5251" y="3726"/>
                </a:cubicBezTo>
                <a:cubicBezTo>
                  <a:pt x="5302" y="3750"/>
                  <a:pt x="5402" y="3675"/>
                  <a:pt x="5426" y="3650"/>
                </a:cubicBezTo>
                <a:cubicBezTo>
                  <a:pt x="5451" y="3626"/>
                  <a:pt x="5477" y="3601"/>
                  <a:pt x="5551" y="3650"/>
                </a:cubicBezTo>
                <a:cubicBezTo>
                  <a:pt x="5602" y="3675"/>
                  <a:pt x="5726" y="3701"/>
                  <a:pt x="5726" y="3650"/>
                </a:cubicBezTo>
                <a:close/>
                <a:moveTo>
                  <a:pt x="7102" y="3275"/>
                </a:moveTo>
                <a:lnTo>
                  <a:pt x="7102" y="3275"/>
                </a:lnTo>
                <a:cubicBezTo>
                  <a:pt x="7152" y="3275"/>
                  <a:pt x="7152" y="3350"/>
                  <a:pt x="7227" y="3426"/>
                </a:cubicBezTo>
                <a:cubicBezTo>
                  <a:pt x="7302" y="3475"/>
                  <a:pt x="7327" y="3426"/>
                  <a:pt x="7327" y="3401"/>
                </a:cubicBezTo>
                <a:cubicBezTo>
                  <a:pt x="7352" y="3350"/>
                  <a:pt x="7427" y="3375"/>
                  <a:pt x="7427" y="3326"/>
                </a:cubicBezTo>
                <a:cubicBezTo>
                  <a:pt x="7427" y="3301"/>
                  <a:pt x="7502" y="3226"/>
                  <a:pt x="7552" y="3226"/>
                </a:cubicBezTo>
                <a:cubicBezTo>
                  <a:pt x="7602" y="3201"/>
                  <a:pt x="7502" y="3150"/>
                  <a:pt x="7452" y="3150"/>
                </a:cubicBezTo>
                <a:cubicBezTo>
                  <a:pt x="7377" y="3150"/>
                  <a:pt x="7352" y="3101"/>
                  <a:pt x="7352" y="3075"/>
                </a:cubicBezTo>
                <a:cubicBezTo>
                  <a:pt x="7352" y="3050"/>
                  <a:pt x="7227" y="2975"/>
                  <a:pt x="7202" y="3001"/>
                </a:cubicBezTo>
                <a:cubicBezTo>
                  <a:pt x="7152" y="3001"/>
                  <a:pt x="7077" y="2926"/>
                  <a:pt x="7027" y="2926"/>
                </a:cubicBezTo>
                <a:cubicBezTo>
                  <a:pt x="6977" y="2926"/>
                  <a:pt x="6902" y="2875"/>
                  <a:pt x="6902" y="2825"/>
                </a:cubicBezTo>
                <a:cubicBezTo>
                  <a:pt x="6902" y="2775"/>
                  <a:pt x="7002" y="2850"/>
                  <a:pt x="7027" y="2800"/>
                </a:cubicBezTo>
                <a:cubicBezTo>
                  <a:pt x="7052" y="2750"/>
                  <a:pt x="6927" y="2775"/>
                  <a:pt x="6927" y="2750"/>
                </a:cubicBezTo>
                <a:cubicBezTo>
                  <a:pt x="6927" y="2701"/>
                  <a:pt x="6952" y="2725"/>
                  <a:pt x="6977" y="2701"/>
                </a:cubicBezTo>
                <a:cubicBezTo>
                  <a:pt x="7002" y="2675"/>
                  <a:pt x="6952" y="2650"/>
                  <a:pt x="6927" y="2625"/>
                </a:cubicBezTo>
                <a:cubicBezTo>
                  <a:pt x="6902" y="2601"/>
                  <a:pt x="6902" y="2650"/>
                  <a:pt x="6852" y="2650"/>
                </a:cubicBezTo>
                <a:cubicBezTo>
                  <a:pt x="6827" y="2650"/>
                  <a:pt x="6852" y="2601"/>
                  <a:pt x="6877" y="2575"/>
                </a:cubicBezTo>
                <a:cubicBezTo>
                  <a:pt x="6902" y="2550"/>
                  <a:pt x="6777" y="2525"/>
                  <a:pt x="6727" y="2525"/>
                </a:cubicBezTo>
                <a:cubicBezTo>
                  <a:pt x="6677" y="2550"/>
                  <a:pt x="6677" y="2525"/>
                  <a:pt x="6677" y="2501"/>
                </a:cubicBezTo>
                <a:cubicBezTo>
                  <a:pt x="6677" y="2450"/>
                  <a:pt x="6577" y="2501"/>
                  <a:pt x="6551" y="2525"/>
                </a:cubicBezTo>
                <a:cubicBezTo>
                  <a:pt x="6502" y="2550"/>
                  <a:pt x="6477" y="2501"/>
                  <a:pt x="6502" y="2475"/>
                </a:cubicBezTo>
                <a:cubicBezTo>
                  <a:pt x="6551" y="2475"/>
                  <a:pt x="6602" y="2450"/>
                  <a:pt x="6602" y="2401"/>
                </a:cubicBezTo>
                <a:cubicBezTo>
                  <a:pt x="6577" y="2375"/>
                  <a:pt x="6477" y="2375"/>
                  <a:pt x="6451" y="2425"/>
                </a:cubicBezTo>
                <a:cubicBezTo>
                  <a:pt x="6427" y="2450"/>
                  <a:pt x="6351" y="2375"/>
                  <a:pt x="6351" y="2325"/>
                </a:cubicBezTo>
                <a:cubicBezTo>
                  <a:pt x="6351" y="2301"/>
                  <a:pt x="6202" y="2325"/>
                  <a:pt x="6227" y="2250"/>
                </a:cubicBezTo>
                <a:cubicBezTo>
                  <a:pt x="6251" y="2201"/>
                  <a:pt x="6077" y="2175"/>
                  <a:pt x="6027" y="2175"/>
                </a:cubicBezTo>
                <a:cubicBezTo>
                  <a:pt x="5977" y="2175"/>
                  <a:pt x="5902" y="2225"/>
                  <a:pt x="5926" y="2250"/>
                </a:cubicBezTo>
                <a:cubicBezTo>
                  <a:pt x="5926" y="2301"/>
                  <a:pt x="5877" y="2275"/>
                  <a:pt x="5851" y="2250"/>
                </a:cubicBezTo>
                <a:cubicBezTo>
                  <a:pt x="5851" y="2201"/>
                  <a:pt x="5751" y="2301"/>
                  <a:pt x="5702" y="2301"/>
                </a:cubicBezTo>
                <a:cubicBezTo>
                  <a:pt x="5677" y="2301"/>
                  <a:pt x="5726" y="2175"/>
                  <a:pt x="5702" y="2125"/>
                </a:cubicBezTo>
                <a:cubicBezTo>
                  <a:pt x="5702" y="2101"/>
                  <a:pt x="5677" y="2075"/>
                  <a:pt x="5651" y="2025"/>
                </a:cubicBezTo>
                <a:cubicBezTo>
                  <a:pt x="5626" y="1950"/>
                  <a:pt x="5502" y="1975"/>
                  <a:pt x="5451" y="2025"/>
                </a:cubicBezTo>
                <a:cubicBezTo>
                  <a:pt x="5426" y="2050"/>
                  <a:pt x="5326" y="2050"/>
                  <a:pt x="5251" y="2101"/>
                </a:cubicBezTo>
                <a:cubicBezTo>
                  <a:pt x="5202" y="2150"/>
                  <a:pt x="5277" y="2225"/>
                  <a:pt x="5302" y="2225"/>
                </a:cubicBezTo>
                <a:cubicBezTo>
                  <a:pt x="5326" y="2250"/>
                  <a:pt x="5202" y="2301"/>
                  <a:pt x="5251" y="2325"/>
                </a:cubicBezTo>
                <a:cubicBezTo>
                  <a:pt x="5277" y="2350"/>
                  <a:pt x="5326" y="2350"/>
                  <a:pt x="5351" y="2401"/>
                </a:cubicBezTo>
                <a:cubicBezTo>
                  <a:pt x="5351" y="2450"/>
                  <a:pt x="5202" y="2375"/>
                  <a:pt x="5177" y="2325"/>
                </a:cubicBezTo>
                <a:cubicBezTo>
                  <a:pt x="5151" y="2275"/>
                  <a:pt x="5202" y="2250"/>
                  <a:pt x="5151" y="2201"/>
                </a:cubicBezTo>
                <a:cubicBezTo>
                  <a:pt x="5126" y="2175"/>
                  <a:pt x="5151" y="2125"/>
                  <a:pt x="5202" y="2075"/>
                </a:cubicBezTo>
                <a:cubicBezTo>
                  <a:pt x="5277" y="2025"/>
                  <a:pt x="5302" y="2025"/>
                  <a:pt x="5302" y="2001"/>
                </a:cubicBezTo>
                <a:cubicBezTo>
                  <a:pt x="5302" y="1950"/>
                  <a:pt x="5077" y="1950"/>
                  <a:pt x="4926" y="2075"/>
                </a:cubicBezTo>
                <a:cubicBezTo>
                  <a:pt x="4801" y="2201"/>
                  <a:pt x="4851" y="2375"/>
                  <a:pt x="4851" y="2401"/>
                </a:cubicBezTo>
                <a:cubicBezTo>
                  <a:pt x="4851" y="2450"/>
                  <a:pt x="4977" y="2425"/>
                  <a:pt x="5051" y="2450"/>
                </a:cubicBezTo>
                <a:cubicBezTo>
                  <a:pt x="5126" y="2475"/>
                  <a:pt x="5077" y="2501"/>
                  <a:pt x="5026" y="2501"/>
                </a:cubicBezTo>
                <a:cubicBezTo>
                  <a:pt x="4977" y="2475"/>
                  <a:pt x="4877" y="2475"/>
                  <a:pt x="4877" y="2501"/>
                </a:cubicBezTo>
                <a:cubicBezTo>
                  <a:pt x="4901" y="2550"/>
                  <a:pt x="5001" y="2601"/>
                  <a:pt x="5077" y="2601"/>
                </a:cubicBezTo>
                <a:cubicBezTo>
                  <a:pt x="5126" y="2575"/>
                  <a:pt x="5126" y="2575"/>
                  <a:pt x="5177" y="2625"/>
                </a:cubicBezTo>
                <a:cubicBezTo>
                  <a:pt x="5202" y="2650"/>
                  <a:pt x="5277" y="2650"/>
                  <a:pt x="5351" y="2650"/>
                </a:cubicBezTo>
                <a:cubicBezTo>
                  <a:pt x="5426" y="2650"/>
                  <a:pt x="5526" y="2675"/>
                  <a:pt x="5551" y="2675"/>
                </a:cubicBezTo>
                <a:cubicBezTo>
                  <a:pt x="5602" y="2675"/>
                  <a:pt x="5651" y="2650"/>
                  <a:pt x="5651" y="2650"/>
                </a:cubicBezTo>
                <a:cubicBezTo>
                  <a:pt x="5677" y="2625"/>
                  <a:pt x="5826" y="2675"/>
                  <a:pt x="5877" y="2675"/>
                </a:cubicBezTo>
                <a:cubicBezTo>
                  <a:pt x="5926" y="2675"/>
                  <a:pt x="5877" y="2625"/>
                  <a:pt x="5851" y="2601"/>
                </a:cubicBezTo>
                <a:cubicBezTo>
                  <a:pt x="5826" y="2601"/>
                  <a:pt x="5851" y="2550"/>
                  <a:pt x="5877" y="2575"/>
                </a:cubicBezTo>
                <a:cubicBezTo>
                  <a:pt x="5926" y="2575"/>
                  <a:pt x="5977" y="2601"/>
                  <a:pt x="6002" y="2625"/>
                </a:cubicBezTo>
                <a:cubicBezTo>
                  <a:pt x="6002" y="2675"/>
                  <a:pt x="6027" y="2650"/>
                  <a:pt x="6051" y="2675"/>
                </a:cubicBezTo>
                <a:cubicBezTo>
                  <a:pt x="6051" y="2701"/>
                  <a:pt x="6177" y="2750"/>
                  <a:pt x="6177" y="2775"/>
                </a:cubicBezTo>
                <a:cubicBezTo>
                  <a:pt x="6177" y="2800"/>
                  <a:pt x="6051" y="2825"/>
                  <a:pt x="6102" y="2850"/>
                </a:cubicBezTo>
                <a:cubicBezTo>
                  <a:pt x="6127" y="2875"/>
                  <a:pt x="6177" y="2825"/>
                  <a:pt x="6227" y="2825"/>
                </a:cubicBezTo>
                <a:cubicBezTo>
                  <a:pt x="6277" y="2800"/>
                  <a:pt x="6277" y="2926"/>
                  <a:pt x="6327" y="2900"/>
                </a:cubicBezTo>
                <a:cubicBezTo>
                  <a:pt x="6377" y="2875"/>
                  <a:pt x="6427" y="2926"/>
                  <a:pt x="6477" y="3001"/>
                </a:cubicBezTo>
                <a:cubicBezTo>
                  <a:pt x="6527" y="3075"/>
                  <a:pt x="6451" y="3126"/>
                  <a:pt x="6477" y="3150"/>
                </a:cubicBezTo>
                <a:cubicBezTo>
                  <a:pt x="6477" y="3175"/>
                  <a:pt x="6577" y="3175"/>
                  <a:pt x="6627" y="3150"/>
                </a:cubicBezTo>
                <a:cubicBezTo>
                  <a:pt x="6677" y="3126"/>
                  <a:pt x="6727" y="3175"/>
                  <a:pt x="6777" y="3226"/>
                </a:cubicBezTo>
                <a:cubicBezTo>
                  <a:pt x="6802" y="3250"/>
                  <a:pt x="6602" y="3326"/>
                  <a:pt x="6627" y="3275"/>
                </a:cubicBezTo>
                <a:cubicBezTo>
                  <a:pt x="6651" y="3250"/>
                  <a:pt x="6502" y="3150"/>
                  <a:pt x="6402" y="3201"/>
                </a:cubicBezTo>
                <a:cubicBezTo>
                  <a:pt x="6277" y="3250"/>
                  <a:pt x="6351" y="3326"/>
                  <a:pt x="6377" y="3350"/>
                </a:cubicBezTo>
                <a:cubicBezTo>
                  <a:pt x="6377" y="3401"/>
                  <a:pt x="6251" y="3450"/>
                  <a:pt x="6151" y="3401"/>
                </a:cubicBezTo>
                <a:cubicBezTo>
                  <a:pt x="6027" y="3375"/>
                  <a:pt x="6077" y="3426"/>
                  <a:pt x="6027" y="3426"/>
                </a:cubicBezTo>
                <a:cubicBezTo>
                  <a:pt x="5977" y="3426"/>
                  <a:pt x="5926" y="3501"/>
                  <a:pt x="5977" y="3550"/>
                </a:cubicBezTo>
                <a:cubicBezTo>
                  <a:pt x="6002" y="3601"/>
                  <a:pt x="6102" y="3550"/>
                  <a:pt x="6177" y="3550"/>
                </a:cubicBezTo>
                <a:cubicBezTo>
                  <a:pt x="6251" y="3550"/>
                  <a:pt x="6251" y="3575"/>
                  <a:pt x="6277" y="3526"/>
                </a:cubicBezTo>
                <a:cubicBezTo>
                  <a:pt x="6277" y="3501"/>
                  <a:pt x="6351" y="3526"/>
                  <a:pt x="6402" y="3526"/>
                </a:cubicBezTo>
                <a:cubicBezTo>
                  <a:pt x="6451" y="3550"/>
                  <a:pt x="6451" y="3626"/>
                  <a:pt x="6527" y="3626"/>
                </a:cubicBezTo>
                <a:cubicBezTo>
                  <a:pt x="6577" y="3626"/>
                  <a:pt x="6527" y="3701"/>
                  <a:pt x="6577" y="3750"/>
                </a:cubicBezTo>
                <a:cubicBezTo>
                  <a:pt x="6602" y="3801"/>
                  <a:pt x="6751" y="3775"/>
                  <a:pt x="6802" y="3826"/>
                </a:cubicBezTo>
                <a:cubicBezTo>
                  <a:pt x="6852" y="3875"/>
                  <a:pt x="7052" y="3950"/>
                  <a:pt x="7077" y="3926"/>
                </a:cubicBezTo>
                <a:cubicBezTo>
                  <a:pt x="7127" y="3875"/>
                  <a:pt x="6902" y="3701"/>
                  <a:pt x="6852" y="3675"/>
                </a:cubicBezTo>
                <a:cubicBezTo>
                  <a:pt x="6777" y="3650"/>
                  <a:pt x="6902" y="3650"/>
                  <a:pt x="6977" y="3701"/>
                </a:cubicBezTo>
                <a:cubicBezTo>
                  <a:pt x="7052" y="3775"/>
                  <a:pt x="7177" y="3801"/>
                  <a:pt x="7227" y="3726"/>
                </a:cubicBezTo>
                <a:cubicBezTo>
                  <a:pt x="7302" y="3650"/>
                  <a:pt x="7177" y="3675"/>
                  <a:pt x="7177" y="3601"/>
                </a:cubicBezTo>
                <a:cubicBezTo>
                  <a:pt x="7177" y="3550"/>
                  <a:pt x="7152" y="3475"/>
                  <a:pt x="7102" y="3475"/>
                </a:cubicBezTo>
                <a:cubicBezTo>
                  <a:pt x="7027" y="3475"/>
                  <a:pt x="6877" y="3375"/>
                  <a:pt x="6927" y="3350"/>
                </a:cubicBezTo>
                <a:cubicBezTo>
                  <a:pt x="7002" y="3326"/>
                  <a:pt x="6927" y="3275"/>
                  <a:pt x="6952" y="3226"/>
                </a:cubicBezTo>
                <a:cubicBezTo>
                  <a:pt x="7002" y="3201"/>
                  <a:pt x="7052" y="3275"/>
                  <a:pt x="7102" y="3275"/>
                </a:cubicBezTo>
                <a:close/>
                <a:moveTo>
                  <a:pt x="6227" y="3075"/>
                </a:moveTo>
                <a:lnTo>
                  <a:pt x="6227" y="3075"/>
                </a:lnTo>
                <a:cubicBezTo>
                  <a:pt x="6277" y="3075"/>
                  <a:pt x="6251" y="3001"/>
                  <a:pt x="6227" y="2950"/>
                </a:cubicBezTo>
                <a:cubicBezTo>
                  <a:pt x="6202" y="2926"/>
                  <a:pt x="6151" y="2926"/>
                  <a:pt x="6102" y="2926"/>
                </a:cubicBezTo>
                <a:cubicBezTo>
                  <a:pt x="6051" y="2926"/>
                  <a:pt x="5977" y="3001"/>
                  <a:pt x="6027" y="3075"/>
                </a:cubicBezTo>
                <a:cubicBezTo>
                  <a:pt x="6077" y="3150"/>
                  <a:pt x="6177" y="3101"/>
                  <a:pt x="6227" y="3075"/>
                </a:cubicBezTo>
                <a:close/>
                <a:moveTo>
                  <a:pt x="5702" y="2001"/>
                </a:moveTo>
                <a:lnTo>
                  <a:pt x="5702" y="2001"/>
                </a:lnTo>
                <a:cubicBezTo>
                  <a:pt x="5677" y="2050"/>
                  <a:pt x="5751" y="2050"/>
                  <a:pt x="5751" y="2125"/>
                </a:cubicBezTo>
                <a:cubicBezTo>
                  <a:pt x="5751" y="2175"/>
                  <a:pt x="5826" y="2201"/>
                  <a:pt x="5902" y="2150"/>
                </a:cubicBezTo>
                <a:cubicBezTo>
                  <a:pt x="5951" y="2125"/>
                  <a:pt x="6127" y="2175"/>
                  <a:pt x="6127" y="2125"/>
                </a:cubicBezTo>
                <a:cubicBezTo>
                  <a:pt x="6127" y="2075"/>
                  <a:pt x="5951" y="2001"/>
                  <a:pt x="5877" y="2001"/>
                </a:cubicBezTo>
                <a:cubicBezTo>
                  <a:pt x="5826" y="2025"/>
                  <a:pt x="5726" y="1950"/>
                  <a:pt x="5702" y="2001"/>
                </a:cubicBezTo>
                <a:close/>
                <a:moveTo>
                  <a:pt x="7252" y="5551"/>
                </a:moveTo>
                <a:lnTo>
                  <a:pt x="7252" y="5551"/>
                </a:lnTo>
                <a:cubicBezTo>
                  <a:pt x="7277" y="5576"/>
                  <a:pt x="7502" y="5676"/>
                  <a:pt x="7527" y="5626"/>
                </a:cubicBezTo>
                <a:cubicBezTo>
                  <a:pt x="7527" y="5576"/>
                  <a:pt x="7252" y="5526"/>
                  <a:pt x="7252" y="5551"/>
                </a:cubicBezTo>
                <a:close/>
                <a:moveTo>
                  <a:pt x="8327" y="5801"/>
                </a:moveTo>
                <a:lnTo>
                  <a:pt x="8327" y="5801"/>
                </a:lnTo>
                <a:cubicBezTo>
                  <a:pt x="8302" y="5826"/>
                  <a:pt x="8277" y="5776"/>
                  <a:pt x="8302" y="5751"/>
                </a:cubicBezTo>
                <a:cubicBezTo>
                  <a:pt x="8352" y="5726"/>
                  <a:pt x="8302" y="5701"/>
                  <a:pt x="8277" y="5726"/>
                </a:cubicBezTo>
                <a:cubicBezTo>
                  <a:pt x="8227" y="5726"/>
                  <a:pt x="8252" y="5651"/>
                  <a:pt x="8277" y="5626"/>
                </a:cubicBezTo>
                <a:cubicBezTo>
                  <a:pt x="8302" y="5600"/>
                  <a:pt x="8202" y="5576"/>
                  <a:pt x="8202" y="5600"/>
                </a:cubicBezTo>
                <a:cubicBezTo>
                  <a:pt x="8202" y="5651"/>
                  <a:pt x="8127" y="5626"/>
                  <a:pt x="8127" y="5600"/>
                </a:cubicBezTo>
                <a:cubicBezTo>
                  <a:pt x="8102" y="5576"/>
                  <a:pt x="8052" y="5551"/>
                  <a:pt x="8077" y="5526"/>
                </a:cubicBezTo>
                <a:cubicBezTo>
                  <a:pt x="8102" y="5526"/>
                  <a:pt x="8002" y="5500"/>
                  <a:pt x="8002" y="5551"/>
                </a:cubicBezTo>
                <a:cubicBezTo>
                  <a:pt x="8002" y="5576"/>
                  <a:pt x="7977" y="5526"/>
                  <a:pt x="8002" y="5476"/>
                </a:cubicBezTo>
                <a:cubicBezTo>
                  <a:pt x="8052" y="5426"/>
                  <a:pt x="8052" y="5401"/>
                  <a:pt x="8077" y="5376"/>
                </a:cubicBezTo>
                <a:cubicBezTo>
                  <a:pt x="8127" y="5351"/>
                  <a:pt x="8077" y="5326"/>
                  <a:pt x="8027" y="5326"/>
                </a:cubicBezTo>
                <a:cubicBezTo>
                  <a:pt x="8002" y="5351"/>
                  <a:pt x="7877" y="5500"/>
                  <a:pt x="7877" y="5551"/>
                </a:cubicBezTo>
                <a:cubicBezTo>
                  <a:pt x="7877" y="5600"/>
                  <a:pt x="7877" y="5651"/>
                  <a:pt x="7852" y="5626"/>
                </a:cubicBezTo>
                <a:cubicBezTo>
                  <a:pt x="7802" y="5626"/>
                  <a:pt x="7752" y="5676"/>
                  <a:pt x="7777" y="5701"/>
                </a:cubicBezTo>
                <a:cubicBezTo>
                  <a:pt x="7827" y="5726"/>
                  <a:pt x="7702" y="5776"/>
                  <a:pt x="7752" y="5801"/>
                </a:cubicBezTo>
                <a:cubicBezTo>
                  <a:pt x="7802" y="5826"/>
                  <a:pt x="7852" y="5801"/>
                  <a:pt x="7902" y="5801"/>
                </a:cubicBezTo>
                <a:cubicBezTo>
                  <a:pt x="7952" y="5801"/>
                  <a:pt x="8002" y="5801"/>
                  <a:pt x="8027" y="5776"/>
                </a:cubicBezTo>
                <a:cubicBezTo>
                  <a:pt x="8077" y="5751"/>
                  <a:pt x="8077" y="5801"/>
                  <a:pt x="8127" y="5801"/>
                </a:cubicBezTo>
                <a:cubicBezTo>
                  <a:pt x="8177" y="5801"/>
                  <a:pt x="8102" y="5851"/>
                  <a:pt x="8102" y="5876"/>
                </a:cubicBezTo>
                <a:cubicBezTo>
                  <a:pt x="8102" y="5901"/>
                  <a:pt x="8152" y="5851"/>
                  <a:pt x="8177" y="5826"/>
                </a:cubicBezTo>
                <a:cubicBezTo>
                  <a:pt x="8227" y="5826"/>
                  <a:pt x="8252" y="5826"/>
                  <a:pt x="8252" y="5876"/>
                </a:cubicBezTo>
                <a:cubicBezTo>
                  <a:pt x="8227" y="5901"/>
                  <a:pt x="8327" y="5926"/>
                  <a:pt x="8352" y="5876"/>
                </a:cubicBezTo>
                <a:cubicBezTo>
                  <a:pt x="8377" y="5826"/>
                  <a:pt x="8327" y="5751"/>
                  <a:pt x="8327" y="5801"/>
                </a:cubicBezTo>
                <a:close/>
                <a:moveTo>
                  <a:pt x="776" y="5026"/>
                </a:moveTo>
                <a:lnTo>
                  <a:pt x="776" y="5026"/>
                </a:lnTo>
                <a:cubicBezTo>
                  <a:pt x="701" y="5075"/>
                  <a:pt x="901" y="5251"/>
                  <a:pt x="925" y="5226"/>
                </a:cubicBezTo>
                <a:cubicBezTo>
                  <a:pt x="950" y="5226"/>
                  <a:pt x="876" y="5126"/>
                  <a:pt x="876" y="5075"/>
                </a:cubicBezTo>
                <a:cubicBezTo>
                  <a:pt x="876" y="5026"/>
                  <a:pt x="850" y="4975"/>
                  <a:pt x="776" y="5026"/>
                </a:cubicBezTo>
                <a:close/>
                <a:moveTo>
                  <a:pt x="7652" y="5976"/>
                </a:moveTo>
                <a:lnTo>
                  <a:pt x="7652" y="5976"/>
                </a:lnTo>
                <a:cubicBezTo>
                  <a:pt x="7627" y="5976"/>
                  <a:pt x="7652" y="5926"/>
                  <a:pt x="7652" y="5901"/>
                </a:cubicBezTo>
                <a:cubicBezTo>
                  <a:pt x="7652" y="5901"/>
                  <a:pt x="7577" y="5926"/>
                  <a:pt x="7577" y="5951"/>
                </a:cubicBezTo>
                <a:cubicBezTo>
                  <a:pt x="7577" y="5976"/>
                  <a:pt x="7527" y="5976"/>
                  <a:pt x="7527" y="6001"/>
                </a:cubicBezTo>
                <a:cubicBezTo>
                  <a:pt x="7527" y="6051"/>
                  <a:pt x="7527" y="6026"/>
                  <a:pt x="7502" y="6051"/>
                </a:cubicBezTo>
                <a:cubicBezTo>
                  <a:pt x="7452" y="6051"/>
                  <a:pt x="7327" y="6051"/>
                  <a:pt x="7327" y="6026"/>
                </a:cubicBezTo>
                <a:cubicBezTo>
                  <a:pt x="7327" y="5976"/>
                  <a:pt x="7227" y="5976"/>
                  <a:pt x="7227" y="5926"/>
                </a:cubicBezTo>
                <a:cubicBezTo>
                  <a:pt x="7227" y="5901"/>
                  <a:pt x="7177" y="5876"/>
                  <a:pt x="7227" y="5826"/>
                </a:cubicBezTo>
                <a:cubicBezTo>
                  <a:pt x="7252" y="5801"/>
                  <a:pt x="7202" y="5776"/>
                  <a:pt x="7177" y="5801"/>
                </a:cubicBezTo>
                <a:cubicBezTo>
                  <a:pt x="7127" y="5826"/>
                  <a:pt x="7127" y="5776"/>
                  <a:pt x="7177" y="5776"/>
                </a:cubicBezTo>
                <a:cubicBezTo>
                  <a:pt x="7202" y="5751"/>
                  <a:pt x="7302" y="5726"/>
                  <a:pt x="7252" y="5651"/>
                </a:cubicBezTo>
                <a:cubicBezTo>
                  <a:pt x="7202" y="5551"/>
                  <a:pt x="6927" y="5676"/>
                  <a:pt x="6852" y="5701"/>
                </a:cubicBezTo>
                <a:cubicBezTo>
                  <a:pt x="6777" y="5751"/>
                  <a:pt x="6677" y="5876"/>
                  <a:pt x="6651" y="5876"/>
                </a:cubicBezTo>
                <a:cubicBezTo>
                  <a:pt x="6602" y="5876"/>
                  <a:pt x="6727" y="5826"/>
                  <a:pt x="6727" y="5801"/>
                </a:cubicBezTo>
                <a:cubicBezTo>
                  <a:pt x="6751" y="5751"/>
                  <a:pt x="6727" y="5726"/>
                  <a:pt x="6751" y="5751"/>
                </a:cubicBezTo>
                <a:cubicBezTo>
                  <a:pt x="6777" y="5751"/>
                  <a:pt x="6827" y="5651"/>
                  <a:pt x="6877" y="5626"/>
                </a:cubicBezTo>
                <a:cubicBezTo>
                  <a:pt x="6927" y="5600"/>
                  <a:pt x="6977" y="5626"/>
                  <a:pt x="6977" y="5600"/>
                </a:cubicBezTo>
                <a:cubicBezTo>
                  <a:pt x="6977" y="5576"/>
                  <a:pt x="7002" y="5551"/>
                  <a:pt x="7052" y="5500"/>
                </a:cubicBezTo>
                <a:cubicBezTo>
                  <a:pt x="7102" y="5476"/>
                  <a:pt x="7577" y="5476"/>
                  <a:pt x="7627" y="5476"/>
                </a:cubicBezTo>
                <a:cubicBezTo>
                  <a:pt x="7677" y="5476"/>
                  <a:pt x="7777" y="5426"/>
                  <a:pt x="7802" y="5376"/>
                </a:cubicBezTo>
                <a:cubicBezTo>
                  <a:pt x="7827" y="5326"/>
                  <a:pt x="7877" y="5326"/>
                  <a:pt x="7927" y="5351"/>
                </a:cubicBezTo>
                <a:cubicBezTo>
                  <a:pt x="8002" y="5351"/>
                  <a:pt x="8027" y="5275"/>
                  <a:pt x="8077" y="5251"/>
                </a:cubicBezTo>
                <a:cubicBezTo>
                  <a:pt x="8102" y="5226"/>
                  <a:pt x="8077" y="5226"/>
                  <a:pt x="8052" y="5226"/>
                </a:cubicBezTo>
                <a:cubicBezTo>
                  <a:pt x="8027" y="5226"/>
                  <a:pt x="8002" y="5201"/>
                  <a:pt x="8027" y="5201"/>
                </a:cubicBezTo>
                <a:cubicBezTo>
                  <a:pt x="8052" y="5201"/>
                  <a:pt x="8077" y="5175"/>
                  <a:pt x="8077" y="5126"/>
                </a:cubicBezTo>
                <a:cubicBezTo>
                  <a:pt x="8102" y="5101"/>
                  <a:pt x="8077" y="5126"/>
                  <a:pt x="8027" y="5075"/>
                </a:cubicBezTo>
                <a:cubicBezTo>
                  <a:pt x="8002" y="5001"/>
                  <a:pt x="7977" y="5075"/>
                  <a:pt x="7927" y="5075"/>
                </a:cubicBezTo>
                <a:cubicBezTo>
                  <a:pt x="7902" y="5075"/>
                  <a:pt x="7952" y="5026"/>
                  <a:pt x="7927" y="5001"/>
                </a:cubicBezTo>
                <a:cubicBezTo>
                  <a:pt x="7902" y="4975"/>
                  <a:pt x="7827" y="5001"/>
                  <a:pt x="7777" y="5026"/>
                </a:cubicBezTo>
                <a:cubicBezTo>
                  <a:pt x="7727" y="5075"/>
                  <a:pt x="7727" y="5026"/>
                  <a:pt x="7702" y="5075"/>
                </a:cubicBezTo>
                <a:cubicBezTo>
                  <a:pt x="7652" y="5126"/>
                  <a:pt x="7652" y="5051"/>
                  <a:pt x="7677" y="5051"/>
                </a:cubicBezTo>
                <a:cubicBezTo>
                  <a:pt x="7702" y="5026"/>
                  <a:pt x="7702" y="5051"/>
                  <a:pt x="7727" y="5026"/>
                </a:cubicBezTo>
                <a:cubicBezTo>
                  <a:pt x="7752" y="5001"/>
                  <a:pt x="7752" y="5026"/>
                  <a:pt x="7802" y="4975"/>
                </a:cubicBezTo>
                <a:cubicBezTo>
                  <a:pt x="7852" y="4951"/>
                  <a:pt x="7902" y="4975"/>
                  <a:pt x="7927" y="4951"/>
                </a:cubicBezTo>
                <a:cubicBezTo>
                  <a:pt x="7927" y="4926"/>
                  <a:pt x="7902" y="4901"/>
                  <a:pt x="7852" y="4901"/>
                </a:cubicBezTo>
                <a:cubicBezTo>
                  <a:pt x="7802" y="4901"/>
                  <a:pt x="7777" y="4851"/>
                  <a:pt x="7752" y="4851"/>
                </a:cubicBezTo>
                <a:cubicBezTo>
                  <a:pt x="7702" y="4875"/>
                  <a:pt x="7727" y="4826"/>
                  <a:pt x="7677" y="4851"/>
                </a:cubicBezTo>
                <a:cubicBezTo>
                  <a:pt x="7652" y="4875"/>
                  <a:pt x="7627" y="4851"/>
                  <a:pt x="7627" y="4801"/>
                </a:cubicBezTo>
                <a:cubicBezTo>
                  <a:pt x="7602" y="4775"/>
                  <a:pt x="7502" y="4701"/>
                  <a:pt x="7452" y="4675"/>
                </a:cubicBezTo>
                <a:cubicBezTo>
                  <a:pt x="7402" y="4675"/>
                  <a:pt x="7452" y="4626"/>
                  <a:pt x="7477" y="4651"/>
                </a:cubicBezTo>
                <a:cubicBezTo>
                  <a:pt x="7502" y="4675"/>
                  <a:pt x="7527" y="4626"/>
                  <a:pt x="7552" y="4626"/>
                </a:cubicBezTo>
                <a:cubicBezTo>
                  <a:pt x="7552" y="4601"/>
                  <a:pt x="7527" y="4575"/>
                  <a:pt x="7502" y="4575"/>
                </a:cubicBezTo>
                <a:cubicBezTo>
                  <a:pt x="7502" y="4575"/>
                  <a:pt x="7502" y="4551"/>
                  <a:pt x="7502" y="4526"/>
                </a:cubicBezTo>
                <a:cubicBezTo>
                  <a:pt x="7502" y="4501"/>
                  <a:pt x="7427" y="4475"/>
                  <a:pt x="7427" y="4451"/>
                </a:cubicBezTo>
                <a:cubicBezTo>
                  <a:pt x="7427" y="4426"/>
                  <a:pt x="7402" y="4426"/>
                  <a:pt x="7402" y="4401"/>
                </a:cubicBezTo>
                <a:cubicBezTo>
                  <a:pt x="7402" y="4375"/>
                  <a:pt x="7352" y="4351"/>
                  <a:pt x="7352" y="4326"/>
                </a:cubicBezTo>
                <a:cubicBezTo>
                  <a:pt x="7352" y="4301"/>
                  <a:pt x="7302" y="4251"/>
                  <a:pt x="7302" y="4226"/>
                </a:cubicBezTo>
                <a:cubicBezTo>
                  <a:pt x="7302" y="4200"/>
                  <a:pt x="7252" y="4175"/>
                  <a:pt x="7252" y="4151"/>
                </a:cubicBezTo>
                <a:cubicBezTo>
                  <a:pt x="7227" y="4101"/>
                  <a:pt x="7227" y="4126"/>
                  <a:pt x="7202" y="4175"/>
                </a:cubicBezTo>
                <a:cubicBezTo>
                  <a:pt x="7202" y="4226"/>
                  <a:pt x="7152" y="4226"/>
                  <a:pt x="7177" y="4226"/>
                </a:cubicBezTo>
                <a:cubicBezTo>
                  <a:pt x="7202" y="4275"/>
                  <a:pt x="7177" y="4275"/>
                  <a:pt x="7152" y="4301"/>
                </a:cubicBezTo>
                <a:cubicBezTo>
                  <a:pt x="7127" y="4326"/>
                  <a:pt x="7177" y="4351"/>
                  <a:pt x="7127" y="4351"/>
                </a:cubicBezTo>
                <a:cubicBezTo>
                  <a:pt x="7102" y="4351"/>
                  <a:pt x="7127" y="4401"/>
                  <a:pt x="7102" y="4375"/>
                </a:cubicBezTo>
                <a:cubicBezTo>
                  <a:pt x="7077" y="4351"/>
                  <a:pt x="7052" y="4351"/>
                  <a:pt x="7052" y="4401"/>
                </a:cubicBezTo>
                <a:cubicBezTo>
                  <a:pt x="7052" y="4426"/>
                  <a:pt x="6977" y="4451"/>
                  <a:pt x="6952" y="4451"/>
                </a:cubicBezTo>
                <a:cubicBezTo>
                  <a:pt x="6927" y="4451"/>
                  <a:pt x="6927" y="4375"/>
                  <a:pt x="6902" y="4401"/>
                </a:cubicBezTo>
                <a:cubicBezTo>
                  <a:pt x="6877" y="4426"/>
                  <a:pt x="6877" y="4351"/>
                  <a:pt x="6852" y="4351"/>
                </a:cubicBezTo>
                <a:cubicBezTo>
                  <a:pt x="6802" y="4351"/>
                  <a:pt x="6777" y="4351"/>
                  <a:pt x="6802" y="4326"/>
                </a:cubicBezTo>
                <a:cubicBezTo>
                  <a:pt x="6802" y="4301"/>
                  <a:pt x="6727" y="4275"/>
                  <a:pt x="6751" y="4251"/>
                </a:cubicBezTo>
                <a:cubicBezTo>
                  <a:pt x="6777" y="4251"/>
                  <a:pt x="6751" y="4200"/>
                  <a:pt x="6751" y="4151"/>
                </a:cubicBezTo>
                <a:cubicBezTo>
                  <a:pt x="6751" y="4101"/>
                  <a:pt x="6777" y="4101"/>
                  <a:pt x="6777" y="4075"/>
                </a:cubicBezTo>
                <a:cubicBezTo>
                  <a:pt x="6777" y="4050"/>
                  <a:pt x="6751" y="4050"/>
                  <a:pt x="6727" y="4075"/>
                </a:cubicBezTo>
                <a:cubicBezTo>
                  <a:pt x="6702" y="4075"/>
                  <a:pt x="6702" y="4050"/>
                  <a:pt x="6677" y="4050"/>
                </a:cubicBezTo>
                <a:cubicBezTo>
                  <a:pt x="6651" y="4050"/>
                  <a:pt x="6577" y="4050"/>
                  <a:pt x="6577" y="4001"/>
                </a:cubicBezTo>
                <a:cubicBezTo>
                  <a:pt x="6551" y="3975"/>
                  <a:pt x="6527" y="4001"/>
                  <a:pt x="6527" y="3950"/>
                </a:cubicBezTo>
                <a:cubicBezTo>
                  <a:pt x="6502" y="3926"/>
                  <a:pt x="6477" y="3950"/>
                  <a:pt x="6477" y="3926"/>
                </a:cubicBezTo>
                <a:cubicBezTo>
                  <a:pt x="6477" y="3901"/>
                  <a:pt x="6451" y="3875"/>
                  <a:pt x="6427" y="3875"/>
                </a:cubicBezTo>
                <a:cubicBezTo>
                  <a:pt x="6402" y="3875"/>
                  <a:pt x="6402" y="3850"/>
                  <a:pt x="6377" y="3850"/>
                </a:cubicBezTo>
                <a:cubicBezTo>
                  <a:pt x="6327" y="3850"/>
                  <a:pt x="6302" y="3875"/>
                  <a:pt x="6277" y="3875"/>
                </a:cubicBezTo>
                <a:cubicBezTo>
                  <a:pt x="6251" y="3901"/>
                  <a:pt x="6202" y="3850"/>
                  <a:pt x="6202" y="3875"/>
                </a:cubicBezTo>
                <a:cubicBezTo>
                  <a:pt x="6177" y="3875"/>
                  <a:pt x="6177" y="3850"/>
                  <a:pt x="6127" y="3850"/>
                </a:cubicBezTo>
                <a:cubicBezTo>
                  <a:pt x="6051" y="3826"/>
                  <a:pt x="6002" y="3826"/>
                  <a:pt x="6002" y="3850"/>
                </a:cubicBezTo>
                <a:cubicBezTo>
                  <a:pt x="5977" y="3850"/>
                  <a:pt x="5951" y="3875"/>
                  <a:pt x="5951" y="3901"/>
                </a:cubicBezTo>
                <a:cubicBezTo>
                  <a:pt x="5951" y="3950"/>
                  <a:pt x="6002" y="3950"/>
                  <a:pt x="6002" y="3975"/>
                </a:cubicBezTo>
                <a:cubicBezTo>
                  <a:pt x="6027" y="4001"/>
                  <a:pt x="6002" y="4001"/>
                  <a:pt x="5977" y="4026"/>
                </a:cubicBezTo>
                <a:cubicBezTo>
                  <a:pt x="5977" y="4050"/>
                  <a:pt x="5951" y="4050"/>
                  <a:pt x="5951" y="4075"/>
                </a:cubicBezTo>
                <a:cubicBezTo>
                  <a:pt x="5951" y="4075"/>
                  <a:pt x="5977" y="4075"/>
                  <a:pt x="5977" y="4126"/>
                </a:cubicBezTo>
                <a:cubicBezTo>
                  <a:pt x="6002" y="4151"/>
                  <a:pt x="6027" y="4151"/>
                  <a:pt x="6027" y="4200"/>
                </a:cubicBezTo>
                <a:cubicBezTo>
                  <a:pt x="6027" y="4251"/>
                  <a:pt x="6002" y="4251"/>
                  <a:pt x="5977" y="4251"/>
                </a:cubicBezTo>
                <a:cubicBezTo>
                  <a:pt x="5977" y="4251"/>
                  <a:pt x="6002" y="4275"/>
                  <a:pt x="5951" y="4301"/>
                </a:cubicBezTo>
                <a:cubicBezTo>
                  <a:pt x="5926" y="4351"/>
                  <a:pt x="5902" y="4375"/>
                  <a:pt x="5926" y="4401"/>
                </a:cubicBezTo>
                <a:cubicBezTo>
                  <a:pt x="5951" y="4426"/>
                  <a:pt x="6027" y="4451"/>
                  <a:pt x="6077" y="4526"/>
                </a:cubicBezTo>
                <a:cubicBezTo>
                  <a:pt x="6102" y="4575"/>
                  <a:pt x="6102" y="4651"/>
                  <a:pt x="6102" y="4726"/>
                </a:cubicBezTo>
                <a:cubicBezTo>
                  <a:pt x="6077" y="4775"/>
                  <a:pt x="6002" y="4801"/>
                  <a:pt x="5951" y="4851"/>
                </a:cubicBezTo>
                <a:cubicBezTo>
                  <a:pt x="5902" y="4901"/>
                  <a:pt x="5851" y="4901"/>
                  <a:pt x="5826" y="4901"/>
                </a:cubicBezTo>
                <a:cubicBezTo>
                  <a:pt x="5802" y="4901"/>
                  <a:pt x="5826" y="4951"/>
                  <a:pt x="5851" y="5001"/>
                </a:cubicBezTo>
                <a:cubicBezTo>
                  <a:pt x="5877" y="5026"/>
                  <a:pt x="5851" y="5051"/>
                  <a:pt x="5877" y="5075"/>
                </a:cubicBezTo>
                <a:cubicBezTo>
                  <a:pt x="5902" y="5126"/>
                  <a:pt x="5877" y="5151"/>
                  <a:pt x="5902" y="5201"/>
                </a:cubicBezTo>
                <a:cubicBezTo>
                  <a:pt x="5926" y="5226"/>
                  <a:pt x="5926" y="5251"/>
                  <a:pt x="5877" y="5275"/>
                </a:cubicBezTo>
                <a:cubicBezTo>
                  <a:pt x="5851" y="5301"/>
                  <a:pt x="5902" y="5301"/>
                  <a:pt x="5902" y="5326"/>
                </a:cubicBezTo>
                <a:cubicBezTo>
                  <a:pt x="5902" y="5351"/>
                  <a:pt x="5877" y="5351"/>
                  <a:pt x="5851" y="5326"/>
                </a:cubicBezTo>
                <a:cubicBezTo>
                  <a:pt x="5826" y="5301"/>
                  <a:pt x="5802" y="5351"/>
                  <a:pt x="5802" y="5376"/>
                </a:cubicBezTo>
                <a:cubicBezTo>
                  <a:pt x="5802" y="5401"/>
                  <a:pt x="5751" y="5351"/>
                  <a:pt x="5726" y="5351"/>
                </a:cubicBezTo>
                <a:cubicBezTo>
                  <a:pt x="5702" y="5351"/>
                  <a:pt x="5726" y="5326"/>
                  <a:pt x="5702" y="5275"/>
                </a:cubicBezTo>
                <a:cubicBezTo>
                  <a:pt x="5651" y="5251"/>
                  <a:pt x="5626" y="5251"/>
                  <a:pt x="5626" y="5226"/>
                </a:cubicBezTo>
                <a:cubicBezTo>
                  <a:pt x="5626" y="5201"/>
                  <a:pt x="5551" y="5175"/>
                  <a:pt x="5551" y="5126"/>
                </a:cubicBezTo>
                <a:cubicBezTo>
                  <a:pt x="5551" y="5101"/>
                  <a:pt x="5577" y="5026"/>
                  <a:pt x="5551" y="5001"/>
                </a:cubicBezTo>
                <a:cubicBezTo>
                  <a:pt x="5551" y="4975"/>
                  <a:pt x="5551" y="4951"/>
                  <a:pt x="5577" y="4926"/>
                </a:cubicBezTo>
                <a:cubicBezTo>
                  <a:pt x="5577" y="4901"/>
                  <a:pt x="5551" y="4851"/>
                  <a:pt x="5502" y="4851"/>
                </a:cubicBezTo>
                <a:cubicBezTo>
                  <a:pt x="5477" y="4851"/>
                  <a:pt x="5426" y="4851"/>
                  <a:pt x="5377" y="4851"/>
                </a:cubicBezTo>
                <a:cubicBezTo>
                  <a:pt x="5326" y="4851"/>
                  <a:pt x="5302" y="4851"/>
                  <a:pt x="5277" y="4826"/>
                </a:cubicBezTo>
                <a:cubicBezTo>
                  <a:pt x="5251" y="4826"/>
                  <a:pt x="5202" y="4775"/>
                  <a:pt x="5151" y="4775"/>
                </a:cubicBezTo>
                <a:cubicBezTo>
                  <a:pt x="5077" y="4751"/>
                  <a:pt x="5051" y="4726"/>
                  <a:pt x="5051" y="4701"/>
                </a:cubicBezTo>
                <a:cubicBezTo>
                  <a:pt x="5026" y="4675"/>
                  <a:pt x="4977" y="4675"/>
                  <a:pt x="4951" y="4651"/>
                </a:cubicBezTo>
                <a:cubicBezTo>
                  <a:pt x="4951" y="4626"/>
                  <a:pt x="4877" y="4626"/>
                  <a:pt x="4851" y="4626"/>
                </a:cubicBezTo>
                <a:cubicBezTo>
                  <a:pt x="4826" y="4626"/>
                  <a:pt x="4777" y="4575"/>
                  <a:pt x="4726" y="4575"/>
                </a:cubicBezTo>
                <a:cubicBezTo>
                  <a:pt x="4701" y="4575"/>
                  <a:pt x="4601" y="4626"/>
                  <a:pt x="4601" y="4626"/>
                </a:cubicBezTo>
                <a:cubicBezTo>
                  <a:pt x="4577" y="4626"/>
                  <a:pt x="4601" y="4575"/>
                  <a:pt x="4601" y="4575"/>
                </a:cubicBezTo>
                <a:cubicBezTo>
                  <a:pt x="4626" y="4551"/>
                  <a:pt x="4577" y="4501"/>
                  <a:pt x="4551" y="4451"/>
                </a:cubicBezTo>
                <a:cubicBezTo>
                  <a:pt x="4551" y="4401"/>
                  <a:pt x="4526" y="4375"/>
                  <a:pt x="4501" y="4375"/>
                </a:cubicBezTo>
                <a:cubicBezTo>
                  <a:pt x="4451" y="4375"/>
                  <a:pt x="4401" y="4351"/>
                  <a:pt x="4401" y="4351"/>
                </a:cubicBezTo>
                <a:cubicBezTo>
                  <a:pt x="4377" y="4326"/>
                  <a:pt x="4377" y="4226"/>
                  <a:pt x="4377" y="4175"/>
                </a:cubicBezTo>
                <a:cubicBezTo>
                  <a:pt x="4401" y="4126"/>
                  <a:pt x="4451" y="4050"/>
                  <a:pt x="4451" y="4001"/>
                </a:cubicBezTo>
                <a:cubicBezTo>
                  <a:pt x="4451" y="3975"/>
                  <a:pt x="4477" y="3975"/>
                  <a:pt x="4526" y="3950"/>
                </a:cubicBezTo>
                <a:cubicBezTo>
                  <a:pt x="4551" y="3950"/>
                  <a:pt x="4526" y="3901"/>
                  <a:pt x="4551" y="3875"/>
                </a:cubicBezTo>
                <a:cubicBezTo>
                  <a:pt x="4577" y="3875"/>
                  <a:pt x="4577" y="3875"/>
                  <a:pt x="4601" y="3850"/>
                </a:cubicBezTo>
                <a:cubicBezTo>
                  <a:pt x="4601" y="3826"/>
                  <a:pt x="4626" y="3826"/>
                  <a:pt x="4626" y="3826"/>
                </a:cubicBezTo>
                <a:cubicBezTo>
                  <a:pt x="4601" y="3801"/>
                  <a:pt x="4601" y="3775"/>
                  <a:pt x="4651" y="3775"/>
                </a:cubicBezTo>
                <a:cubicBezTo>
                  <a:pt x="4701" y="3775"/>
                  <a:pt x="4777" y="3775"/>
                  <a:pt x="4777" y="3726"/>
                </a:cubicBezTo>
                <a:cubicBezTo>
                  <a:pt x="4751" y="3675"/>
                  <a:pt x="4626" y="3701"/>
                  <a:pt x="4626" y="3675"/>
                </a:cubicBezTo>
                <a:cubicBezTo>
                  <a:pt x="4626" y="3626"/>
                  <a:pt x="4477" y="3626"/>
                  <a:pt x="4477" y="3601"/>
                </a:cubicBezTo>
                <a:cubicBezTo>
                  <a:pt x="4501" y="3575"/>
                  <a:pt x="4651" y="3626"/>
                  <a:pt x="4701" y="3650"/>
                </a:cubicBezTo>
                <a:cubicBezTo>
                  <a:pt x="4751" y="3675"/>
                  <a:pt x="4777" y="3650"/>
                  <a:pt x="4801" y="3650"/>
                </a:cubicBezTo>
                <a:cubicBezTo>
                  <a:pt x="4851" y="3650"/>
                  <a:pt x="4826" y="3601"/>
                  <a:pt x="4826" y="3575"/>
                </a:cubicBezTo>
                <a:cubicBezTo>
                  <a:pt x="4851" y="3550"/>
                  <a:pt x="4926" y="3626"/>
                  <a:pt x="4977" y="3601"/>
                </a:cubicBezTo>
                <a:cubicBezTo>
                  <a:pt x="5026" y="3601"/>
                  <a:pt x="5077" y="3501"/>
                  <a:pt x="5102" y="3475"/>
                </a:cubicBezTo>
                <a:cubicBezTo>
                  <a:pt x="5151" y="3426"/>
                  <a:pt x="5102" y="3401"/>
                  <a:pt x="5026" y="3426"/>
                </a:cubicBezTo>
                <a:cubicBezTo>
                  <a:pt x="4951" y="3426"/>
                  <a:pt x="4901" y="3401"/>
                  <a:pt x="4877" y="3375"/>
                </a:cubicBezTo>
                <a:cubicBezTo>
                  <a:pt x="4826" y="3326"/>
                  <a:pt x="4826" y="3301"/>
                  <a:pt x="4877" y="3301"/>
                </a:cubicBezTo>
                <a:cubicBezTo>
                  <a:pt x="4926" y="3326"/>
                  <a:pt x="5026" y="3401"/>
                  <a:pt x="5077" y="3401"/>
                </a:cubicBezTo>
                <a:cubicBezTo>
                  <a:pt x="5102" y="3401"/>
                  <a:pt x="5177" y="3326"/>
                  <a:pt x="5202" y="3301"/>
                </a:cubicBezTo>
                <a:cubicBezTo>
                  <a:pt x="5251" y="3275"/>
                  <a:pt x="5177" y="3275"/>
                  <a:pt x="5151" y="3250"/>
                </a:cubicBezTo>
                <a:cubicBezTo>
                  <a:pt x="5126" y="3226"/>
                  <a:pt x="5202" y="3226"/>
                  <a:pt x="5226" y="3226"/>
                </a:cubicBezTo>
                <a:cubicBezTo>
                  <a:pt x="5251" y="3226"/>
                  <a:pt x="5277" y="3250"/>
                  <a:pt x="5277" y="3250"/>
                </a:cubicBezTo>
                <a:cubicBezTo>
                  <a:pt x="5302" y="3275"/>
                  <a:pt x="5351" y="3250"/>
                  <a:pt x="5377" y="3250"/>
                </a:cubicBezTo>
                <a:cubicBezTo>
                  <a:pt x="5426" y="3250"/>
                  <a:pt x="5377" y="3201"/>
                  <a:pt x="5326" y="3175"/>
                </a:cubicBezTo>
                <a:cubicBezTo>
                  <a:pt x="5277" y="3175"/>
                  <a:pt x="5326" y="3126"/>
                  <a:pt x="5351" y="3150"/>
                </a:cubicBezTo>
                <a:cubicBezTo>
                  <a:pt x="5377" y="3175"/>
                  <a:pt x="5402" y="3175"/>
                  <a:pt x="5426" y="3226"/>
                </a:cubicBezTo>
                <a:cubicBezTo>
                  <a:pt x="5451" y="3250"/>
                  <a:pt x="5451" y="3226"/>
                  <a:pt x="5502" y="3226"/>
                </a:cubicBezTo>
                <a:cubicBezTo>
                  <a:pt x="5526" y="3201"/>
                  <a:pt x="5551" y="3175"/>
                  <a:pt x="5577" y="3150"/>
                </a:cubicBezTo>
                <a:cubicBezTo>
                  <a:pt x="5602" y="3126"/>
                  <a:pt x="5602" y="3150"/>
                  <a:pt x="5626" y="3126"/>
                </a:cubicBezTo>
                <a:cubicBezTo>
                  <a:pt x="5651" y="3075"/>
                  <a:pt x="5626" y="3050"/>
                  <a:pt x="5602" y="3026"/>
                </a:cubicBezTo>
                <a:cubicBezTo>
                  <a:pt x="5551" y="3001"/>
                  <a:pt x="5602" y="2975"/>
                  <a:pt x="5551" y="2950"/>
                </a:cubicBezTo>
                <a:cubicBezTo>
                  <a:pt x="5526" y="2926"/>
                  <a:pt x="5526" y="2900"/>
                  <a:pt x="5551" y="2900"/>
                </a:cubicBezTo>
                <a:cubicBezTo>
                  <a:pt x="5602" y="2926"/>
                  <a:pt x="5626" y="2900"/>
                  <a:pt x="5651" y="2875"/>
                </a:cubicBezTo>
                <a:cubicBezTo>
                  <a:pt x="5677" y="2850"/>
                  <a:pt x="5602" y="2850"/>
                  <a:pt x="5626" y="2825"/>
                </a:cubicBezTo>
                <a:cubicBezTo>
                  <a:pt x="5677" y="2800"/>
                  <a:pt x="5626" y="2775"/>
                  <a:pt x="5602" y="2775"/>
                </a:cubicBezTo>
                <a:cubicBezTo>
                  <a:pt x="5551" y="2775"/>
                  <a:pt x="5526" y="2750"/>
                  <a:pt x="5526" y="2725"/>
                </a:cubicBezTo>
                <a:cubicBezTo>
                  <a:pt x="5526" y="2701"/>
                  <a:pt x="5451" y="2725"/>
                  <a:pt x="5426" y="2701"/>
                </a:cubicBezTo>
                <a:cubicBezTo>
                  <a:pt x="5377" y="2675"/>
                  <a:pt x="5302" y="2675"/>
                  <a:pt x="5277" y="2675"/>
                </a:cubicBezTo>
                <a:cubicBezTo>
                  <a:pt x="5251" y="2675"/>
                  <a:pt x="5251" y="2775"/>
                  <a:pt x="5277" y="2775"/>
                </a:cubicBezTo>
                <a:cubicBezTo>
                  <a:pt x="5302" y="2775"/>
                  <a:pt x="5326" y="2800"/>
                  <a:pt x="5302" y="2825"/>
                </a:cubicBezTo>
                <a:cubicBezTo>
                  <a:pt x="5277" y="2825"/>
                  <a:pt x="5326" y="2875"/>
                  <a:pt x="5302" y="2850"/>
                </a:cubicBezTo>
                <a:cubicBezTo>
                  <a:pt x="5277" y="2850"/>
                  <a:pt x="5251" y="2850"/>
                  <a:pt x="5226" y="2900"/>
                </a:cubicBezTo>
                <a:cubicBezTo>
                  <a:pt x="5226" y="2950"/>
                  <a:pt x="5226" y="2975"/>
                  <a:pt x="5177" y="3001"/>
                </a:cubicBezTo>
                <a:cubicBezTo>
                  <a:pt x="5151" y="3026"/>
                  <a:pt x="5177" y="2926"/>
                  <a:pt x="5151" y="2950"/>
                </a:cubicBezTo>
                <a:cubicBezTo>
                  <a:pt x="5102" y="2950"/>
                  <a:pt x="5102" y="3001"/>
                  <a:pt x="5126" y="3001"/>
                </a:cubicBezTo>
                <a:cubicBezTo>
                  <a:pt x="5151" y="3026"/>
                  <a:pt x="5151" y="3050"/>
                  <a:pt x="5177" y="3075"/>
                </a:cubicBezTo>
                <a:cubicBezTo>
                  <a:pt x="5177" y="3101"/>
                  <a:pt x="5126" y="3075"/>
                  <a:pt x="5102" y="3126"/>
                </a:cubicBezTo>
                <a:cubicBezTo>
                  <a:pt x="5077" y="3150"/>
                  <a:pt x="5077" y="3101"/>
                  <a:pt x="5051" y="3075"/>
                </a:cubicBezTo>
                <a:cubicBezTo>
                  <a:pt x="5026" y="3050"/>
                  <a:pt x="4977" y="3001"/>
                  <a:pt x="4977" y="2975"/>
                </a:cubicBezTo>
                <a:cubicBezTo>
                  <a:pt x="5001" y="2950"/>
                  <a:pt x="5001" y="2950"/>
                  <a:pt x="5026" y="2926"/>
                </a:cubicBezTo>
                <a:cubicBezTo>
                  <a:pt x="5051" y="2926"/>
                  <a:pt x="5026" y="2900"/>
                  <a:pt x="5026" y="2875"/>
                </a:cubicBezTo>
                <a:cubicBezTo>
                  <a:pt x="5026" y="2825"/>
                  <a:pt x="5001" y="2850"/>
                  <a:pt x="4951" y="2800"/>
                </a:cubicBezTo>
                <a:cubicBezTo>
                  <a:pt x="4926" y="2775"/>
                  <a:pt x="4901" y="2775"/>
                  <a:pt x="4877" y="2775"/>
                </a:cubicBezTo>
                <a:cubicBezTo>
                  <a:pt x="4851" y="2800"/>
                  <a:pt x="4877" y="2850"/>
                  <a:pt x="4851" y="2850"/>
                </a:cubicBezTo>
                <a:cubicBezTo>
                  <a:pt x="4801" y="2875"/>
                  <a:pt x="4826" y="2926"/>
                  <a:pt x="4801" y="2926"/>
                </a:cubicBezTo>
                <a:cubicBezTo>
                  <a:pt x="4777" y="2926"/>
                  <a:pt x="4777" y="2825"/>
                  <a:pt x="4777" y="2825"/>
                </a:cubicBezTo>
                <a:cubicBezTo>
                  <a:pt x="4751" y="2800"/>
                  <a:pt x="4751" y="2775"/>
                  <a:pt x="4777" y="2775"/>
                </a:cubicBezTo>
                <a:cubicBezTo>
                  <a:pt x="4801" y="2775"/>
                  <a:pt x="4826" y="2750"/>
                  <a:pt x="4801" y="2750"/>
                </a:cubicBezTo>
                <a:cubicBezTo>
                  <a:pt x="4777" y="2750"/>
                  <a:pt x="4726" y="2701"/>
                  <a:pt x="4701" y="2701"/>
                </a:cubicBezTo>
                <a:cubicBezTo>
                  <a:pt x="4701" y="2701"/>
                  <a:pt x="4651" y="2725"/>
                  <a:pt x="4626" y="2725"/>
                </a:cubicBezTo>
                <a:cubicBezTo>
                  <a:pt x="4626" y="2701"/>
                  <a:pt x="4651" y="2650"/>
                  <a:pt x="4651" y="2650"/>
                </a:cubicBezTo>
                <a:cubicBezTo>
                  <a:pt x="4651" y="2625"/>
                  <a:pt x="4677" y="2650"/>
                  <a:pt x="4701" y="2625"/>
                </a:cubicBezTo>
                <a:cubicBezTo>
                  <a:pt x="4726" y="2601"/>
                  <a:pt x="4626" y="2601"/>
                  <a:pt x="4626" y="2550"/>
                </a:cubicBezTo>
                <a:cubicBezTo>
                  <a:pt x="4626" y="2525"/>
                  <a:pt x="4577" y="2525"/>
                  <a:pt x="4551" y="2501"/>
                </a:cubicBezTo>
                <a:cubicBezTo>
                  <a:pt x="4526" y="2501"/>
                  <a:pt x="4577" y="2450"/>
                  <a:pt x="4551" y="2425"/>
                </a:cubicBezTo>
                <a:cubicBezTo>
                  <a:pt x="4551" y="2401"/>
                  <a:pt x="4477" y="2325"/>
                  <a:pt x="4426" y="2350"/>
                </a:cubicBezTo>
                <a:cubicBezTo>
                  <a:pt x="4401" y="2350"/>
                  <a:pt x="4401" y="2301"/>
                  <a:pt x="4426" y="2301"/>
                </a:cubicBezTo>
                <a:cubicBezTo>
                  <a:pt x="4426" y="2301"/>
                  <a:pt x="4451" y="2301"/>
                  <a:pt x="4477" y="2250"/>
                </a:cubicBezTo>
                <a:cubicBezTo>
                  <a:pt x="4526" y="2201"/>
                  <a:pt x="4526" y="2201"/>
                  <a:pt x="4501" y="2201"/>
                </a:cubicBezTo>
                <a:cubicBezTo>
                  <a:pt x="4477" y="2175"/>
                  <a:pt x="4451" y="2150"/>
                  <a:pt x="4501" y="2150"/>
                </a:cubicBezTo>
                <a:cubicBezTo>
                  <a:pt x="4551" y="2150"/>
                  <a:pt x="4626" y="2201"/>
                  <a:pt x="4651" y="2175"/>
                </a:cubicBezTo>
                <a:cubicBezTo>
                  <a:pt x="4677" y="2150"/>
                  <a:pt x="4751" y="2025"/>
                  <a:pt x="4777" y="1975"/>
                </a:cubicBezTo>
                <a:cubicBezTo>
                  <a:pt x="4826" y="1950"/>
                  <a:pt x="4751" y="1950"/>
                  <a:pt x="4677" y="1950"/>
                </a:cubicBezTo>
                <a:cubicBezTo>
                  <a:pt x="4601" y="1950"/>
                  <a:pt x="4601" y="1925"/>
                  <a:pt x="4526" y="1901"/>
                </a:cubicBezTo>
                <a:cubicBezTo>
                  <a:pt x="4477" y="1901"/>
                  <a:pt x="4351" y="1925"/>
                  <a:pt x="4326" y="1950"/>
                </a:cubicBezTo>
                <a:cubicBezTo>
                  <a:pt x="4326" y="1950"/>
                  <a:pt x="4377" y="1975"/>
                  <a:pt x="4351" y="2001"/>
                </a:cubicBezTo>
                <a:cubicBezTo>
                  <a:pt x="4351" y="2025"/>
                  <a:pt x="4326" y="1975"/>
                  <a:pt x="4301" y="2001"/>
                </a:cubicBezTo>
                <a:cubicBezTo>
                  <a:pt x="4277" y="2001"/>
                  <a:pt x="4301" y="2025"/>
                  <a:pt x="4301" y="2101"/>
                </a:cubicBezTo>
                <a:cubicBezTo>
                  <a:pt x="4301" y="2175"/>
                  <a:pt x="4326" y="2175"/>
                  <a:pt x="4326" y="2201"/>
                </a:cubicBezTo>
                <a:cubicBezTo>
                  <a:pt x="4351" y="2225"/>
                  <a:pt x="4351" y="2275"/>
                  <a:pt x="4351" y="2325"/>
                </a:cubicBezTo>
                <a:cubicBezTo>
                  <a:pt x="4351" y="2350"/>
                  <a:pt x="4301" y="2350"/>
                  <a:pt x="4301" y="2375"/>
                </a:cubicBezTo>
                <a:cubicBezTo>
                  <a:pt x="4277" y="2375"/>
                  <a:pt x="4326" y="2401"/>
                  <a:pt x="4326" y="2425"/>
                </a:cubicBezTo>
                <a:cubicBezTo>
                  <a:pt x="4326" y="2450"/>
                  <a:pt x="4277" y="2401"/>
                  <a:pt x="4251" y="2425"/>
                </a:cubicBezTo>
                <a:cubicBezTo>
                  <a:pt x="4226" y="2425"/>
                  <a:pt x="4201" y="2501"/>
                  <a:pt x="4226" y="2525"/>
                </a:cubicBezTo>
                <a:cubicBezTo>
                  <a:pt x="4251" y="2550"/>
                  <a:pt x="4277" y="2525"/>
                  <a:pt x="4251" y="2575"/>
                </a:cubicBezTo>
                <a:cubicBezTo>
                  <a:pt x="4226" y="2601"/>
                  <a:pt x="4201" y="2625"/>
                  <a:pt x="4251" y="2675"/>
                </a:cubicBezTo>
                <a:cubicBezTo>
                  <a:pt x="4301" y="2701"/>
                  <a:pt x="4401" y="2701"/>
                  <a:pt x="4451" y="2725"/>
                </a:cubicBezTo>
                <a:cubicBezTo>
                  <a:pt x="4501" y="2775"/>
                  <a:pt x="4426" y="2750"/>
                  <a:pt x="4451" y="2775"/>
                </a:cubicBezTo>
                <a:cubicBezTo>
                  <a:pt x="4451" y="2825"/>
                  <a:pt x="4401" y="2825"/>
                  <a:pt x="4401" y="2850"/>
                </a:cubicBezTo>
                <a:cubicBezTo>
                  <a:pt x="4401" y="2875"/>
                  <a:pt x="4426" y="2875"/>
                  <a:pt x="4451" y="2825"/>
                </a:cubicBezTo>
                <a:cubicBezTo>
                  <a:pt x="4477" y="2775"/>
                  <a:pt x="4501" y="2850"/>
                  <a:pt x="4501" y="2875"/>
                </a:cubicBezTo>
                <a:cubicBezTo>
                  <a:pt x="4501" y="2926"/>
                  <a:pt x="4451" y="2900"/>
                  <a:pt x="4426" y="2926"/>
                </a:cubicBezTo>
                <a:cubicBezTo>
                  <a:pt x="4401" y="2975"/>
                  <a:pt x="4377" y="2975"/>
                  <a:pt x="4351" y="2975"/>
                </a:cubicBezTo>
                <a:cubicBezTo>
                  <a:pt x="4301" y="2975"/>
                  <a:pt x="4326" y="3026"/>
                  <a:pt x="4351" y="3075"/>
                </a:cubicBezTo>
                <a:cubicBezTo>
                  <a:pt x="4351" y="3101"/>
                  <a:pt x="4326" y="3101"/>
                  <a:pt x="4301" y="3101"/>
                </a:cubicBezTo>
                <a:cubicBezTo>
                  <a:pt x="4251" y="3075"/>
                  <a:pt x="4226" y="3050"/>
                  <a:pt x="4251" y="3026"/>
                </a:cubicBezTo>
                <a:cubicBezTo>
                  <a:pt x="4277" y="2975"/>
                  <a:pt x="4277" y="2950"/>
                  <a:pt x="4251" y="2950"/>
                </a:cubicBezTo>
                <a:cubicBezTo>
                  <a:pt x="4226" y="2950"/>
                  <a:pt x="4177" y="2950"/>
                  <a:pt x="4151" y="2926"/>
                </a:cubicBezTo>
                <a:cubicBezTo>
                  <a:pt x="4126" y="2900"/>
                  <a:pt x="4151" y="2900"/>
                  <a:pt x="4226" y="2900"/>
                </a:cubicBezTo>
                <a:cubicBezTo>
                  <a:pt x="4277" y="2926"/>
                  <a:pt x="4226" y="2875"/>
                  <a:pt x="4277" y="2875"/>
                </a:cubicBezTo>
                <a:cubicBezTo>
                  <a:pt x="4301" y="2875"/>
                  <a:pt x="4326" y="2900"/>
                  <a:pt x="4377" y="2850"/>
                </a:cubicBezTo>
                <a:cubicBezTo>
                  <a:pt x="4401" y="2825"/>
                  <a:pt x="4351" y="2775"/>
                  <a:pt x="4326" y="2775"/>
                </a:cubicBezTo>
                <a:cubicBezTo>
                  <a:pt x="4301" y="2800"/>
                  <a:pt x="4251" y="2800"/>
                  <a:pt x="4251" y="2775"/>
                </a:cubicBezTo>
                <a:cubicBezTo>
                  <a:pt x="4251" y="2750"/>
                  <a:pt x="4301" y="2775"/>
                  <a:pt x="4326" y="2750"/>
                </a:cubicBezTo>
                <a:cubicBezTo>
                  <a:pt x="4351" y="2750"/>
                  <a:pt x="4301" y="2725"/>
                  <a:pt x="4277" y="2725"/>
                </a:cubicBezTo>
                <a:cubicBezTo>
                  <a:pt x="4226" y="2725"/>
                  <a:pt x="4201" y="2750"/>
                  <a:pt x="4151" y="2701"/>
                </a:cubicBezTo>
                <a:cubicBezTo>
                  <a:pt x="4126" y="2675"/>
                  <a:pt x="4076" y="2650"/>
                  <a:pt x="4051" y="2725"/>
                </a:cubicBezTo>
                <a:cubicBezTo>
                  <a:pt x="4051" y="2800"/>
                  <a:pt x="3976" y="2775"/>
                  <a:pt x="3951" y="2800"/>
                </a:cubicBezTo>
                <a:cubicBezTo>
                  <a:pt x="3926" y="2825"/>
                  <a:pt x="3976" y="2850"/>
                  <a:pt x="4051" y="2850"/>
                </a:cubicBezTo>
                <a:cubicBezTo>
                  <a:pt x="4101" y="2850"/>
                  <a:pt x="4151" y="2900"/>
                  <a:pt x="4101" y="2900"/>
                </a:cubicBezTo>
                <a:cubicBezTo>
                  <a:pt x="4076" y="2900"/>
                  <a:pt x="4101" y="2926"/>
                  <a:pt x="4076" y="2926"/>
                </a:cubicBezTo>
                <a:cubicBezTo>
                  <a:pt x="4051" y="2900"/>
                  <a:pt x="4001" y="2926"/>
                  <a:pt x="4026" y="2950"/>
                </a:cubicBezTo>
                <a:cubicBezTo>
                  <a:pt x="4051" y="2975"/>
                  <a:pt x="4026" y="2975"/>
                  <a:pt x="4026" y="3001"/>
                </a:cubicBezTo>
                <a:cubicBezTo>
                  <a:pt x="4026" y="3026"/>
                  <a:pt x="3976" y="3001"/>
                  <a:pt x="3926" y="3001"/>
                </a:cubicBezTo>
                <a:cubicBezTo>
                  <a:pt x="3901" y="3001"/>
                  <a:pt x="3801" y="3026"/>
                  <a:pt x="3751" y="3026"/>
                </a:cubicBezTo>
                <a:cubicBezTo>
                  <a:pt x="3701" y="3050"/>
                  <a:pt x="3626" y="3026"/>
                  <a:pt x="3601" y="3001"/>
                </a:cubicBezTo>
                <a:cubicBezTo>
                  <a:pt x="3576" y="2975"/>
                  <a:pt x="3551" y="2975"/>
                  <a:pt x="3501" y="2975"/>
                </a:cubicBezTo>
                <a:cubicBezTo>
                  <a:pt x="3476" y="2975"/>
                  <a:pt x="3476" y="2926"/>
                  <a:pt x="3426" y="2926"/>
                </a:cubicBezTo>
                <a:cubicBezTo>
                  <a:pt x="3376" y="2926"/>
                  <a:pt x="3376" y="2875"/>
                  <a:pt x="3376" y="2850"/>
                </a:cubicBezTo>
                <a:cubicBezTo>
                  <a:pt x="3376" y="2825"/>
                  <a:pt x="3251" y="2825"/>
                  <a:pt x="3226" y="2850"/>
                </a:cubicBezTo>
                <a:cubicBezTo>
                  <a:pt x="3176" y="2875"/>
                  <a:pt x="3101" y="2875"/>
                  <a:pt x="3076" y="2926"/>
                </a:cubicBezTo>
                <a:cubicBezTo>
                  <a:pt x="3051" y="2975"/>
                  <a:pt x="3101" y="2950"/>
                  <a:pt x="3126" y="2950"/>
                </a:cubicBezTo>
                <a:cubicBezTo>
                  <a:pt x="3151" y="2950"/>
                  <a:pt x="3151" y="2926"/>
                  <a:pt x="3201" y="2926"/>
                </a:cubicBezTo>
                <a:cubicBezTo>
                  <a:pt x="3276" y="2926"/>
                  <a:pt x="3301" y="2875"/>
                  <a:pt x="3326" y="2900"/>
                </a:cubicBezTo>
                <a:cubicBezTo>
                  <a:pt x="3351" y="2926"/>
                  <a:pt x="3226" y="2975"/>
                  <a:pt x="3176" y="2975"/>
                </a:cubicBezTo>
                <a:cubicBezTo>
                  <a:pt x="3126" y="2975"/>
                  <a:pt x="3151" y="3026"/>
                  <a:pt x="3201" y="3101"/>
                </a:cubicBezTo>
                <a:cubicBezTo>
                  <a:pt x="3251" y="3175"/>
                  <a:pt x="3176" y="3126"/>
                  <a:pt x="3176" y="3175"/>
                </a:cubicBezTo>
                <a:cubicBezTo>
                  <a:pt x="3176" y="3201"/>
                  <a:pt x="3076" y="3150"/>
                  <a:pt x="3101" y="3150"/>
                </a:cubicBezTo>
                <a:cubicBezTo>
                  <a:pt x="3151" y="3126"/>
                  <a:pt x="3126" y="3101"/>
                  <a:pt x="3101" y="3075"/>
                </a:cubicBezTo>
                <a:cubicBezTo>
                  <a:pt x="3076" y="3050"/>
                  <a:pt x="3051" y="3075"/>
                  <a:pt x="3051" y="3050"/>
                </a:cubicBezTo>
                <a:cubicBezTo>
                  <a:pt x="3051" y="3026"/>
                  <a:pt x="3026" y="3050"/>
                  <a:pt x="3001" y="3026"/>
                </a:cubicBezTo>
                <a:cubicBezTo>
                  <a:pt x="2951" y="3001"/>
                  <a:pt x="2951" y="2975"/>
                  <a:pt x="2901" y="3001"/>
                </a:cubicBezTo>
                <a:cubicBezTo>
                  <a:pt x="2876" y="3026"/>
                  <a:pt x="2826" y="3026"/>
                  <a:pt x="2726" y="3026"/>
                </a:cubicBezTo>
                <a:cubicBezTo>
                  <a:pt x="2651" y="3050"/>
                  <a:pt x="2476" y="3050"/>
                  <a:pt x="2451" y="3026"/>
                </a:cubicBezTo>
                <a:cubicBezTo>
                  <a:pt x="2426" y="2975"/>
                  <a:pt x="2526" y="2926"/>
                  <a:pt x="2576" y="2950"/>
                </a:cubicBezTo>
                <a:cubicBezTo>
                  <a:pt x="2601" y="2950"/>
                  <a:pt x="2576" y="2900"/>
                  <a:pt x="2526" y="2875"/>
                </a:cubicBezTo>
                <a:cubicBezTo>
                  <a:pt x="2476" y="2825"/>
                  <a:pt x="2376" y="2800"/>
                  <a:pt x="2376" y="2825"/>
                </a:cubicBezTo>
                <a:cubicBezTo>
                  <a:pt x="2376" y="2850"/>
                  <a:pt x="2326" y="2825"/>
                  <a:pt x="2250" y="2825"/>
                </a:cubicBezTo>
                <a:cubicBezTo>
                  <a:pt x="2150" y="2800"/>
                  <a:pt x="2150" y="2775"/>
                  <a:pt x="2101" y="2775"/>
                </a:cubicBezTo>
                <a:cubicBezTo>
                  <a:pt x="2050" y="2775"/>
                  <a:pt x="1976" y="2750"/>
                  <a:pt x="1926" y="2725"/>
                </a:cubicBezTo>
                <a:cubicBezTo>
                  <a:pt x="1850" y="2675"/>
                  <a:pt x="1726" y="2675"/>
                  <a:pt x="1701" y="2725"/>
                </a:cubicBezTo>
                <a:cubicBezTo>
                  <a:pt x="1701" y="2775"/>
                  <a:pt x="1650" y="2750"/>
                  <a:pt x="1601" y="2750"/>
                </a:cubicBezTo>
                <a:cubicBezTo>
                  <a:pt x="1550" y="2750"/>
                  <a:pt x="1626" y="2701"/>
                  <a:pt x="1601" y="2701"/>
                </a:cubicBezTo>
                <a:cubicBezTo>
                  <a:pt x="1576" y="2701"/>
                  <a:pt x="1601" y="2625"/>
                  <a:pt x="1576" y="2625"/>
                </a:cubicBezTo>
                <a:cubicBezTo>
                  <a:pt x="1526" y="2625"/>
                  <a:pt x="1501" y="2775"/>
                  <a:pt x="1450" y="2750"/>
                </a:cubicBezTo>
                <a:cubicBezTo>
                  <a:pt x="1376" y="2750"/>
                  <a:pt x="1350" y="2601"/>
                  <a:pt x="1301" y="2575"/>
                </a:cubicBezTo>
                <a:cubicBezTo>
                  <a:pt x="1250" y="2525"/>
                  <a:pt x="1201" y="2525"/>
                  <a:pt x="1250" y="2601"/>
                </a:cubicBezTo>
                <a:cubicBezTo>
                  <a:pt x="1301" y="2650"/>
                  <a:pt x="1201" y="2601"/>
                  <a:pt x="1201" y="2650"/>
                </a:cubicBezTo>
                <a:cubicBezTo>
                  <a:pt x="1225" y="2675"/>
                  <a:pt x="1150" y="2725"/>
                  <a:pt x="1150" y="2701"/>
                </a:cubicBezTo>
                <a:cubicBezTo>
                  <a:pt x="1150" y="2675"/>
                  <a:pt x="1101" y="2650"/>
                  <a:pt x="1050" y="2725"/>
                </a:cubicBezTo>
                <a:cubicBezTo>
                  <a:pt x="1001" y="2775"/>
                  <a:pt x="976" y="2775"/>
                  <a:pt x="950" y="2750"/>
                </a:cubicBezTo>
                <a:cubicBezTo>
                  <a:pt x="950" y="2725"/>
                  <a:pt x="801" y="2800"/>
                  <a:pt x="825" y="2825"/>
                </a:cubicBezTo>
                <a:cubicBezTo>
                  <a:pt x="825" y="2850"/>
                  <a:pt x="801" y="2875"/>
                  <a:pt x="750" y="2875"/>
                </a:cubicBezTo>
                <a:cubicBezTo>
                  <a:pt x="725" y="2875"/>
                  <a:pt x="750" y="2825"/>
                  <a:pt x="776" y="2825"/>
                </a:cubicBezTo>
                <a:cubicBezTo>
                  <a:pt x="801" y="2800"/>
                  <a:pt x="901" y="2725"/>
                  <a:pt x="950" y="2725"/>
                </a:cubicBezTo>
                <a:cubicBezTo>
                  <a:pt x="1001" y="2701"/>
                  <a:pt x="1101" y="2675"/>
                  <a:pt x="1101" y="2650"/>
                </a:cubicBezTo>
                <a:cubicBezTo>
                  <a:pt x="1101" y="2625"/>
                  <a:pt x="1050" y="2650"/>
                  <a:pt x="1025" y="2625"/>
                </a:cubicBezTo>
                <a:cubicBezTo>
                  <a:pt x="1001" y="2625"/>
                  <a:pt x="925" y="2675"/>
                  <a:pt x="876" y="2701"/>
                </a:cubicBezTo>
                <a:cubicBezTo>
                  <a:pt x="825" y="2725"/>
                  <a:pt x="750" y="2701"/>
                  <a:pt x="776" y="2750"/>
                </a:cubicBezTo>
                <a:cubicBezTo>
                  <a:pt x="801" y="2775"/>
                  <a:pt x="725" y="2725"/>
                  <a:pt x="701" y="2750"/>
                </a:cubicBezTo>
                <a:cubicBezTo>
                  <a:pt x="701" y="2775"/>
                  <a:pt x="676" y="2750"/>
                  <a:pt x="676" y="2750"/>
                </a:cubicBezTo>
                <a:cubicBezTo>
                  <a:pt x="701" y="2725"/>
                  <a:pt x="625" y="2701"/>
                  <a:pt x="625" y="2725"/>
                </a:cubicBezTo>
                <a:cubicBezTo>
                  <a:pt x="625" y="2725"/>
                  <a:pt x="625" y="2750"/>
                  <a:pt x="576" y="2750"/>
                </a:cubicBezTo>
                <a:cubicBezTo>
                  <a:pt x="525" y="2750"/>
                  <a:pt x="476" y="2800"/>
                  <a:pt x="500" y="2825"/>
                </a:cubicBezTo>
                <a:cubicBezTo>
                  <a:pt x="550" y="2850"/>
                  <a:pt x="550" y="2850"/>
                  <a:pt x="550" y="2875"/>
                </a:cubicBezTo>
                <a:cubicBezTo>
                  <a:pt x="525" y="2875"/>
                  <a:pt x="476" y="2825"/>
                  <a:pt x="400" y="2825"/>
                </a:cubicBezTo>
                <a:cubicBezTo>
                  <a:pt x="325" y="2850"/>
                  <a:pt x="176" y="2750"/>
                  <a:pt x="176" y="2725"/>
                </a:cubicBezTo>
                <a:cubicBezTo>
                  <a:pt x="176" y="2701"/>
                  <a:pt x="76" y="2725"/>
                  <a:pt x="0" y="2725"/>
                </a:cubicBezTo>
                <a:cubicBezTo>
                  <a:pt x="0" y="4151"/>
                  <a:pt x="0" y="4151"/>
                  <a:pt x="0" y="4151"/>
                </a:cubicBezTo>
                <a:lnTo>
                  <a:pt x="50" y="4175"/>
                </a:lnTo>
                <a:cubicBezTo>
                  <a:pt x="76" y="4151"/>
                  <a:pt x="100" y="4175"/>
                  <a:pt x="150" y="4151"/>
                </a:cubicBezTo>
                <a:cubicBezTo>
                  <a:pt x="200" y="4126"/>
                  <a:pt x="200" y="4175"/>
                  <a:pt x="200" y="4200"/>
                </a:cubicBezTo>
                <a:cubicBezTo>
                  <a:pt x="200" y="4226"/>
                  <a:pt x="276" y="4251"/>
                  <a:pt x="300" y="4301"/>
                </a:cubicBezTo>
                <a:cubicBezTo>
                  <a:pt x="325" y="4326"/>
                  <a:pt x="350" y="4351"/>
                  <a:pt x="376" y="4351"/>
                </a:cubicBezTo>
                <a:cubicBezTo>
                  <a:pt x="400" y="4326"/>
                  <a:pt x="450" y="4301"/>
                  <a:pt x="450" y="4275"/>
                </a:cubicBezTo>
                <a:cubicBezTo>
                  <a:pt x="450" y="4226"/>
                  <a:pt x="601" y="4226"/>
                  <a:pt x="601" y="4275"/>
                </a:cubicBezTo>
                <a:cubicBezTo>
                  <a:pt x="601" y="4326"/>
                  <a:pt x="725" y="4375"/>
                  <a:pt x="801" y="4501"/>
                </a:cubicBezTo>
                <a:cubicBezTo>
                  <a:pt x="876" y="4626"/>
                  <a:pt x="850" y="4675"/>
                  <a:pt x="950" y="4701"/>
                </a:cubicBezTo>
                <a:cubicBezTo>
                  <a:pt x="1076" y="4751"/>
                  <a:pt x="1050" y="4775"/>
                  <a:pt x="1050" y="4801"/>
                </a:cubicBezTo>
                <a:cubicBezTo>
                  <a:pt x="1025" y="4851"/>
                  <a:pt x="1101" y="4851"/>
                  <a:pt x="1076" y="4901"/>
                </a:cubicBezTo>
                <a:cubicBezTo>
                  <a:pt x="1050" y="4901"/>
                  <a:pt x="1025" y="4926"/>
                  <a:pt x="1001" y="4926"/>
                </a:cubicBezTo>
                <a:cubicBezTo>
                  <a:pt x="1001" y="4951"/>
                  <a:pt x="1025" y="4975"/>
                  <a:pt x="1050" y="4975"/>
                </a:cubicBezTo>
                <a:cubicBezTo>
                  <a:pt x="1076" y="5001"/>
                  <a:pt x="1001" y="5001"/>
                  <a:pt x="1025" y="5026"/>
                </a:cubicBezTo>
                <a:cubicBezTo>
                  <a:pt x="1050" y="5051"/>
                  <a:pt x="1025" y="5075"/>
                  <a:pt x="1025" y="5101"/>
                </a:cubicBezTo>
                <a:cubicBezTo>
                  <a:pt x="1050" y="5126"/>
                  <a:pt x="1101" y="5101"/>
                  <a:pt x="1125" y="5101"/>
                </a:cubicBezTo>
                <a:cubicBezTo>
                  <a:pt x="1150" y="5075"/>
                  <a:pt x="1150" y="5126"/>
                  <a:pt x="1125" y="5151"/>
                </a:cubicBezTo>
                <a:cubicBezTo>
                  <a:pt x="1125" y="5175"/>
                  <a:pt x="1150" y="5201"/>
                  <a:pt x="1176" y="5175"/>
                </a:cubicBezTo>
                <a:cubicBezTo>
                  <a:pt x="1201" y="5151"/>
                  <a:pt x="1225" y="5226"/>
                  <a:pt x="1250" y="5226"/>
                </a:cubicBezTo>
                <a:cubicBezTo>
                  <a:pt x="1276" y="5226"/>
                  <a:pt x="1301" y="5275"/>
                  <a:pt x="1250" y="5275"/>
                </a:cubicBezTo>
                <a:cubicBezTo>
                  <a:pt x="1225" y="5275"/>
                  <a:pt x="1225" y="5326"/>
                  <a:pt x="1250" y="5326"/>
                </a:cubicBezTo>
                <a:cubicBezTo>
                  <a:pt x="1276" y="5326"/>
                  <a:pt x="1276" y="5351"/>
                  <a:pt x="1276" y="5376"/>
                </a:cubicBezTo>
                <a:cubicBezTo>
                  <a:pt x="1276" y="5401"/>
                  <a:pt x="1350" y="5426"/>
                  <a:pt x="1376" y="5401"/>
                </a:cubicBezTo>
                <a:cubicBezTo>
                  <a:pt x="1401" y="5401"/>
                  <a:pt x="1425" y="5426"/>
                  <a:pt x="1450" y="5451"/>
                </a:cubicBezTo>
                <a:cubicBezTo>
                  <a:pt x="1450" y="5476"/>
                  <a:pt x="1501" y="5500"/>
                  <a:pt x="1526" y="5476"/>
                </a:cubicBezTo>
                <a:cubicBezTo>
                  <a:pt x="1550" y="5451"/>
                  <a:pt x="1550" y="5500"/>
                  <a:pt x="1550" y="5526"/>
                </a:cubicBezTo>
                <a:cubicBezTo>
                  <a:pt x="1550" y="5551"/>
                  <a:pt x="1601" y="5551"/>
                  <a:pt x="1626" y="5551"/>
                </a:cubicBezTo>
                <a:cubicBezTo>
                  <a:pt x="1650" y="5551"/>
                  <a:pt x="1676" y="5576"/>
                  <a:pt x="1676" y="5576"/>
                </a:cubicBezTo>
                <a:cubicBezTo>
                  <a:pt x="1726" y="5551"/>
                  <a:pt x="1726" y="5626"/>
                  <a:pt x="1750" y="5651"/>
                </a:cubicBezTo>
                <a:cubicBezTo>
                  <a:pt x="4351" y="5651"/>
                  <a:pt x="4351" y="5651"/>
                  <a:pt x="4351" y="5651"/>
                </a:cubicBezTo>
                <a:cubicBezTo>
                  <a:pt x="4351" y="5651"/>
                  <a:pt x="4351" y="5576"/>
                  <a:pt x="4377" y="5600"/>
                </a:cubicBezTo>
                <a:cubicBezTo>
                  <a:pt x="4401" y="5626"/>
                  <a:pt x="4377" y="5651"/>
                  <a:pt x="4426" y="5676"/>
                </a:cubicBezTo>
                <a:cubicBezTo>
                  <a:pt x="4451" y="5676"/>
                  <a:pt x="4477" y="5701"/>
                  <a:pt x="4501" y="5701"/>
                </a:cubicBezTo>
                <a:cubicBezTo>
                  <a:pt x="4526" y="5701"/>
                  <a:pt x="4551" y="5676"/>
                  <a:pt x="4577" y="5701"/>
                </a:cubicBezTo>
                <a:cubicBezTo>
                  <a:pt x="4626" y="5751"/>
                  <a:pt x="4651" y="5701"/>
                  <a:pt x="4651" y="5726"/>
                </a:cubicBezTo>
                <a:cubicBezTo>
                  <a:pt x="4677" y="5751"/>
                  <a:pt x="4726" y="5776"/>
                  <a:pt x="4751" y="5751"/>
                </a:cubicBezTo>
                <a:cubicBezTo>
                  <a:pt x="4751" y="5726"/>
                  <a:pt x="4851" y="5751"/>
                  <a:pt x="4877" y="5776"/>
                </a:cubicBezTo>
                <a:cubicBezTo>
                  <a:pt x="4926" y="5726"/>
                  <a:pt x="4951" y="5651"/>
                  <a:pt x="5001" y="5651"/>
                </a:cubicBezTo>
                <a:cubicBezTo>
                  <a:pt x="5051" y="5651"/>
                  <a:pt x="5202" y="5676"/>
                  <a:pt x="5202" y="5726"/>
                </a:cubicBezTo>
                <a:cubicBezTo>
                  <a:pt x="5202" y="5801"/>
                  <a:pt x="5302" y="5751"/>
                  <a:pt x="5302" y="5801"/>
                </a:cubicBezTo>
                <a:cubicBezTo>
                  <a:pt x="5302" y="5851"/>
                  <a:pt x="5351" y="5901"/>
                  <a:pt x="5351" y="5926"/>
                </a:cubicBezTo>
                <a:cubicBezTo>
                  <a:pt x="5377" y="5951"/>
                  <a:pt x="5402" y="5951"/>
                  <a:pt x="5402" y="5976"/>
                </a:cubicBezTo>
                <a:cubicBezTo>
                  <a:pt x="5426" y="5976"/>
                  <a:pt x="5502" y="5976"/>
                  <a:pt x="5551" y="6001"/>
                </a:cubicBezTo>
                <a:cubicBezTo>
                  <a:pt x="5602" y="6026"/>
                  <a:pt x="5702" y="5976"/>
                  <a:pt x="5726" y="6051"/>
                </a:cubicBezTo>
                <a:cubicBezTo>
                  <a:pt x="5751" y="6101"/>
                  <a:pt x="5826" y="6151"/>
                  <a:pt x="5751" y="6176"/>
                </a:cubicBezTo>
                <a:cubicBezTo>
                  <a:pt x="5702" y="6176"/>
                  <a:pt x="5626" y="6101"/>
                  <a:pt x="5626" y="6151"/>
                </a:cubicBezTo>
                <a:cubicBezTo>
                  <a:pt x="5651" y="6176"/>
                  <a:pt x="5602" y="6151"/>
                  <a:pt x="5602" y="6226"/>
                </a:cubicBezTo>
                <a:cubicBezTo>
                  <a:pt x="5602" y="6276"/>
                  <a:pt x="5577" y="6376"/>
                  <a:pt x="5551" y="6376"/>
                </a:cubicBezTo>
                <a:lnTo>
                  <a:pt x="5551" y="6376"/>
                </a:lnTo>
                <a:cubicBezTo>
                  <a:pt x="5526" y="6401"/>
                  <a:pt x="5526" y="6426"/>
                  <a:pt x="5551" y="6451"/>
                </a:cubicBezTo>
                <a:cubicBezTo>
                  <a:pt x="5577" y="6426"/>
                  <a:pt x="5626" y="6376"/>
                  <a:pt x="5677" y="6376"/>
                </a:cubicBezTo>
                <a:cubicBezTo>
                  <a:pt x="5726" y="6376"/>
                  <a:pt x="5751" y="6426"/>
                  <a:pt x="5802" y="6401"/>
                </a:cubicBezTo>
                <a:cubicBezTo>
                  <a:pt x="5826" y="6376"/>
                  <a:pt x="5851" y="6351"/>
                  <a:pt x="5851" y="6376"/>
                </a:cubicBezTo>
                <a:lnTo>
                  <a:pt x="5851" y="6376"/>
                </a:lnTo>
                <a:cubicBezTo>
                  <a:pt x="5877" y="6376"/>
                  <a:pt x="5877" y="6376"/>
                  <a:pt x="5877" y="6351"/>
                </a:cubicBezTo>
                <a:lnTo>
                  <a:pt x="5877" y="6326"/>
                </a:lnTo>
                <a:cubicBezTo>
                  <a:pt x="5826" y="6326"/>
                  <a:pt x="5826" y="6326"/>
                  <a:pt x="5802" y="6301"/>
                </a:cubicBezTo>
                <a:cubicBezTo>
                  <a:pt x="5777" y="6251"/>
                  <a:pt x="5926" y="6226"/>
                  <a:pt x="6002" y="6226"/>
                </a:cubicBezTo>
                <a:cubicBezTo>
                  <a:pt x="6051" y="6226"/>
                  <a:pt x="6102" y="6201"/>
                  <a:pt x="6127" y="6226"/>
                </a:cubicBezTo>
                <a:cubicBezTo>
                  <a:pt x="6177" y="6176"/>
                  <a:pt x="6227" y="6126"/>
                  <a:pt x="6251" y="6126"/>
                </a:cubicBezTo>
                <a:cubicBezTo>
                  <a:pt x="6277" y="6126"/>
                  <a:pt x="6577" y="6126"/>
                  <a:pt x="6577" y="6126"/>
                </a:cubicBezTo>
                <a:cubicBezTo>
                  <a:pt x="6577" y="6126"/>
                  <a:pt x="6677" y="6051"/>
                  <a:pt x="6702" y="6001"/>
                </a:cubicBezTo>
                <a:cubicBezTo>
                  <a:pt x="6702" y="5951"/>
                  <a:pt x="6777" y="5801"/>
                  <a:pt x="6802" y="5826"/>
                </a:cubicBezTo>
                <a:cubicBezTo>
                  <a:pt x="6852" y="5851"/>
                  <a:pt x="6927" y="5851"/>
                  <a:pt x="6927" y="5876"/>
                </a:cubicBezTo>
                <a:cubicBezTo>
                  <a:pt x="6927" y="5901"/>
                  <a:pt x="6902" y="5976"/>
                  <a:pt x="7027" y="6126"/>
                </a:cubicBezTo>
                <a:cubicBezTo>
                  <a:pt x="7052" y="6101"/>
                  <a:pt x="7102" y="6076"/>
                  <a:pt x="7102" y="6076"/>
                </a:cubicBezTo>
                <a:cubicBezTo>
                  <a:pt x="7152" y="6101"/>
                  <a:pt x="7202" y="6051"/>
                  <a:pt x="7227" y="6001"/>
                </a:cubicBezTo>
                <a:cubicBezTo>
                  <a:pt x="7252" y="5976"/>
                  <a:pt x="7252" y="6026"/>
                  <a:pt x="7227" y="6051"/>
                </a:cubicBezTo>
                <a:cubicBezTo>
                  <a:pt x="7202" y="6051"/>
                  <a:pt x="7252" y="6076"/>
                  <a:pt x="7327" y="6076"/>
                </a:cubicBezTo>
                <a:cubicBezTo>
                  <a:pt x="7377" y="6076"/>
                  <a:pt x="7277" y="6101"/>
                  <a:pt x="7252" y="6101"/>
                </a:cubicBezTo>
                <a:cubicBezTo>
                  <a:pt x="7202" y="6101"/>
                  <a:pt x="7177" y="6101"/>
                  <a:pt x="7127" y="6151"/>
                </a:cubicBezTo>
                <a:cubicBezTo>
                  <a:pt x="7077" y="6226"/>
                  <a:pt x="7077" y="6226"/>
                  <a:pt x="7102" y="6276"/>
                </a:cubicBezTo>
                <a:cubicBezTo>
                  <a:pt x="7152" y="6301"/>
                  <a:pt x="7202" y="6276"/>
                  <a:pt x="7227" y="6251"/>
                </a:cubicBezTo>
                <a:cubicBezTo>
                  <a:pt x="7277" y="6201"/>
                  <a:pt x="7277" y="6176"/>
                  <a:pt x="7327" y="6176"/>
                </a:cubicBezTo>
                <a:cubicBezTo>
                  <a:pt x="7377" y="6176"/>
                  <a:pt x="7502" y="6126"/>
                  <a:pt x="7552" y="6101"/>
                </a:cubicBezTo>
                <a:cubicBezTo>
                  <a:pt x="7602" y="6101"/>
                  <a:pt x="7552" y="6076"/>
                  <a:pt x="7552" y="6051"/>
                </a:cubicBezTo>
                <a:cubicBezTo>
                  <a:pt x="7552" y="6026"/>
                  <a:pt x="7652" y="6026"/>
                  <a:pt x="7677" y="6026"/>
                </a:cubicBezTo>
                <a:cubicBezTo>
                  <a:pt x="7727" y="6001"/>
                  <a:pt x="7677" y="5976"/>
                  <a:pt x="7652" y="5976"/>
                </a:cubicBezTo>
                <a:close/>
                <a:moveTo>
                  <a:pt x="2226" y="3275"/>
                </a:moveTo>
                <a:lnTo>
                  <a:pt x="2226" y="3275"/>
                </a:lnTo>
                <a:cubicBezTo>
                  <a:pt x="2176" y="3350"/>
                  <a:pt x="2150" y="3350"/>
                  <a:pt x="2101" y="3350"/>
                </a:cubicBezTo>
                <a:cubicBezTo>
                  <a:pt x="2050" y="3326"/>
                  <a:pt x="2001" y="3350"/>
                  <a:pt x="2026" y="3375"/>
                </a:cubicBezTo>
                <a:cubicBezTo>
                  <a:pt x="2076" y="3401"/>
                  <a:pt x="2076" y="3426"/>
                  <a:pt x="2001" y="3426"/>
                </a:cubicBezTo>
                <a:cubicBezTo>
                  <a:pt x="1950" y="3450"/>
                  <a:pt x="1901" y="3501"/>
                  <a:pt x="1876" y="3475"/>
                </a:cubicBezTo>
                <a:cubicBezTo>
                  <a:pt x="1876" y="3475"/>
                  <a:pt x="1976" y="3401"/>
                  <a:pt x="1950" y="3375"/>
                </a:cubicBezTo>
                <a:cubicBezTo>
                  <a:pt x="1926" y="3350"/>
                  <a:pt x="1850" y="3401"/>
                  <a:pt x="1850" y="3426"/>
                </a:cubicBezTo>
                <a:cubicBezTo>
                  <a:pt x="1850" y="3475"/>
                  <a:pt x="1801" y="3475"/>
                  <a:pt x="1750" y="3475"/>
                </a:cubicBezTo>
                <a:cubicBezTo>
                  <a:pt x="1726" y="3450"/>
                  <a:pt x="1676" y="3426"/>
                  <a:pt x="1726" y="3426"/>
                </a:cubicBezTo>
                <a:cubicBezTo>
                  <a:pt x="1750" y="3426"/>
                  <a:pt x="1726" y="3401"/>
                  <a:pt x="1776" y="3375"/>
                </a:cubicBezTo>
                <a:cubicBezTo>
                  <a:pt x="1826" y="3350"/>
                  <a:pt x="1776" y="3326"/>
                  <a:pt x="1776" y="3326"/>
                </a:cubicBezTo>
                <a:cubicBezTo>
                  <a:pt x="1801" y="3301"/>
                  <a:pt x="1876" y="3326"/>
                  <a:pt x="1876" y="3301"/>
                </a:cubicBezTo>
                <a:cubicBezTo>
                  <a:pt x="1876" y="3275"/>
                  <a:pt x="1801" y="3250"/>
                  <a:pt x="1750" y="3250"/>
                </a:cubicBezTo>
                <a:cubicBezTo>
                  <a:pt x="1726" y="3275"/>
                  <a:pt x="1650" y="3326"/>
                  <a:pt x="1576" y="3301"/>
                </a:cubicBezTo>
                <a:cubicBezTo>
                  <a:pt x="1550" y="3275"/>
                  <a:pt x="1801" y="3250"/>
                  <a:pt x="1826" y="3226"/>
                </a:cubicBezTo>
                <a:cubicBezTo>
                  <a:pt x="1876" y="3175"/>
                  <a:pt x="2050" y="3126"/>
                  <a:pt x="2050" y="3175"/>
                </a:cubicBezTo>
                <a:cubicBezTo>
                  <a:pt x="2076" y="3201"/>
                  <a:pt x="1976" y="3226"/>
                  <a:pt x="2026" y="3250"/>
                </a:cubicBezTo>
                <a:cubicBezTo>
                  <a:pt x="2076" y="3275"/>
                  <a:pt x="2150" y="3275"/>
                  <a:pt x="2176" y="3226"/>
                </a:cubicBezTo>
                <a:cubicBezTo>
                  <a:pt x="2201" y="3201"/>
                  <a:pt x="2276" y="3201"/>
                  <a:pt x="2226" y="3275"/>
                </a:cubicBezTo>
                <a:close/>
                <a:moveTo>
                  <a:pt x="2751" y="3950"/>
                </a:moveTo>
                <a:lnTo>
                  <a:pt x="2751" y="3950"/>
                </a:lnTo>
                <a:cubicBezTo>
                  <a:pt x="2701" y="4001"/>
                  <a:pt x="2701" y="3975"/>
                  <a:pt x="2651" y="4001"/>
                </a:cubicBezTo>
                <a:cubicBezTo>
                  <a:pt x="2576" y="4001"/>
                  <a:pt x="2626" y="4050"/>
                  <a:pt x="2551" y="4075"/>
                </a:cubicBezTo>
                <a:cubicBezTo>
                  <a:pt x="2501" y="4075"/>
                  <a:pt x="2326" y="4075"/>
                  <a:pt x="2301" y="4050"/>
                </a:cubicBezTo>
                <a:cubicBezTo>
                  <a:pt x="2301" y="4026"/>
                  <a:pt x="2401" y="4026"/>
                  <a:pt x="2401" y="4001"/>
                </a:cubicBezTo>
                <a:cubicBezTo>
                  <a:pt x="2401" y="3975"/>
                  <a:pt x="2426" y="3926"/>
                  <a:pt x="2476" y="3926"/>
                </a:cubicBezTo>
                <a:cubicBezTo>
                  <a:pt x="2526" y="3926"/>
                  <a:pt x="2501" y="3875"/>
                  <a:pt x="2451" y="3850"/>
                </a:cubicBezTo>
                <a:cubicBezTo>
                  <a:pt x="2376" y="3826"/>
                  <a:pt x="2551" y="3801"/>
                  <a:pt x="2576" y="3850"/>
                </a:cubicBezTo>
                <a:cubicBezTo>
                  <a:pt x="2626" y="3901"/>
                  <a:pt x="2676" y="3926"/>
                  <a:pt x="2726" y="3901"/>
                </a:cubicBezTo>
                <a:cubicBezTo>
                  <a:pt x="2751" y="3850"/>
                  <a:pt x="2976" y="3750"/>
                  <a:pt x="2976" y="3801"/>
                </a:cubicBezTo>
                <a:cubicBezTo>
                  <a:pt x="2976" y="3850"/>
                  <a:pt x="2826" y="3901"/>
                  <a:pt x="2751" y="3950"/>
                </a:cubicBezTo>
                <a:close/>
                <a:moveTo>
                  <a:pt x="4201" y="5451"/>
                </a:moveTo>
                <a:lnTo>
                  <a:pt x="4201" y="5451"/>
                </a:lnTo>
                <a:cubicBezTo>
                  <a:pt x="4151" y="5476"/>
                  <a:pt x="4201" y="5351"/>
                  <a:pt x="4126" y="5301"/>
                </a:cubicBezTo>
                <a:cubicBezTo>
                  <a:pt x="4026" y="5251"/>
                  <a:pt x="3976" y="5151"/>
                  <a:pt x="3976" y="5075"/>
                </a:cubicBezTo>
                <a:cubicBezTo>
                  <a:pt x="3976" y="5026"/>
                  <a:pt x="4076" y="5001"/>
                  <a:pt x="4101" y="5051"/>
                </a:cubicBezTo>
                <a:cubicBezTo>
                  <a:pt x="4126" y="5101"/>
                  <a:pt x="4177" y="5251"/>
                  <a:pt x="4201" y="5326"/>
                </a:cubicBezTo>
                <a:cubicBezTo>
                  <a:pt x="4251" y="5376"/>
                  <a:pt x="4251" y="5451"/>
                  <a:pt x="4201" y="5451"/>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7" name="Freeform 124">
            <a:extLst>
              <a:ext uri="{FF2B5EF4-FFF2-40B4-BE49-F238E27FC236}">
                <a16:creationId xmlns:a16="http://schemas.microsoft.com/office/drawing/2014/main" id="{284D55DE-F100-12C5-2D87-39DF4F60B74E}"/>
              </a:ext>
            </a:extLst>
          </p:cNvPr>
          <p:cNvSpPr>
            <a:spLocks noChangeArrowheads="1"/>
          </p:cNvSpPr>
          <p:nvPr/>
        </p:nvSpPr>
        <p:spPr bwMode="auto">
          <a:xfrm>
            <a:off x="2984612" y="1964360"/>
            <a:ext cx="3054356" cy="2072800"/>
          </a:xfrm>
          <a:custGeom>
            <a:avLst/>
            <a:gdLst>
              <a:gd name="T0" fmla="*/ 3001 w 9579"/>
              <a:gd name="T1" fmla="*/ 1850 h 6502"/>
              <a:gd name="T2" fmla="*/ 2551 w 9579"/>
              <a:gd name="T3" fmla="*/ 1726 h 6502"/>
              <a:gd name="T4" fmla="*/ 1801 w 9579"/>
              <a:gd name="T5" fmla="*/ 150 h 6502"/>
              <a:gd name="T6" fmla="*/ 1201 w 9579"/>
              <a:gd name="T7" fmla="*/ 76 h 6502"/>
              <a:gd name="T8" fmla="*/ 776 w 9579"/>
              <a:gd name="T9" fmla="*/ 125 h 6502"/>
              <a:gd name="T10" fmla="*/ 200 w 9579"/>
              <a:gd name="T11" fmla="*/ 425 h 6502"/>
              <a:gd name="T12" fmla="*/ 726 w 9579"/>
              <a:gd name="T13" fmla="*/ 825 h 6502"/>
              <a:gd name="T14" fmla="*/ 226 w 9579"/>
              <a:gd name="T15" fmla="*/ 876 h 6502"/>
              <a:gd name="T16" fmla="*/ 426 w 9579"/>
              <a:gd name="T17" fmla="*/ 1125 h 6502"/>
              <a:gd name="T18" fmla="*/ 476 w 9579"/>
              <a:gd name="T19" fmla="*/ 1350 h 6502"/>
              <a:gd name="T20" fmla="*/ 276 w 9579"/>
              <a:gd name="T21" fmla="*/ 1701 h 6502"/>
              <a:gd name="T22" fmla="*/ 676 w 9579"/>
              <a:gd name="T23" fmla="*/ 1950 h 6502"/>
              <a:gd name="T24" fmla="*/ 976 w 9579"/>
              <a:gd name="T25" fmla="*/ 2150 h 6502"/>
              <a:gd name="T26" fmla="*/ 626 w 9579"/>
              <a:gd name="T27" fmla="*/ 2426 h 6502"/>
              <a:gd name="T28" fmla="*/ 1126 w 9579"/>
              <a:gd name="T29" fmla="*/ 2150 h 6502"/>
              <a:gd name="T30" fmla="*/ 1376 w 9579"/>
              <a:gd name="T31" fmla="*/ 1826 h 6502"/>
              <a:gd name="T32" fmla="*/ 1701 w 9579"/>
              <a:gd name="T33" fmla="*/ 1650 h 6502"/>
              <a:gd name="T34" fmla="*/ 1751 w 9579"/>
              <a:gd name="T35" fmla="*/ 1801 h 6502"/>
              <a:gd name="T36" fmla="*/ 2001 w 9579"/>
              <a:gd name="T37" fmla="*/ 1676 h 6502"/>
              <a:gd name="T38" fmla="*/ 2201 w 9579"/>
              <a:gd name="T39" fmla="*/ 1750 h 6502"/>
              <a:gd name="T40" fmla="*/ 2727 w 9579"/>
              <a:gd name="T41" fmla="*/ 1876 h 6502"/>
              <a:gd name="T42" fmla="*/ 3127 w 9579"/>
              <a:gd name="T43" fmla="*/ 1950 h 6502"/>
              <a:gd name="T44" fmla="*/ 3152 w 9579"/>
              <a:gd name="T45" fmla="*/ 2276 h 6502"/>
              <a:gd name="T46" fmla="*/ 3276 w 9579"/>
              <a:gd name="T47" fmla="*/ 2126 h 6502"/>
              <a:gd name="T48" fmla="*/ 3376 w 9579"/>
              <a:gd name="T49" fmla="*/ 2326 h 6502"/>
              <a:gd name="T50" fmla="*/ 3301 w 9579"/>
              <a:gd name="T51" fmla="*/ 2401 h 6502"/>
              <a:gd name="T52" fmla="*/ 3501 w 9579"/>
              <a:gd name="T53" fmla="*/ 2426 h 6502"/>
              <a:gd name="T54" fmla="*/ 76 w 9579"/>
              <a:gd name="T55" fmla="*/ 2676 h 6502"/>
              <a:gd name="T56" fmla="*/ 300 w 9579"/>
              <a:gd name="T57" fmla="*/ 2550 h 6502"/>
              <a:gd name="T58" fmla="*/ 1326 w 9579"/>
              <a:gd name="T59" fmla="*/ 2126 h 6502"/>
              <a:gd name="T60" fmla="*/ 1501 w 9579"/>
              <a:gd name="T61" fmla="*/ 2050 h 6502"/>
              <a:gd name="T62" fmla="*/ 226 w 9579"/>
              <a:gd name="T63" fmla="*/ 1750 h 6502"/>
              <a:gd name="T64" fmla="*/ 1176 w 9579"/>
              <a:gd name="T65" fmla="*/ 6350 h 6502"/>
              <a:gd name="T66" fmla="*/ 776 w 9579"/>
              <a:gd name="T67" fmla="*/ 6176 h 6502"/>
              <a:gd name="T68" fmla="*/ 926 w 9579"/>
              <a:gd name="T69" fmla="*/ 6225 h 6502"/>
              <a:gd name="T70" fmla="*/ 8802 w 9579"/>
              <a:gd name="T71" fmla="*/ 3701 h 6502"/>
              <a:gd name="T72" fmla="*/ 8402 w 9579"/>
              <a:gd name="T73" fmla="*/ 3951 h 6502"/>
              <a:gd name="T74" fmla="*/ 8053 w 9579"/>
              <a:gd name="T75" fmla="*/ 3826 h 6502"/>
              <a:gd name="T76" fmla="*/ 7653 w 9579"/>
              <a:gd name="T77" fmla="*/ 4051 h 6502"/>
              <a:gd name="T78" fmla="*/ 7902 w 9579"/>
              <a:gd name="T79" fmla="*/ 3501 h 6502"/>
              <a:gd name="T80" fmla="*/ 7302 w 9579"/>
              <a:gd name="T81" fmla="*/ 3501 h 6502"/>
              <a:gd name="T82" fmla="*/ 7128 w 9579"/>
              <a:gd name="T83" fmla="*/ 3276 h 6502"/>
              <a:gd name="T84" fmla="*/ 4327 w 9579"/>
              <a:gd name="T85" fmla="*/ 3251 h 6502"/>
              <a:gd name="T86" fmla="*/ 4101 w 9579"/>
              <a:gd name="T87" fmla="*/ 3301 h 6502"/>
              <a:gd name="T88" fmla="*/ 4177 w 9579"/>
              <a:gd name="T89" fmla="*/ 3876 h 6502"/>
              <a:gd name="T90" fmla="*/ 4327 w 9579"/>
              <a:gd name="T91" fmla="*/ 4551 h 6502"/>
              <a:gd name="T92" fmla="*/ 4727 w 9579"/>
              <a:gd name="T93" fmla="*/ 4926 h 6502"/>
              <a:gd name="T94" fmla="*/ 5677 w 9579"/>
              <a:gd name="T95" fmla="*/ 5201 h 6502"/>
              <a:gd name="T96" fmla="*/ 6152 w 9579"/>
              <a:gd name="T97" fmla="*/ 5451 h 6502"/>
              <a:gd name="T98" fmla="*/ 6652 w 9579"/>
              <a:gd name="T99" fmla="*/ 5751 h 6502"/>
              <a:gd name="T100" fmla="*/ 6928 w 9579"/>
              <a:gd name="T101" fmla="*/ 5401 h 6502"/>
              <a:gd name="T102" fmla="*/ 7252 w 9579"/>
              <a:gd name="T103" fmla="*/ 5401 h 6502"/>
              <a:gd name="T104" fmla="*/ 7502 w 9579"/>
              <a:gd name="T105" fmla="*/ 5301 h 6502"/>
              <a:gd name="T106" fmla="*/ 7977 w 9579"/>
              <a:gd name="T107" fmla="*/ 5351 h 6502"/>
              <a:gd name="T108" fmla="*/ 8277 w 9579"/>
              <a:gd name="T109" fmla="*/ 5850 h 6502"/>
              <a:gd name="T110" fmla="*/ 8377 w 9579"/>
              <a:gd name="T111" fmla="*/ 5026 h 6502"/>
              <a:gd name="T112" fmla="*/ 8702 w 9579"/>
              <a:gd name="T113" fmla="*/ 4776 h 6502"/>
              <a:gd name="T114" fmla="*/ 8653 w 9579"/>
              <a:gd name="T115" fmla="*/ 4451 h 6502"/>
              <a:gd name="T116" fmla="*/ 8753 w 9579"/>
              <a:gd name="T117" fmla="*/ 4376 h 6502"/>
              <a:gd name="T118" fmla="*/ 8928 w 9579"/>
              <a:gd name="T119" fmla="*/ 4151 h 6502"/>
              <a:gd name="T120" fmla="*/ 9253 w 9579"/>
              <a:gd name="T121" fmla="*/ 3851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79" h="6502">
                <a:moveTo>
                  <a:pt x="3601" y="2376"/>
                </a:moveTo>
                <a:lnTo>
                  <a:pt x="3601" y="2376"/>
                </a:lnTo>
                <a:cubicBezTo>
                  <a:pt x="3601" y="2350"/>
                  <a:pt x="3627" y="2326"/>
                  <a:pt x="3501" y="2276"/>
                </a:cubicBezTo>
                <a:cubicBezTo>
                  <a:pt x="3401" y="2250"/>
                  <a:pt x="3427" y="2201"/>
                  <a:pt x="3352" y="2076"/>
                </a:cubicBezTo>
                <a:cubicBezTo>
                  <a:pt x="3276" y="1950"/>
                  <a:pt x="3152" y="1901"/>
                  <a:pt x="3152" y="1850"/>
                </a:cubicBezTo>
                <a:cubicBezTo>
                  <a:pt x="3152" y="1801"/>
                  <a:pt x="3001" y="1801"/>
                  <a:pt x="3001" y="1850"/>
                </a:cubicBezTo>
                <a:cubicBezTo>
                  <a:pt x="3001" y="1876"/>
                  <a:pt x="2951" y="1901"/>
                  <a:pt x="2927" y="1926"/>
                </a:cubicBezTo>
                <a:cubicBezTo>
                  <a:pt x="2901" y="1926"/>
                  <a:pt x="2876" y="1901"/>
                  <a:pt x="2851" y="1876"/>
                </a:cubicBezTo>
                <a:cubicBezTo>
                  <a:pt x="2827" y="1826"/>
                  <a:pt x="2751" y="1801"/>
                  <a:pt x="2751" y="1775"/>
                </a:cubicBezTo>
                <a:cubicBezTo>
                  <a:pt x="2751" y="1750"/>
                  <a:pt x="2751" y="1701"/>
                  <a:pt x="2701" y="1726"/>
                </a:cubicBezTo>
                <a:cubicBezTo>
                  <a:pt x="2651" y="1750"/>
                  <a:pt x="2627" y="1726"/>
                  <a:pt x="2601" y="1750"/>
                </a:cubicBezTo>
                <a:lnTo>
                  <a:pt x="2551" y="1726"/>
                </a:lnTo>
                <a:cubicBezTo>
                  <a:pt x="2551" y="300"/>
                  <a:pt x="2551" y="300"/>
                  <a:pt x="2551" y="300"/>
                </a:cubicBezTo>
                <a:lnTo>
                  <a:pt x="2527" y="276"/>
                </a:lnTo>
                <a:cubicBezTo>
                  <a:pt x="2451" y="250"/>
                  <a:pt x="2376" y="225"/>
                  <a:pt x="2327" y="225"/>
                </a:cubicBezTo>
                <a:cubicBezTo>
                  <a:pt x="2276" y="250"/>
                  <a:pt x="2176" y="250"/>
                  <a:pt x="2151" y="225"/>
                </a:cubicBezTo>
                <a:cubicBezTo>
                  <a:pt x="2101" y="225"/>
                  <a:pt x="2051" y="200"/>
                  <a:pt x="2001" y="225"/>
                </a:cubicBezTo>
                <a:cubicBezTo>
                  <a:pt x="1926" y="225"/>
                  <a:pt x="1876" y="176"/>
                  <a:pt x="1801" y="150"/>
                </a:cubicBezTo>
                <a:cubicBezTo>
                  <a:pt x="1701" y="125"/>
                  <a:pt x="1576" y="150"/>
                  <a:pt x="1551" y="176"/>
                </a:cubicBezTo>
                <a:cubicBezTo>
                  <a:pt x="1526" y="176"/>
                  <a:pt x="1526" y="150"/>
                  <a:pt x="1501" y="150"/>
                </a:cubicBezTo>
                <a:cubicBezTo>
                  <a:pt x="1451" y="150"/>
                  <a:pt x="1476" y="125"/>
                  <a:pt x="1476" y="100"/>
                </a:cubicBezTo>
                <a:cubicBezTo>
                  <a:pt x="1451" y="76"/>
                  <a:pt x="1351" y="100"/>
                  <a:pt x="1301" y="100"/>
                </a:cubicBezTo>
                <a:cubicBezTo>
                  <a:pt x="1276" y="100"/>
                  <a:pt x="1251" y="76"/>
                  <a:pt x="1251" y="50"/>
                </a:cubicBezTo>
                <a:cubicBezTo>
                  <a:pt x="1251" y="50"/>
                  <a:pt x="1226" y="50"/>
                  <a:pt x="1201" y="76"/>
                </a:cubicBezTo>
                <a:cubicBezTo>
                  <a:pt x="1201" y="100"/>
                  <a:pt x="1151" y="100"/>
                  <a:pt x="1126" y="76"/>
                </a:cubicBezTo>
                <a:cubicBezTo>
                  <a:pt x="1126" y="76"/>
                  <a:pt x="1176" y="76"/>
                  <a:pt x="1176" y="50"/>
                </a:cubicBezTo>
                <a:cubicBezTo>
                  <a:pt x="1176" y="25"/>
                  <a:pt x="1126" y="25"/>
                  <a:pt x="1101" y="0"/>
                </a:cubicBezTo>
                <a:cubicBezTo>
                  <a:pt x="1076" y="0"/>
                  <a:pt x="1051" y="25"/>
                  <a:pt x="1001" y="76"/>
                </a:cubicBezTo>
                <a:cubicBezTo>
                  <a:pt x="951" y="100"/>
                  <a:pt x="901" y="100"/>
                  <a:pt x="851" y="100"/>
                </a:cubicBezTo>
                <a:cubicBezTo>
                  <a:pt x="801" y="100"/>
                  <a:pt x="751" y="100"/>
                  <a:pt x="776" y="125"/>
                </a:cubicBezTo>
                <a:cubicBezTo>
                  <a:pt x="776" y="150"/>
                  <a:pt x="826" y="150"/>
                  <a:pt x="776" y="176"/>
                </a:cubicBezTo>
                <a:cubicBezTo>
                  <a:pt x="751" y="200"/>
                  <a:pt x="751" y="150"/>
                  <a:pt x="726" y="176"/>
                </a:cubicBezTo>
                <a:cubicBezTo>
                  <a:pt x="676" y="200"/>
                  <a:pt x="601" y="200"/>
                  <a:pt x="576" y="200"/>
                </a:cubicBezTo>
                <a:cubicBezTo>
                  <a:pt x="551" y="200"/>
                  <a:pt x="501" y="276"/>
                  <a:pt x="476" y="276"/>
                </a:cubicBezTo>
                <a:cubicBezTo>
                  <a:pt x="451" y="300"/>
                  <a:pt x="476" y="325"/>
                  <a:pt x="426" y="375"/>
                </a:cubicBezTo>
                <a:cubicBezTo>
                  <a:pt x="376" y="450"/>
                  <a:pt x="226" y="425"/>
                  <a:pt x="200" y="425"/>
                </a:cubicBezTo>
                <a:cubicBezTo>
                  <a:pt x="151" y="425"/>
                  <a:pt x="176" y="475"/>
                  <a:pt x="176" y="501"/>
                </a:cubicBezTo>
                <a:cubicBezTo>
                  <a:pt x="151" y="525"/>
                  <a:pt x="176" y="525"/>
                  <a:pt x="276" y="550"/>
                </a:cubicBezTo>
                <a:cubicBezTo>
                  <a:pt x="351" y="576"/>
                  <a:pt x="426" y="701"/>
                  <a:pt x="426" y="725"/>
                </a:cubicBezTo>
                <a:cubicBezTo>
                  <a:pt x="426" y="750"/>
                  <a:pt x="551" y="725"/>
                  <a:pt x="576" y="725"/>
                </a:cubicBezTo>
                <a:cubicBezTo>
                  <a:pt x="626" y="725"/>
                  <a:pt x="576" y="801"/>
                  <a:pt x="626" y="801"/>
                </a:cubicBezTo>
                <a:cubicBezTo>
                  <a:pt x="651" y="825"/>
                  <a:pt x="701" y="801"/>
                  <a:pt x="726" y="825"/>
                </a:cubicBezTo>
                <a:cubicBezTo>
                  <a:pt x="726" y="850"/>
                  <a:pt x="651" y="825"/>
                  <a:pt x="601" y="850"/>
                </a:cubicBezTo>
                <a:cubicBezTo>
                  <a:pt x="551" y="901"/>
                  <a:pt x="551" y="901"/>
                  <a:pt x="526" y="876"/>
                </a:cubicBezTo>
                <a:cubicBezTo>
                  <a:pt x="501" y="850"/>
                  <a:pt x="426" y="876"/>
                  <a:pt x="400" y="876"/>
                </a:cubicBezTo>
                <a:cubicBezTo>
                  <a:pt x="376" y="876"/>
                  <a:pt x="400" y="825"/>
                  <a:pt x="400" y="825"/>
                </a:cubicBezTo>
                <a:cubicBezTo>
                  <a:pt x="400" y="801"/>
                  <a:pt x="351" y="776"/>
                  <a:pt x="276" y="825"/>
                </a:cubicBezTo>
                <a:cubicBezTo>
                  <a:pt x="226" y="850"/>
                  <a:pt x="251" y="850"/>
                  <a:pt x="226" y="876"/>
                </a:cubicBezTo>
                <a:cubicBezTo>
                  <a:pt x="226" y="901"/>
                  <a:pt x="200" y="850"/>
                  <a:pt x="151" y="876"/>
                </a:cubicBezTo>
                <a:cubicBezTo>
                  <a:pt x="100" y="901"/>
                  <a:pt x="25" y="925"/>
                  <a:pt x="25" y="950"/>
                </a:cubicBezTo>
                <a:cubicBezTo>
                  <a:pt x="0" y="976"/>
                  <a:pt x="126" y="1001"/>
                  <a:pt x="151" y="1001"/>
                </a:cubicBezTo>
                <a:cubicBezTo>
                  <a:pt x="200" y="1025"/>
                  <a:pt x="100" y="1050"/>
                  <a:pt x="151" y="1050"/>
                </a:cubicBezTo>
                <a:cubicBezTo>
                  <a:pt x="176" y="1076"/>
                  <a:pt x="151" y="1101"/>
                  <a:pt x="226" y="1125"/>
                </a:cubicBezTo>
                <a:cubicBezTo>
                  <a:pt x="276" y="1150"/>
                  <a:pt x="376" y="1125"/>
                  <a:pt x="426" y="1125"/>
                </a:cubicBezTo>
                <a:cubicBezTo>
                  <a:pt x="451" y="1125"/>
                  <a:pt x="476" y="1150"/>
                  <a:pt x="501" y="1125"/>
                </a:cubicBezTo>
                <a:cubicBezTo>
                  <a:pt x="526" y="1101"/>
                  <a:pt x="626" y="1025"/>
                  <a:pt x="676" y="1076"/>
                </a:cubicBezTo>
                <a:cubicBezTo>
                  <a:pt x="726" y="1125"/>
                  <a:pt x="626" y="1125"/>
                  <a:pt x="651" y="1150"/>
                </a:cubicBezTo>
                <a:cubicBezTo>
                  <a:pt x="676" y="1176"/>
                  <a:pt x="701" y="1225"/>
                  <a:pt x="651" y="1276"/>
                </a:cubicBezTo>
                <a:cubicBezTo>
                  <a:pt x="601" y="1301"/>
                  <a:pt x="551" y="1276"/>
                  <a:pt x="526" y="1276"/>
                </a:cubicBezTo>
                <a:cubicBezTo>
                  <a:pt x="501" y="1276"/>
                  <a:pt x="526" y="1325"/>
                  <a:pt x="476" y="1350"/>
                </a:cubicBezTo>
                <a:cubicBezTo>
                  <a:pt x="451" y="1376"/>
                  <a:pt x="426" y="1325"/>
                  <a:pt x="376" y="1325"/>
                </a:cubicBezTo>
                <a:cubicBezTo>
                  <a:pt x="326" y="1325"/>
                  <a:pt x="326" y="1376"/>
                  <a:pt x="326" y="1425"/>
                </a:cubicBezTo>
                <a:cubicBezTo>
                  <a:pt x="326" y="1450"/>
                  <a:pt x="251" y="1401"/>
                  <a:pt x="226" y="1476"/>
                </a:cubicBezTo>
                <a:cubicBezTo>
                  <a:pt x="226" y="1550"/>
                  <a:pt x="126" y="1501"/>
                  <a:pt x="200" y="1576"/>
                </a:cubicBezTo>
                <a:cubicBezTo>
                  <a:pt x="251" y="1650"/>
                  <a:pt x="226" y="1601"/>
                  <a:pt x="276" y="1625"/>
                </a:cubicBezTo>
                <a:cubicBezTo>
                  <a:pt x="326" y="1650"/>
                  <a:pt x="226" y="1701"/>
                  <a:pt x="276" y="1701"/>
                </a:cubicBezTo>
                <a:cubicBezTo>
                  <a:pt x="300" y="1726"/>
                  <a:pt x="351" y="1801"/>
                  <a:pt x="376" y="1826"/>
                </a:cubicBezTo>
                <a:cubicBezTo>
                  <a:pt x="426" y="1850"/>
                  <a:pt x="451" y="1801"/>
                  <a:pt x="501" y="1801"/>
                </a:cubicBezTo>
                <a:cubicBezTo>
                  <a:pt x="551" y="1801"/>
                  <a:pt x="526" y="1750"/>
                  <a:pt x="551" y="1775"/>
                </a:cubicBezTo>
                <a:cubicBezTo>
                  <a:pt x="576" y="1801"/>
                  <a:pt x="601" y="1850"/>
                  <a:pt x="576" y="1876"/>
                </a:cubicBezTo>
                <a:cubicBezTo>
                  <a:pt x="551" y="1901"/>
                  <a:pt x="576" y="1950"/>
                  <a:pt x="576" y="1976"/>
                </a:cubicBezTo>
                <a:cubicBezTo>
                  <a:pt x="576" y="2001"/>
                  <a:pt x="676" y="1976"/>
                  <a:pt x="676" y="1950"/>
                </a:cubicBezTo>
                <a:cubicBezTo>
                  <a:pt x="676" y="1926"/>
                  <a:pt x="751" y="1926"/>
                  <a:pt x="801" y="1976"/>
                </a:cubicBezTo>
                <a:cubicBezTo>
                  <a:pt x="851" y="2001"/>
                  <a:pt x="876" y="2026"/>
                  <a:pt x="876" y="1976"/>
                </a:cubicBezTo>
                <a:cubicBezTo>
                  <a:pt x="876" y="1950"/>
                  <a:pt x="901" y="1901"/>
                  <a:pt x="901" y="1926"/>
                </a:cubicBezTo>
                <a:cubicBezTo>
                  <a:pt x="901" y="1976"/>
                  <a:pt x="951" y="1976"/>
                  <a:pt x="1001" y="1950"/>
                </a:cubicBezTo>
                <a:cubicBezTo>
                  <a:pt x="1076" y="1926"/>
                  <a:pt x="1051" y="1950"/>
                  <a:pt x="1001" y="2001"/>
                </a:cubicBezTo>
                <a:cubicBezTo>
                  <a:pt x="951" y="2050"/>
                  <a:pt x="1001" y="2126"/>
                  <a:pt x="976" y="2150"/>
                </a:cubicBezTo>
                <a:cubicBezTo>
                  <a:pt x="951" y="2150"/>
                  <a:pt x="926" y="2226"/>
                  <a:pt x="851" y="2250"/>
                </a:cubicBezTo>
                <a:cubicBezTo>
                  <a:pt x="801" y="2250"/>
                  <a:pt x="726" y="2350"/>
                  <a:pt x="701" y="2376"/>
                </a:cubicBezTo>
                <a:cubicBezTo>
                  <a:pt x="701" y="2376"/>
                  <a:pt x="576" y="2326"/>
                  <a:pt x="551" y="2376"/>
                </a:cubicBezTo>
                <a:cubicBezTo>
                  <a:pt x="551" y="2426"/>
                  <a:pt x="476" y="2450"/>
                  <a:pt x="476" y="2476"/>
                </a:cubicBezTo>
                <a:cubicBezTo>
                  <a:pt x="501" y="2501"/>
                  <a:pt x="601" y="2450"/>
                  <a:pt x="601" y="2426"/>
                </a:cubicBezTo>
                <a:cubicBezTo>
                  <a:pt x="601" y="2401"/>
                  <a:pt x="626" y="2401"/>
                  <a:pt x="626" y="2426"/>
                </a:cubicBezTo>
                <a:cubicBezTo>
                  <a:pt x="651" y="2426"/>
                  <a:pt x="701" y="2401"/>
                  <a:pt x="701" y="2401"/>
                </a:cubicBezTo>
                <a:cubicBezTo>
                  <a:pt x="726" y="2376"/>
                  <a:pt x="751" y="2376"/>
                  <a:pt x="776" y="2376"/>
                </a:cubicBezTo>
                <a:cubicBezTo>
                  <a:pt x="801" y="2376"/>
                  <a:pt x="801" y="2350"/>
                  <a:pt x="851" y="2350"/>
                </a:cubicBezTo>
                <a:cubicBezTo>
                  <a:pt x="926" y="2350"/>
                  <a:pt x="901" y="2326"/>
                  <a:pt x="926" y="2301"/>
                </a:cubicBezTo>
                <a:cubicBezTo>
                  <a:pt x="926" y="2276"/>
                  <a:pt x="1076" y="2201"/>
                  <a:pt x="1101" y="2201"/>
                </a:cubicBezTo>
                <a:cubicBezTo>
                  <a:pt x="1126" y="2201"/>
                  <a:pt x="1101" y="2150"/>
                  <a:pt x="1126" y="2150"/>
                </a:cubicBezTo>
                <a:cubicBezTo>
                  <a:pt x="1151" y="2150"/>
                  <a:pt x="1201" y="2101"/>
                  <a:pt x="1226" y="2076"/>
                </a:cubicBezTo>
                <a:cubicBezTo>
                  <a:pt x="1276" y="2050"/>
                  <a:pt x="1276" y="2076"/>
                  <a:pt x="1301" y="2050"/>
                </a:cubicBezTo>
                <a:cubicBezTo>
                  <a:pt x="1326" y="2050"/>
                  <a:pt x="1301" y="2001"/>
                  <a:pt x="1326" y="1976"/>
                </a:cubicBezTo>
                <a:cubicBezTo>
                  <a:pt x="1351" y="1976"/>
                  <a:pt x="1376" y="1950"/>
                  <a:pt x="1376" y="1950"/>
                </a:cubicBezTo>
                <a:cubicBezTo>
                  <a:pt x="1376" y="1926"/>
                  <a:pt x="1326" y="1926"/>
                  <a:pt x="1301" y="1901"/>
                </a:cubicBezTo>
                <a:cubicBezTo>
                  <a:pt x="1301" y="1876"/>
                  <a:pt x="1351" y="1826"/>
                  <a:pt x="1376" y="1826"/>
                </a:cubicBezTo>
                <a:cubicBezTo>
                  <a:pt x="1401" y="1826"/>
                  <a:pt x="1451" y="1801"/>
                  <a:pt x="1451" y="1775"/>
                </a:cubicBezTo>
                <a:cubicBezTo>
                  <a:pt x="1451" y="1750"/>
                  <a:pt x="1476" y="1750"/>
                  <a:pt x="1501" y="1701"/>
                </a:cubicBezTo>
                <a:cubicBezTo>
                  <a:pt x="1526" y="1676"/>
                  <a:pt x="1526" y="1650"/>
                  <a:pt x="1551" y="1650"/>
                </a:cubicBezTo>
                <a:cubicBezTo>
                  <a:pt x="1576" y="1650"/>
                  <a:pt x="1601" y="1625"/>
                  <a:pt x="1651" y="1601"/>
                </a:cubicBezTo>
                <a:cubicBezTo>
                  <a:pt x="1676" y="1576"/>
                  <a:pt x="1651" y="1625"/>
                  <a:pt x="1701" y="1625"/>
                </a:cubicBezTo>
                <a:cubicBezTo>
                  <a:pt x="1751" y="1625"/>
                  <a:pt x="1751" y="1676"/>
                  <a:pt x="1701" y="1650"/>
                </a:cubicBezTo>
                <a:cubicBezTo>
                  <a:pt x="1651" y="1625"/>
                  <a:pt x="1626" y="1650"/>
                  <a:pt x="1601" y="1676"/>
                </a:cubicBezTo>
                <a:cubicBezTo>
                  <a:pt x="1551" y="1701"/>
                  <a:pt x="1601" y="1726"/>
                  <a:pt x="1551" y="1750"/>
                </a:cubicBezTo>
                <a:cubicBezTo>
                  <a:pt x="1526" y="1801"/>
                  <a:pt x="1526" y="1826"/>
                  <a:pt x="1576" y="1826"/>
                </a:cubicBezTo>
                <a:cubicBezTo>
                  <a:pt x="1601" y="1826"/>
                  <a:pt x="1576" y="1850"/>
                  <a:pt x="1526" y="1876"/>
                </a:cubicBezTo>
                <a:cubicBezTo>
                  <a:pt x="1501" y="1876"/>
                  <a:pt x="1526" y="1901"/>
                  <a:pt x="1576" y="1901"/>
                </a:cubicBezTo>
                <a:cubicBezTo>
                  <a:pt x="1626" y="1901"/>
                  <a:pt x="1701" y="1826"/>
                  <a:pt x="1751" y="1801"/>
                </a:cubicBezTo>
                <a:cubicBezTo>
                  <a:pt x="1826" y="1775"/>
                  <a:pt x="1876" y="1801"/>
                  <a:pt x="1901" y="1801"/>
                </a:cubicBezTo>
                <a:cubicBezTo>
                  <a:pt x="1901" y="1775"/>
                  <a:pt x="1876" y="1750"/>
                  <a:pt x="1901" y="1750"/>
                </a:cubicBezTo>
                <a:cubicBezTo>
                  <a:pt x="1926" y="1726"/>
                  <a:pt x="1876" y="1726"/>
                  <a:pt x="1851" y="1701"/>
                </a:cubicBezTo>
                <a:cubicBezTo>
                  <a:pt x="1851" y="1650"/>
                  <a:pt x="1876" y="1676"/>
                  <a:pt x="1876" y="1650"/>
                </a:cubicBezTo>
                <a:cubicBezTo>
                  <a:pt x="1901" y="1601"/>
                  <a:pt x="1926" y="1625"/>
                  <a:pt x="1926" y="1650"/>
                </a:cubicBezTo>
                <a:cubicBezTo>
                  <a:pt x="1951" y="1650"/>
                  <a:pt x="1976" y="1625"/>
                  <a:pt x="2001" y="1676"/>
                </a:cubicBezTo>
                <a:cubicBezTo>
                  <a:pt x="2026" y="1701"/>
                  <a:pt x="2051" y="1650"/>
                  <a:pt x="2076" y="1676"/>
                </a:cubicBezTo>
                <a:cubicBezTo>
                  <a:pt x="2101" y="1701"/>
                  <a:pt x="2076" y="1701"/>
                  <a:pt x="2026" y="1701"/>
                </a:cubicBezTo>
                <a:cubicBezTo>
                  <a:pt x="2001" y="1726"/>
                  <a:pt x="2026" y="1775"/>
                  <a:pt x="2051" y="1750"/>
                </a:cubicBezTo>
                <a:cubicBezTo>
                  <a:pt x="2076" y="1726"/>
                  <a:pt x="2101" y="1701"/>
                  <a:pt x="2126" y="1726"/>
                </a:cubicBezTo>
                <a:cubicBezTo>
                  <a:pt x="2151" y="1750"/>
                  <a:pt x="2151" y="1750"/>
                  <a:pt x="2176" y="1726"/>
                </a:cubicBezTo>
                <a:cubicBezTo>
                  <a:pt x="2201" y="1701"/>
                  <a:pt x="2201" y="1726"/>
                  <a:pt x="2201" y="1750"/>
                </a:cubicBezTo>
                <a:cubicBezTo>
                  <a:pt x="2201" y="1750"/>
                  <a:pt x="2251" y="1775"/>
                  <a:pt x="2301" y="1775"/>
                </a:cubicBezTo>
                <a:cubicBezTo>
                  <a:pt x="2376" y="1775"/>
                  <a:pt x="2476" y="1775"/>
                  <a:pt x="2501" y="1775"/>
                </a:cubicBezTo>
                <a:cubicBezTo>
                  <a:pt x="2551" y="1775"/>
                  <a:pt x="2527" y="1801"/>
                  <a:pt x="2601" y="1826"/>
                </a:cubicBezTo>
                <a:cubicBezTo>
                  <a:pt x="2651" y="1826"/>
                  <a:pt x="2676" y="1750"/>
                  <a:pt x="2701" y="1775"/>
                </a:cubicBezTo>
                <a:cubicBezTo>
                  <a:pt x="2751" y="1826"/>
                  <a:pt x="2701" y="1826"/>
                  <a:pt x="2701" y="1850"/>
                </a:cubicBezTo>
                <a:cubicBezTo>
                  <a:pt x="2676" y="1876"/>
                  <a:pt x="2701" y="1876"/>
                  <a:pt x="2727" y="1876"/>
                </a:cubicBezTo>
                <a:cubicBezTo>
                  <a:pt x="2751" y="1901"/>
                  <a:pt x="2827" y="1901"/>
                  <a:pt x="2851" y="1926"/>
                </a:cubicBezTo>
                <a:cubicBezTo>
                  <a:pt x="2876" y="1950"/>
                  <a:pt x="2901" y="2001"/>
                  <a:pt x="2951" y="2026"/>
                </a:cubicBezTo>
                <a:cubicBezTo>
                  <a:pt x="3027" y="2050"/>
                  <a:pt x="2951" y="1950"/>
                  <a:pt x="3001" y="1976"/>
                </a:cubicBezTo>
                <a:cubicBezTo>
                  <a:pt x="3051" y="2026"/>
                  <a:pt x="3051" y="1976"/>
                  <a:pt x="3076" y="2026"/>
                </a:cubicBezTo>
                <a:cubicBezTo>
                  <a:pt x="3127" y="2050"/>
                  <a:pt x="3101" y="2001"/>
                  <a:pt x="3101" y="1926"/>
                </a:cubicBezTo>
                <a:cubicBezTo>
                  <a:pt x="3076" y="1876"/>
                  <a:pt x="3101" y="1926"/>
                  <a:pt x="3127" y="1950"/>
                </a:cubicBezTo>
                <a:cubicBezTo>
                  <a:pt x="3152" y="1976"/>
                  <a:pt x="3152" y="2026"/>
                  <a:pt x="3127" y="2076"/>
                </a:cubicBezTo>
                <a:cubicBezTo>
                  <a:pt x="3127" y="2101"/>
                  <a:pt x="3051" y="2076"/>
                  <a:pt x="3076" y="2050"/>
                </a:cubicBezTo>
                <a:cubicBezTo>
                  <a:pt x="3076" y="2026"/>
                  <a:pt x="3001" y="2050"/>
                  <a:pt x="3001" y="2076"/>
                </a:cubicBezTo>
                <a:cubicBezTo>
                  <a:pt x="3001" y="2101"/>
                  <a:pt x="3051" y="2150"/>
                  <a:pt x="3076" y="2150"/>
                </a:cubicBezTo>
                <a:cubicBezTo>
                  <a:pt x="3127" y="2176"/>
                  <a:pt x="3101" y="2226"/>
                  <a:pt x="3101" y="2226"/>
                </a:cubicBezTo>
                <a:cubicBezTo>
                  <a:pt x="3152" y="2226"/>
                  <a:pt x="3127" y="2301"/>
                  <a:pt x="3152" y="2276"/>
                </a:cubicBezTo>
                <a:cubicBezTo>
                  <a:pt x="3176" y="2276"/>
                  <a:pt x="3176" y="2201"/>
                  <a:pt x="3152" y="2176"/>
                </a:cubicBezTo>
                <a:cubicBezTo>
                  <a:pt x="3127" y="2150"/>
                  <a:pt x="3127" y="2101"/>
                  <a:pt x="3152" y="2126"/>
                </a:cubicBezTo>
                <a:cubicBezTo>
                  <a:pt x="3176" y="2126"/>
                  <a:pt x="3152" y="2176"/>
                  <a:pt x="3176" y="2176"/>
                </a:cubicBezTo>
                <a:cubicBezTo>
                  <a:pt x="3176" y="2201"/>
                  <a:pt x="3201" y="2176"/>
                  <a:pt x="3227" y="2150"/>
                </a:cubicBezTo>
                <a:cubicBezTo>
                  <a:pt x="3252" y="2126"/>
                  <a:pt x="3227" y="2076"/>
                  <a:pt x="3227" y="2050"/>
                </a:cubicBezTo>
                <a:cubicBezTo>
                  <a:pt x="3227" y="2026"/>
                  <a:pt x="3276" y="2076"/>
                  <a:pt x="3276" y="2126"/>
                </a:cubicBezTo>
                <a:cubicBezTo>
                  <a:pt x="3301" y="2176"/>
                  <a:pt x="3252" y="2176"/>
                  <a:pt x="3252" y="2201"/>
                </a:cubicBezTo>
                <a:cubicBezTo>
                  <a:pt x="3252" y="2226"/>
                  <a:pt x="3201" y="2201"/>
                  <a:pt x="3201" y="2226"/>
                </a:cubicBezTo>
                <a:cubicBezTo>
                  <a:pt x="3176" y="2226"/>
                  <a:pt x="3201" y="2301"/>
                  <a:pt x="3201" y="2326"/>
                </a:cubicBezTo>
                <a:cubicBezTo>
                  <a:pt x="3227" y="2326"/>
                  <a:pt x="3227" y="2250"/>
                  <a:pt x="3252" y="2276"/>
                </a:cubicBezTo>
                <a:cubicBezTo>
                  <a:pt x="3252" y="2326"/>
                  <a:pt x="3301" y="2226"/>
                  <a:pt x="3301" y="2276"/>
                </a:cubicBezTo>
                <a:cubicBezTo>
                  <a:pt x="3327" y="2301"/>
                  <a:pt x="3376" y="2350"/>
                  <a:pt x="3376" y="2326"/>
                </a:cubicBezTo>
                <a:cubicBezTo>
                  <a:pt x="3401" y="2326"/>
                  <a:pt x="3376" y="2276"/>
                  <a:pt x="3352" y="2276"/>
                </a:cubicBezTo>
                <a:cubicBezTo>
                  <a:pt x="3327" y="2276"/>
                  <a:pt x="3327" y="2226"/>
                  <a:pt x="3352" y="2226"/>
                </a:cubicBezTo>
                <a:cubicBezTo>
                  <a:pt x="3376" y="2226"/>
                  <a:pt x="3427" y="2301"/>
                  <a:pt x="3427" y="2326"/>
                </a:cubicBezTo>
                <a:cubicBezTo>
                  <a:pt x="3427" y="2350"/>
                  <a:pt x="3401" y="2350"/>
                  <a:pt x="3376" y="2376"/>
                </a:cubicBezTo>
                <a:cubicBezTo>
                  <a:pt x="3352" y="2401"/>
                  <a:pt x="3327" y="2326"/>
                  <a:pt x="3301" y="2326"/>
                </a:cubicBezTo>
                <a:cubicBezTo>
                  <a:pt x="3276" y="2326"/>
                  <a:pt x="3301" y="2376"/>
                  <a:pt x="3301" y="2401"/>
                </a:cubicBezTo>
                <a:cubicBezTo>
                  <a:pt x="3327" y="2426"/>
                  <a:pt x="3276" y="2476"/>
                  <a:pt x="3301" y="2501"/>
                </a:cubicBezTo>
                <a:cubicBezTo>
                  <a:pt x="3352" y="2526"/>
                  <a:pt x="3327" y="2476"/>
                  <a:pt x="3352" y="2476"/>
                </a:cubicBezTo>
                <a:cubicBezTo>
                  <a:pt x="3352" y="2450"/>
                  <a:pt x="3376" y="2476"/>
                  <a:pt x="3401" y="2476"/>
                </a:cubicBezTo>
                <a:cubicBezTo>
                  <a:pt x="3401" y="2501"/>
                  <a:pt x="3427" y="2450"/>
                  <a:pt x="3427" y="2426"/>
                </a:cubicBezTo>
                <a:cubicBezTo>
                  <a:pt x="3427" y="2426"/>
                  <a:pt x="3452" y="2426"/>
                  <a:pt x="3452" y="2450"/>
                </a:cubicBezTo>
                <a:cubicBezTo>
                  <a:pt x="3476" y="2476"/>
                  <a:pt x="3476" y="2426"/>
                  <a:pt x="3501" y="2426"/>
                </a:cubicBezTo>
                <a:cubicBezTo>
                  <a:pt x="3527" y="2426"/>
                  <a:pt x="3527" y="2476"/>
                  <a:pt x="3527" y="2501"/>
                </a:cubicBezTo>
                <a:cubicBezTo>
                  <a:pt x="3527" y="2526"/>
                  <a:pt x="3552" y="2476"/>
                  <a:pt x="3552" y="2501"/>
                </a:cubicBezTo>
                <a:lnTo>
                  <a:pt x="3552" y="2501"/>
                </a:lnTo>
                <a:cubicBezTo>
                  <a:pt x="3576" y="2501"/>
                  <a:pt x="3601" y="2476"/>
                  <a:pt x="3627" y="2476"/>
                </a:cubicBezTo>
                <a:cubicBezTo>
                  <a:pt x="3652" y="2426"/>
                  <a:pt x="3576" y="2426"/>
                  <a:pt x="3601" y="2376"/>
                </a:cubicBezTo>
                <a:close/>
                <a:moveTo>
                  <a:pt x="76" y="2676"/>
                </a:moveTo>
                <a:lnTo>
                  <a:pt x="76" y="2676"/>
                </a:lnTo>
                <a:cubicBezTo>
                  <a:pt x="126" y="2650"/>
                  <a:pt x="151" y="2626"/>
                  <a:pt x="126" y="2601"/>
                </a:cubicBezTo>
                <a:cubicBezTo>
                  <a:pt x="100" y="2576"/>
                  <a:pt x="51" y="2701"/>
                  <a:pt x="76" y="2676"/>
                </a:cubicBezTo>
                <a:close/>
                <a:moveTo>
                  <a:pt x="426" y="2501"/>
                </a:moveTo>
                <a:lnTo>
                  <a:pt x="426" y="2501"/>
                </a:lnTo>
                <a:cubicBezTo>
                  <a:pt x="400" y="2476"/>
                  <a:pt x="276" y="2550"/>
                  <a:pt x="300" y="2550"/>
                </a:cubicBezTo>
                <a:cubicBezTo>
                  <a:pt x="351" y="2550"/>
                  <a:pt x="351" y="2526"/>
                  <a:pt x="376" y="2526"/>
                </a:cubicBezTo>
                <a:cubicBezTo>
                  <a:pt x="426" y="2526"/>
                  <a:pt x="476" y="2501"/>
                  <a:pt x="426" y="2501"/>
                </a:cubicBezTo>
                <a:close/>
                <a:moveTo>
                  <a:pt x="1501" y="2001"/>
                </a:moveTo>
                <a:lnTo>
                  <a:pt x="1501" y="2001"/>
                </a:lnTo>
                <a:cubicBezTo>
                  <a:pt x="1501" y="1976"/>
                  <a:pt x="1451" y="1976"/>
                  <a:pt x="1426" y="2026"/>
                </a:cubicBezTo>
                <a:cubicBezTo>
                  <a:pt x="1376" y="2076"/>
                  <a:pt x="1351" y="2101"/>
                  <a:pt x="1326" y="2126"/>
                </a:cubicBezTo>
                <a:cubicBezTo>
                  <a:pt x="1326" y="2150"/>
                  <a:pt x="1276" y="2126"/>
                  <a:pt x="1276" y="2150"/>
                </a:cubicBezTo>
                <a:cubicBezTo>
                  <a:pt x="1251" y="2176"/>
                  <a:pt x="1276" y="2250"/>
                  <a:pt x="1301" y="2226"/>
                </a:cubicBezTo>
                <a:cubicBezTo>
                  <a:pt x="1326" y="2201"/>
                  <a:pt x="1351" y="2226"/>
                  <a:pt x="1351" y="2226"/>
                </a:cubicBezTo>
                <a:cubicBezTo>
                  <a:pt x="1376" y="2226"/>
                  <a:pt x="1451" y="2150"/>
                  <a:pt x="1476" y="2126"/>
                </a:cubicBezTo>
                <a:cubicBezTo>
                  <a:pt x="1501" y="2101"/>
                  <a:pt x="1451" y="2101"/>
                  <a:pt x="1451" y="2076"/>
                </a:cubicBezTo>
                <a:cubicBezTo>
                  <a:pt x="1451" y="2050"/>
                  <a:pt x="1501" y="2050"/>
                  <a:pt x="1501" y="2050"/>
                </a:cubicBezTo>
                <a:cubicBezTo>
                  <a:pt x="1526" y="2026"/>
                  <a:pt x="1501" y="2026"/>
                  <a:pt x="1501" y="2001"/>
                </a:cubicBezTo>
                <a:close/>
                <a:moveTo>
                  <a:pt x="176" y="1750"/>
                </a:moveTo>
                <a:lnTo>
                  <a:pt x="176" y="1750"/>
                </a:lnTo>
                <a:cubicBezTo>
                  <a:pt x="151" y="1726"/>
                  <a:pt x="76" y="1750"/>
                  <a:pt x="76" y="1775"/>
                </a:cubicBezTo>
                <a:cubicBezTo>
                  <a:pt x="100" y="1826"/>
                  <a:pt x="176" y="1826"/>
                  <a:pt x="226" y="1826"/>
                </a:cubicBezTo>
                <a:cubicBezTo>
                  <a:pt x="251" y="1801"/>
                  <a:pt x="251" y="1775"/>
                  <a:pt x="226" y="1750"/>
                </a:cubicBezTo>
                <a:cubicBezTo>
                  <a:pt x="200" y="1726"/>
                  <a:pt x="176" y="1775"/>
                  <a:pt x="176" y="1750"/>
                </a:cubicBezTo>
                <a:close/>
                <a:moveTo>
                  <a:pt x="1176" y="6350"/>
                </a:moveTo>
                <a:lnTo>
                  <a:pt x="1176" y="6350"/>
                </a:lnTo>
                <a:cubicBezTo>
                  <a:pt x="1126" y="6350"/>
                  <a:pt x="1151" y="6501"/>
                  <a:pt x="1176" y="6476"/>
                </a:cubicBezTo>
                <a:cubicBezTo>
                  <a:pt x="1201" y="6450"/>
                  <a:pt x="1251" y="6450"/>
                  <a:pt x="1251" y="6425"/>
                </a:cubicBezTo>
                <a:cubicBezTo>
                  <a:pt x="1276" y="6400"/>
                  <a:pt x="1226" y="6350"/>
                  <a:pt x="1176" y="6350"/>
                </a:cubicBezTo>
                <a:close/>
                <a:moveTo>
                  <a:pt x="1101" y="6276"/>
                </a:moveTo>
                <a:lnTo>
                  <a:pt x="1101" y="6276"/>
                </a:lnTo>
                <a:cubicBezTo>
                  <a:pt x="1076" y="6276"/>
                  <a:pt x="1101" y="6325"/>
                  <a:pt x="1126" y="6325"/>
                </a:cubicBezTo>
                <a:cubicBezTo>
                  <a:pt x="1151" y="6300"/>
                  <a:pt x="1151" y="6276"/>
                  <a:pt x="1101" y="6276"/>
                </a:cubicBezTo>
                <a:close/>
                <a:moveTo>
                  <a:pt x="776" y="6176"/>
                </a:moveTo>
                <a:lnTo>
                  <a:pt x="776" y="6176"/>
                </a:lnTo>
                <a:cubicBezTo>
                  <a:pt x="826" y="6200"/>
                  <a:pt x="826" y="6200"/>
                  <a:pt x="851" y="6150"/>
                </a:cubicBezTo>
                <a:cubicBezTo>
                  <a:pt x="851" y="6125"/>
                  <a:pt x="751" y="6125"/>
                  <a:pt x="776" y="6176"/>
                </a:cubicBezTo>
                <a:close/>
                <a:moveTo>
                  <a:pt x="926" y="6225"/>
                </a:moveTo>
                <a:lnTo>
                  <a:pt x="926" y="6225"/>
                </a:lnTo>
                <a:cubicBezTo>
                  <a:pt x="951" y="6250"/>
                  <a:pt x="976" y="6276"/>
                  <a:pt x="1001" y="6250"/>
                </a:cubicBezTo>
                <a:cubicBezTo>
                  <a:pt x="1001" y="6200"/>
                  <a:pt x="901" y="6200"/>
                  <a:pt x="926" y="6225"/>
                </a:cubicBezTo>
                <a:close/>
                <a:moveTo>
                  <a:pt x="9478" y="3451"/>
                </a:moveTo>
                <a:lnTo>
                  <a:pt x="9478" y="3451"/>
                </a:lnTo>
                <a:cubicBezTo>
                  <a:pt x="9478" y="3426"/>
                  <a:pt x="9403" y="3426"/>
                  <a:pt x="9353" y="3401"/>
                </a:cubicBezTo>
                <a:cubicBezTo>
                  <a:pt x="9328" y="3376"/>
                  <a:pt x="9253" y="3526"/>
                  <a:pt x="9253" y="3576"/>
                </a:cubicBezTo>
                <a:cubicBezTo>
                  <a:pt x="9228" y="3626"/>
                  <a:pt x="9128" y="3701"/>
                  <a:pt x="9128" y="3701"/>
                </a:cubicBezTo>
                <a:cubicBezTo>
                  <a:pt x="9128" y="3701"/>
                  <a:pt x="8828" y="3701"/>
                  <a:pt x="8802" y="3701"/>
                </a:cubicBezTo>
                <a:cubicBezTo>
                  <a:pt x="8778" y="3701"/>
                  <a:pt x="8728" y="3751"/>
                  <a:pt x="8678" y="3801"/>
                </a:cubicBezTo>
                <a:lnTo>
                  <a:pt x="8678" y="3801"/>
                </a:lnTo>
                <a:cubicBezTo>
                  <a:pt x="8702" y="3851"/>
                  <a:pt x="8602" y="3876"/>
                  <a:pt x="8502" y="3901"/>
                </a:cubicBezTo>
                <a:cubicBezTo>
                  <a:pt x="8477" y="3901"/>
                  <a:pt x="8453" y="3901"/>
                  <a:pt x="8428" y="3901"/>
                </a:cubicBezTo>
                <a:lnTo>
                  <a:pt x="8428" y="3926"/>
                </a:lnTo>
                <a:cubicBezTo>
                  <a:pt x="8428" y="3951"/>
                  <a:pt x="8428" y="3951"/>
                  <a:pt x="8402" y="3951"/>
                </a:cubicBezTo>
                <a:cubicBezTo>
                  <a:pt x="8377" y="4001"/>
                  <a:pt x="8253" y="4051"/>
                  <a:pt x="8177" y="4101"/>
                </a:cubicBezTo>
                <a:cubicBezTo>
                  <a:pt x="8102" y="4126"/>
                  <a:pt x="8002" y="4101"/>
                  <a:pt x="8002" y="4051"/>
                </a:cubicBezTo>
                <a:cubicBezTo>
                  <a:pt x="8002" y="3976"/>
                  <a:pt x="8053" y="4001"/>
                  <a:pt x="8077" y="4026"/>
                </a:cubicBezTo>
                <a:cubicBezTo>
                  <a:pt x="8077" y="4026"/>
                  <a:pt x="8077" y="4026"/>
                  <a:pt x="8102" y="4026"/>
                </a:cubicBezTo>
                <a:cubicBezTo>
                  <a:pt x="8077" y="4001"/>
                  <a:pt x="8077" y="3976"/>
                  <a:pt x="8102" y="3951"/>
                </a:cubicBezTo>
                <a:cubicBezTo>
                  <a:pt x="8077" y="3926"/>
                  <a:pt x="8102" y="3826"/>
                  <a:pt x="8053" y="3826"/>
                </a:cubicBezTo>
                <a:cubicBezTo>
                  <a:pt x="8002" y="3801"/>
                  <a:pt x="7953" y="3901"/>
                  <a:pt x="7953" y="3851"/>
                </a:cubicBezTo>
                <a:cubicBezTo>
                  <a:pt x="7953" y="3776"/>
                  <a:pt x="8028" y="3751"/>
                  <a:pt x="8002" y="3676"/>
                </a:cubicBezTo>
                <a:cubicBezTo>
                  <a:pt x="7953" y="3601"/>
                  <a:pt x="7853" y="3601"/>
                  <a:pt x="7853" y="3651"/>
                </a:cubicBezTo>
                <a:cubicBezTo>
                  <a:pt x="7828" y="3701"/>
                  <a:pt x="7777" y="3676"/>
                  <a:pt x="7753" y="3726"/>
                </a:cubicBezTo>
                <a:cubicBezTo>
                  <a:pt x="7728" y="3776"/>
                  <a:pt x="7702" y="3851"/>
                  <a:pt x="7728" y="3926"/>
                </a:cubicBezTo>
                <a:cubicBezTo>
                  <a:pt x="7753" y="4001"/>
                  <a:pt x="7728" y="4026"/>
                  <a:pt x="7653" y="4051"/>
                </a:cubicBezTo>
                <a:cubicBezTo>
                  <a:pt x="7602" y="4101"/>
                  <a:pt x="7552" y="4001"/>
                  <a:pt x="7577" y="3876"/>
                </a:cubicBezTo>
                <a:cubicBezTo>
                  <a:pt x="7602" y="3801"/>
                  <a:pt x="7653" y="3726"/>
                  <a:pt x="7602" y="3726"/>
                </a:cubicBezTo>
                <a:cubicBezTo>
                  <a:pt x="7577" y="3726"/>
                  <a:pt x="7653" y="3626"/>
                  <a:pt x="7753" y="3601"/>
                </a:cubicBezTo>
                <a:cubicBezTo>
                  <a:pt x="7828" y="3576"/>
                  <a:pt x="7953" y="3576"/>
                  <a:pt x="7953" y="3551"/>
                </a:cubicBezTo>
                <a:lnTo>
                  <a:pt x="7953" y="3551"/>
                </a:lnTo>
                <a:cubicBezTo>
                  <a:pt x="7953" y="3526"/>
                  <a:pt x="7928" y="3526"/>
                  <a:pt x="7902" y="3501"/>
                </a:cubicBezTo>
                <a:cubicBezTo>
                  <a:pt x="7902" y="3526"/>
                  <a:pt x="7902" y="3526"/>
                  <a:pt x="7902" y="3526"/>
                </a:cubicBezTo>
                <a:cubicBezTo>
                  <a:pt x="7853" y="3551"/>
                  <a:pt x="7877" y="3501"/>
                  <a:pt x="7802" y="3501"/>
                </a:cubicBezTo>
                <a:cubicBezTo>
                  <a:pt x="7753" y="3501"/>
                  <a:pt x="7677" y="3551"/>
                  <a:pt x="7628" y="3526"/>
                </a:cubicBezTo>
                <a:cubicBezTo>
                  <a:pt x="7577" y="3501"/>
                  <a:pt x="7602" y="3476"/>
                  <a:pt x="7552" y="3476"/>
                </a:cubicBezTo>
                <a:cubicBezTo>
                  <a:pt x="7502" y="3476"/>
                  <a:pt x="7602" y="3376"/>
                  <a:pt x="7528" y="3426"/>
                </a:cubicBezTo>
                <a:cubicBezTo>
                  <a:pt x="7452" y="3451"/>
                  <a:pt x="7352" y="3551"/>
                  <a:pt x="7302" y="3501"/>
                </a:cubicBezTo>
                <a:cubicBezTo>
                  <a:pt x="7277" y="3451"/>
                  <a:pt x="7228" y="3526"/>
                  <a:pt x="7202" y="3476"/>
                </a:cubicBezTo>
                <a:cubicBezTo>
                  <a:pt x="7152" y="3451"/>
                  <a:pt x="7302" y="3351"/>
                  <a:pt x="7377" y="3351"/>
                </a:cubicBezTo>
                <a:cubicBezTo>
                  <a:pt x="7402" y="3351"/>
                  <a:pt x="7402" y="3351"/>
                  <a:pt x="7428" y="3351"/>
                </a:cubicBezTo>
                <a:cubicBezTo>
                  <a:pt x="7402" y="3326"/>
                  <a:pt x="7302" y="3301"/>
                  <a:pt x="7302" y="3326"/>
                </a:cubicBezTo>
                <a:cubicBezTo>
                  <a:pt x="7277" y="3351"/>
                  <a:pt x="7228" y="3326"/>
                  <a:pt x="7202" y="3301"/>
                </a:cubicBezTo>
                <a:cubicBezTo>
                  <a:pt x="7202" y="3276"/>
                  <a:pt x="7177" y="3326"/>
                  <a:pt x="7128" y="3276"/>
                </a:cubicBezTo>
                <a:cubicBezTo>
                  <a:pt x="7102" y="3251"/>
                  <a:pt x="7077" y="3276"/>
                  <a:pt x="7052" y="3276"/>
                </a:cubicBezTo>
                <a:cubicBezTo>
                  <a:pt x="7028" y="3276"/>
                  <a:pt x="7002" y="3251"/>
                  <a:pt x="6977" y="3251"/>
                </a:cubicBezTo>
                <a:cubicBezTo>
                  <a:pt x="6928" y="3226"/>
                  <a:pt x="6952" y="3201"/>
                  <a:pt x="6928" y="3175"/>
                </a:cubicBezTo>
                <a:cubicBezTo>
                  <a:pt x="6902" y="3151"/>
                  <a:pt x="6902" y="3226"/>
                  <a:pt x="6902" y="3226"/>
                </a:cubicBezTo>
                <a:cubicBezTo>
                  <a:pt x="4301" y="3226"/>
                  <a:pt x="4301" y="3226"/>
                  <a:pt x="4301" y="3226"/>
                </a:cubicBezTo>
                <a:lnTo>
                  <a:pt x="4327" y="3251"/>
                </a:lnTo>
                <a:cubicBezTo>
                  <a:pt x="4352" y="3276"/>
                  <a:pt x="4327" y="3301"/>
                  <a:pt x="4327" y="3351"/>
                </a:cubicBezTo>
                <a:cubicBezTo>
                  <a:pt x="4352" y="3376"/>
                  <a:pt x="4327" y="3426"/>
                  <a:pt x="4301" y="3426"/>
                </a:cubicBezTo>
                <a:cubicBezTo>
                  <a:pt x="4277" y="3426"/>
                  <a:pt x="4277" y="3401"/>
                  <a:pt x="4301" y="3401"/>
                </a:cubicBezTo>
                <a:cubicBezTo>
                  <a:pt x="4327" y="3376"/>
                  <a:pt x="4301" y="3326"/>
                  <a:pt x="4277" y="3326"/>
                </a:cubicBezTo>
                <a:cubicBezTo>
                  <a:pt x="4277" y="3326"/>
                  <a:pt x="4252" y="3326"/>
                  <a:pt x="4252" y="3301"/>
                </a:cubicBezTo>
                <a:cubicBezTo>
                  <a:pt x="4227" y="3301"/>
                  <a:pt x="4177" y="3301"/>
                  <a:pt x="4101" y="3301"/>
                </a:cubicBezTo>
                <a:cubicBezTo>
                  <a:pt x="4127" y="3301"/>
                  <a:pt x="4127" y="3301"/>
                  <a:pt x="4127" y="3301"/>
                </a:cubicBezTo>
                <a:cubicBezTo>
                  <a:pt x="4127" y="3326"/>
                  <a:pt x="4127" y="3376"/>
                  <a:pt x="4152" y="3426"/>
                </a:cubicBezTo>
                <a:cubicBezTo>
                  <a:pt x="4201" y="3476"/>
                  <a:pt x="4177" y="3501"/>
                  <a:pt x="4201" y="3526"/>
                </a:cubicBezTo>
                <a:cubicBezTo>
                  <a:pt x="4227" y="3526"/>
                  <a:pt x="4227" y="3551"/>
                  <a:pt x="4201" y="3551"/>
                </a:cubicBezTo>
                <a:cubicBezTo>
                  <a:pt x="4177" y="3551"/>
                  <a:pt x="4201" y="3576"/>
                  <a:pt x="4177" y="3626"/>
                </a:cubicBezTo>
                <a:cubicBezTo>
                  <a:pt x="4177" y="3701"/>
                  <a:pt x="4177" y="3826"/>
                  <a:pt x="4177" y="3876"/>
                </a:cubicBezTo>
                <a:cubicBezTo>
                  <a:pt x="4177" y="3901"/>
                  <a:pt x="4127" y="3976"/>
                  <a:pt x="4152" y="4001"/>
                </a:cubicBezTo>
                <a:cubicBezTo>
                  <a:pt x="4177" y="4051"/>
                  <a:pt x="4201" y="4101"/>
                  <a:pt x="4177" y="4151"/>
                </a:cubicBezTo>
                <a:cubicBezTo>
                  <a:pt x="4152" y="4226"/>
                  <a:pt x="4177" y="4251"/>
                  <a:pt x="4177" y="4276"/>
                </a:cubicBezTo>
                <a:cubicBezTo>
                  <a:pt x="4201" y="4326"/>
                  <a:pt x="4201" y="4401"/>
                  <a:pt x="4227" y="4401"/>
                </a:cubicBezTo>
                <a:cubicBezTo>
                  <a:pt x="4252" y="4426"/>
                  <a:pt x="4277" y="4451"/>
                  <a:pt x="4277" y="4501"/>
                </a:cubicBezTo>
                <a:cubicBezTo>
                  <a:pt x="4301" y="4526"/>
                  <a:pt x="4327" y="4501"/>
                  <a:pt x="4327" y="4551"/>
                </a:cubicBezTo>
                <a:cubicBezTo>
                  <a:pt x="4352" y="4576"/>
                  <a:pt x="4352" y="4576"/>
                  <a:pt x="4377" y="4601"/>
                </a:cubicBezTo>
                <a:cubicBezTo>
                  <a:pt x="4401" y="4626"/>
                  <a:pt x="4377" y="4651"/>
                  <a:pt x="4377" y="4676"/>
                </a:cubicBezTo>
                <a:cubicBezTo>
                  <a:pt x="4377" y="4701"/>
                  <a:pt x="4427" y="4726"/>
                  <a:pt x="4477" y="4776"/>
                </a:cubicBezTo>
                <a:cubicBezTo>
                  <a:pt x="4527" y="4826"/>
                  <a:pt x="4501" y="4876"/>
                  <a:pt x="4527" y="4876"/>
                </a:cubicBezTo>
                <a:cubicBezTo>
                  <a:pt x="4577" y="4876"/>
                  <a:pt x="4601" y="4901"/>
                  <a:pt x="4652" y="4926"/>
                </a:cubicBezTo>
                <a:cubicBezTo>
                  <a:pt x="4677" y="4951"/>
                  <a:pt x="4701" y="4926"/>
                  <a:pt x="4727" y="4926"/>
                </a:cubicBezTo>
                <a:cubicBezTo>
                  <a:pt x="4752" y="4926"/>
                  <a:pt x="4801" y="5001"/>
                  <a:pt x="4827" y="5026"/>
                </a:cubicBezTo>
                <a:cubicBezTo>
                  <a:pt x="4827" y="5051"/>
                  <a:pt x="4827" y="5076"/>
                  <a:pt x="4827" y="5101"/>
                </a:cubicBezTo>
                <a:cubicBezTo>
                  <a:pt x="5052" y="5076"/>
                  <a:pt x="5052" y="5076"/>
                  <a:pt x="5052" y="5076"/>
                </a:cubicBezTo>
                <a:cubicBezTo>
                  <a:pt x="5052" y="5076"/>
                  <a:pt x="5127" y="5101"/>
                  <a:pt x="5152" y="5126"/>
                </a:cubicBezTo>
                <a:cubicBezTo>
                  <a:pt x="5202" y="5126"/>
                  <a:pt x="5402" y="5201"/>
                  <a:pt x="5402" y="5201"/>
                </a:cubicBezTo>
                <a:cubicBezTo>
                  <a:pt x="5677" y="5201"/>
                  <a:pt x="5677" y="5201"/>
                  <a:pt x="5677" y="5201"/>
                </a:cubicBezTo>
                <a:cubicBezTo>
                  <a:pt x="5702" y="5151"/>
                  <a:pt x="5702" y="5151"/>
                  <a:pt x="5702" y="5151"/>
                </a:cubicBezTo>
                <a:cubicBezTo>
                  <a:pt x="5852" y="5151"/>
                  <a:pt x="5852" y="5151"/>
                  <a:pt x="5852" y="5151"/>
                </a:cubicBezTo>
                <a:cubicBezTo>
                  <a:pt x="5852" y="5151"/>
                  <a:pt x="5927" y="5251"/>
                  <a:pt x="5952" y="5251"/>
                </a:cubicBezTo>
                <a:cubicBezTo>
                  <a:pt x="5977" y="5277"/>
                  <a:pt x="6002" y="5301"/>
                  <a:pt x="6002" y="5326"/>
                </a:cubicBezTo>
                <a:cubicBezTo>
                  <a:pt x="6002" y="5351"/>
                  <a:pt x="6027" y="5377"/>
                  <a:pt x="6052" y="5401"/>
                </a:cubicBezTo>
                <a:cubicBezTo>
                  <a:pt x="6077" y="5401"/>
                  <a:pt x="6152" y="5451"/>
                  <a:pt x="6152" y="5451"/>
                </a:cubicBezTo>
                <a:cubicBezTo>
                  <a:pt x="6177" y="5451"/>
                  <a:pt x="6177" y="5351"/>
                  <a:pt x="6227" y="5351"/>
                </a:cubicBezTo>
                <a:cubicBezTo>
                  <a:pt x="6277" y="5377"/>
                  <a:pt x="6377" y="5401"/>
                  <a:pt x="6402" y="5451"/>
                </a:cubicBezTo>
                <a:cubicBezTo>
                  <a:pt x="6402" y="5526"/>
                  <a:pt x="6477" y="5577"/>
                  <a:pt x="6477" y="5577"/>
                </a:cubicBezTo>
                <a:cubicBezTo>
                  <a:pt x="6502" y="5601"/>
                  <a:pt x="6502" y="5626"/>
                  <a:pt x="6502" y="5651"/>
                </a:cubicBezTo>
                <a:cubicBezTo>
                  <a:pt x="6527" y="5677"/>
                  <a:pt x="6527" y="5701"/>
                  <a:pt x="6527" y="5701"/>
                </a:cubicBezTo>
                <a:cubicBezTo>
                  <a:pt x="6552" y="5701"/>
                  <a:pt x="6627" y="5751"/>
                  <a:pt x="6652" y="5751"/>
                </a:cubicBezTo>
                <a:cubicBezTo>
                  <a:pt x="6677" y="5751"/>
                  <a:pt x="6677" y="5777"/>
                  <a:pt x="6702" y="5777"/>
                </a:cubicBezTo>
                <a:cubicBezTo>
                  <a:pt x="6702" y="5701"/>
                  <a:pt x="6627" y="5677"/>
                  <a:pt x="6677" y="5651"/>
                </a:cubicBezTo>
                <a:cubicBezTo>
                  <a:pt x="6728" y="5626"/>
                  <a:pt x="6677" y="5577"/>
                  <a:pt x="6702" y="5577"/>
                </a:cubicBezTo>
                <a:cubicBezTo>
                  <a:pt x="6728" y="5551"/>
                  <a:pt x="6777" y="5526"/>
                  <a:pt x="6777" y="5501"/>
                </a:cubicBezTo>
                <a:cubicBezTo>
                  <a:pt x="6777" y="5477"/>
                  <a:pt x="6802" y="5477"/>
                  <a:pt x="6828" y="5477"/>
                </a:cubicBezTo>
                <a:cubicBezTo>
                  <a:pt x="6852" y="5501"/>
                  <a:pt x="6928" y="5426"/>
                  <a:pt x="6928" y="5401"/>
                </a:cubicBezTo>
                <a:cubicBezTo>
                  <a:pt x="6902" y="5377"/>
                  <a:pt x="6928" y="5377"/>
                  <a:pt x="6952" y="5401"/>
                </a:cubicBezTo>
                <a:cubicBezTo>
                  <a:pt x="7002" y="5401"/>
                  <a:pt x="7002" y="5351"/>
                  <a:pt x="7028" y="5351"/>
                </a:cubicBezTo>
                <a:cubicBezTo>
                  <a:pt x="7052" y="5351"/>
                  <a:pt x="7077" y="5377"/>
                  <a:pt x="7077" y="5351"/>
                </a:cubicBezTo>
                <a:cubicBezTo>
                  <a:pt x="7077" y="5326"/>
                  <a:pt x="7102" y="5351"/>
                  <a:pt x="7102" y="5377"/>
                </a:cubicBezTo>
                <a:cubicBezTo>
                  <a:pt x="7128" y="5401"/>
                  <a:pt x="7177" y="5401"/>
                  <a:pt x="7202" y="5377"/>
                </a:cubicBezTo>
                <a:cubicBezTo>
                  <a:pt x="7202" y="5351"/>
                  <a:pt x="7228" y="5377"/>
                  <a:pt x="7252" y="5401"/>
                </a:cubicBezTo>
                <a:cubicBezTo>
                  <a:pt x="7277" y="5426"/>
                  <a:pt x="7302" y="5426"/>
                  <a:pt x="7328" y="5426"/>
                </a:cubicBezTo>
                <a:cubicBezTo>
                  <a:pt x="7377" y="5426"/>
                  <a:pt x="7377" y="5401"/>
                  <a:pt x="7377" y="5377"/>
                </a:cubicBezTo>
                <a:cubicBezTo>
                  <a:pt x="7377" y="5351"/>
                  <a:pt x="7428" y="5451"/>
                  <a:pt x="7452" y="5451"/>
                </a:cubicBezTo>
                <a:cubicBezTo>
                  <a:pt x="7502" y="5451"/>
                  <a:pt x="7477" y="5426"/>
                  <a:pt x="7428" y="5401"/>
                </a:cubicBezTo>
                <a:cubicBezTo>
                  <a:pt x="7402" y="5377"/>
                  <a:pt x="7452" y="5377"/>
                  <a:pt x="7428" y="5351"/>
                </a:cubicBezTo>
                <a:cubicBezTo>
                  <a:pt x="7402" y="5326"/>
                  <a:pt x="7452" y="5301"/>
                  <a:pt x="7502" y="5301"/>
                </a:cubicBezTo>
                <a:cubicBezTo>
                  <a:pt x="7552" y="5301"/>
                  <a:pt x="7552" y="5326"/>
                  <a:pt x="7577" y="5301"/>
                </a:cubicBezTo>
                <a:cubicBezTo>
                  <a:pt x="7577" y="5251"/>
                  <a:pt x="7602" y="5301"/>
                  <a:pt x="7602" y="5326"/>
                </a:cubicBezTo>
                <a:cubicBezTo>
                  <a:pt x="7602" y="5351"/>
                  <a:pt x="7677" y="5301"/>
                  <a:pt x="7728" y="5301"/>
                </a:cubicBezTo>
                <a:cubicBezTo>
                  <a:pt x="7777" y="5301"/>
                  <a:pt x="7802" y="5326"/>
                  <a:pt x="7828" y="5351"/>
                </a:cubicBezTo>
                <a:cubicBezTo>
                  <a:pt x="7828" y="5377"/>
                  <a:pt x="7853" y="5401"/>
                  <a:pt x="7877" y="5377"/>
                </a:cubicBezTo>
                <a:cubicBezTo>
                  <a:pt x="7902" y="5351"/>
                  <a:pt x="7928" y="5326"/>
                  <a:pt x="7977" y="5351"/>
                </a:cubicBezTo>
                <a:cubicBezTo>
                  <a:pt x="8002" y="5377"/>
                  <a:pt x="8028" y="5401"/>
                  <a:pt x="8053" y="5451"/>
                </a:cubicBezTo>
                <a:cubicBezTo>
                  <a:pt x="8102" y="5477"/>
                  <a:pt x="8053" y="5526"/>
                  <a:pt x="8053" y="5551"/>
                </a:cubicBezTo>
                <a:cubicBezTo>
                  <a:pt x="8077" y="5577"/>
                  <a:pt x="8053" y="5626"/>
                  <a:pt x="8102" y="5651"/>
                </a:cubicBezTo>
                <a:cubicBezTo>
                  <a:pt x="8153" y="5677"/>
                  <a:pt x="8102" y="5726"/>
                  <a:pt x="8153" y="5751"/>
                </a:cubicBezTo>
                <a:cubicBezTo>
                  <a:pt x="8177" y="5751"/>
                  <a:pt x="8202" y="5801"/>
                  <a:pt x="8202" y="5826"/>
                </a:cubicBezTo>
                <a:cubicBezTo>
                  <a:pt x="8202" y="5850"/>
                  <a:pt x="8277" y="5875"/>
                  <a:pt x="8277" y="5850"/>
                </a:cubicBezTo>
                <a:cubicBezTo>
                  <a:pt x="8277" y="5801"/>
                  <a:pt x="8302" y="5751"/>
                  <a:pt x="8328" y="5726"/>
                </a:cubicBezTo>
                <a:cubicBezTo>
                  <a:pt x="8328" y="5701"/>
                  <a:pt x="8302" y="5577"/>
                  <a:pt x="8277" y="5551"/>
                </a:cubicBezTo>
                <a:cubicBezTo>
                  <a:pt x="8228" y="5501"/>
                  <a:pt x="8277" y="5501"/>
                  <a:pt x="8228" y="5451"/>
                </a:cubicBezTo>
                <a:cubicBezTo>
                  <a:pt x="8202" y="5401"/>
                  <a:pt x="8177" y="5326"/>
                  <a:pt x="8177" y="5277"/>
                </a:cubicBezTo>
                <a:cubicBezTo>
                  <a:pt x="8177" y="5201"/>
                  <a:pt x="8253" y="5101"/>
                  <a:pt x="8302" y="5076"/>
                </a:cubicBezTo>
                <a:cubicBezTo>
                  <a:pt x="8328" y="5051"/>
                  <a:pt x="8377" y="5051"/>
                  <a:pt x="8377" y="5026"/>
                </a:cubicBezTo>
                <a:cubicBezTo>
                  <a:pt x="8377" y="5001"/>
                  <a:pt x="8428" y="4951"/>
                  <a:pt x="8453" y="4951"/>
                </a:cubicBezTo>
                <a:cubicBezTo>
                  <a:pt x="8477" y="4951"/>
                  <a:pt x="8502" y="4951"/>
                  <a:pt x="8502" y="4926"/>
                </a:cubicBezTo>
                <a:cubicBezTo>
                  <a:pt x="8528" y="4901"/>
                  <a:pt x="8553" y="4876"/>
                  <a:pt x="8602" y="4851"/>
                </a:cubicBezTo>
                <a:cubicBezTo>
                  <a:pt x="8678" y="4851"/>
                  <a:pt x="8628" y="4826"/>
                  <a:pt x="8628" y="4801"/>
                </a:cubicBezTo>
                <a:cubicBezTo>
                  <a:pt x="8602" y="4776"/>
                  <a:pt x="8628" y="4751"/>
                  <a:pt x="8653" y="4751"/>
                </a:cubicBezTo>
                <a:cubicBezTo>
                  <a:pt x="8653" y="4776"/>
                  <a:pt x="8678" y="4776"/>
                  <a:pt x="8702" y="4776"/>
                </a:cubicBezTo>
                <a:cubicBezTo>
                  <a:pt x="8728" y="4751"/>
                  <a:pt x="8778" y="4701"/>
                  <a:pt x="8728" y="4701"/>
                </a:cubicBezTo>
                <a:cubicBezTo>
                  <a:pt x="8678" y="4701"/>
                  <a:pt x="8678" y="4701"/>
                  <a:pt x="8702" y="4676"/>
                </a:cubicBezTo>
                <a:cubicBezTo>
                  <a:pt x="8728" y="4676"/>
                  <a:pt x="8702" y="4626"/>
                  <a:pt x="8678" y="4626"/>
                </a:cubicBezTo>
                <a:cubicBezTo>
                  <a:pt x="8628" y="4601"/>
                  <a:pt x="8653" y="4601"/>
                  <a:pt x="8678" y="4576"/>
                </a:cubicBezTo>
                <a:cubicBezTo>
                  <a:pt x="8702" y="4551"/>
                  <a:pt x="8628" y="4501"/>
                  <a:pt x="8602" y="4501"/>
                </a:cubicBezTo>
                <a:cubicBezTo>
                  <a:pt x="8578" y="4476"/>
                  <a:pt x="8628" y="4451"/>
                  <a:pt x="8653" y="4451"/>
                </a:cubicBezTo>
                <a:cubicBezTo>
                  <a:pt x="8678" y="4451"/>
                  <a:pt x="8653" y="4351"/>
                  <a:pt x="8653" y="4326"/>
                </a:cubicBezTo>
                <a:cubicBezTo>
                  <a:pt x="8678" y="4301"/>
                  <a:pt x="8702" y="4301"/>
                  <a:pt x="8702" y="4326"/>
                </a:cubicBezTo>
                <a:cubicBezTo>
                  <a:pt x="8678" y="4351"/>
                  <a:pt x="8653" y="4401"/>
                  <a:pt x="8678" y="4426"/>
                </a:cubicBezTo>
                <a:cubicBezTo>
                  <a:pt x="8702" y="4451"/>
                  <a:pt x="8728" y="4501"/>
                  <a:pt x="8702" y="4526"/>
                </a:cubicBezTo>
                <a:cubicBezTo>
                  <a:pt x="8702" y="4576"/>
                  <a:pt x="8728" y="4576"/>
                  <a:pt x="8753" y="4501"/>
                </a:cubicBezTo>
                <a:cubicBezTo>
                  <a:pt x="8778" y="4451"/>
                  <a:pt x="8778" y="4401"/>
                  <a:pt x="8753" y="4376"/>
                </a:cubicBezTo>
                <a:cubicBezTo>
                  <a:pt x="8753" y="4376"/>
                  <a:pt x="8753" y="4326"/>
                  <a:pt x="8778" y="4351"/>
                </a:cubicBezTo>
                <a:cubicBezTo>
                  <a:pt x="8802" y="4376"/>
                  <a:pt x="8802" y="4376"/>
                  <a:pt x="8828" y="4351"/>
                </a:cubicBezTo>
                <a:cubicBezTo>
                  <a:pt x="8878" y="4301"/>
                  <a:pt x="8902" y="4251"/>
                  <a:pt x="8878" y="4226"/>
                </a:cubicBezTo>
                <a:cubicBezTo>
                  <a:pt x="8853" y="4201"/>
                  <a:pt x="8902" y="4201"/>
                  <a:pt x="8928" y="4201"/>
                </a:cubicBezTo>
                <a:cubicBezTo>
                  <a:pt x="8978" y="4201"/>
                  <a:pt x="9078" y="4176"/>
                  <a:pt x="9078" y="4151"/>
                </a:cubicBezTo>
                <a:cubicBezTo>
                  <a:pt x="9102" y="4126"/>
                  <a:pt x="8928" y="4176"/>
                  <a:pt x="8928" y="4151"/>
                </a:cubicBezTo>
                <a:cubicBezTo>
                  <a:pt x="8928" y="4126"/>
                  <a:pt x="9028" y="4101"/>
                  <a:pt x="9078" y="4101"/>
                </a:cubicBezTo>
                <a:cubicBezTo>
                  <a:pt x="9128" y="4101"/>
                  <a:pt x="9102" y="4051"/>
                  <a:pt x="9128" y="4076"/>
                </a:cubicBezTo>
                <a:cubicBezTo>
                  <a:pt x="9153" y="4101"/>
                  <a:pt x="9178" y="4101"/>
                  <a:pt x="9202" y="4076"/>
                </a:cubicBezTo>
                <a:cubicBezTo>
                  <a:pt x="9228" y="4051"/>
                  <a:pt x="9202" y="4001"/>
                  <a:pt x="9178" y="4001"/>
                </a:cubicBezTo>
                <a:cubicBezTo>
                  <a:pt x="9153" y="4001"/>
                  <a:pt x="9202" y="3976"/>
                  <a:pt x="9202" y="3951"/>
                </a:cubicBezTo>
                <a:cubicBezTo>
                  <a:pt x="9178" y="3926"/>
                  <a:pt x="9228" y="3851"/>
                  <a:pt x="9253" y="3851"/>
                </a:cubicBezTo>
                <a:cubicBezTo>
                  <a:pt x="9302" y="3851"/>
                  <a:pt x="9278" y="3826"/>
                  <a:pt x="9302" y="3826"/>
                </a:cubicBezTo>
                <a:cubicBezTo>
                  <a:pt x="9353" y="3826"/>
                  <a:pt x="9353" y="3776"/>
                  <a:pt x="9378" y="3751"/>
                </a:cubicBezTo>
                <a:cubicBezTo>
                  <a:pt x="9403" y="3726"/>
                  <a:pt x="9453" y="3801"/>
                  <a:pt x="9503" y="3751"/>
                </a:cubicBezTo>
                <a:cubicBezTo>
                  <a:pt x="9503" y="3726"/>
                  <a:pt x="9528" y="3726"/>
                  <a:pt x="9578" y="3701"/>
                </a:cubicBezTo>
                <a:cubicBezTo>
                  <a:pt x="9453" y="3551"/>
                  <a:pt x="9478" y="3476"/>
                  <a:pt x="9478" y="3451"/>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8" name="Freeform 166">
            <a:extLst>
              <a:ext uri="{FF2B5EF4-FFF2-40B4-BE49-F238E27FC236}">
                <a16:creationId xmlns:a16="http://schemas.microsoft.com/office/drawing/2014/main" id="{E5D88FA6-F766-AFAA-1F70-B03D1B7EF464}"/>
              </a:ext>
            </a:extLst>
          </p:cNvPr>
          <p:cNvSpPr>
            <a:spLocks noChangeArrowheads="1"/>
          </p:cNvSpPr>
          <p:nvPr/>
        </p:nvSpPr>
        <p:spPr bwMode="auto">
          <a:xfrm>
            <a:off x="5688813" y="3823413"/>
            <a:ext cx="32344" cy="56249"/>
          </a:xfrm>
          <a:custGeom>
            <a:avLst/>
            <a:gdLst>
              <a:gd name="T0" fmla="*/ 76 w 102"/>
              <a:gd name="T1" fmla="*/ 150 h 175"/>
              <a:gd name="T2" fmla="*/ 76 w 102"/>
              <a:gd name="T3" fmla="*/ 150 h 175"/>
              <a:gd name="T4" fmla="*/ 51 w 102"/>
              <a:gd name="T5" fmla="*/ 124 h 175"/>
              <a:gd name="T6" fmla="*/ 0 w 102"/>
              <a:gd name="T7" fmla="*/ 49 h 175"/>
              <a:gd name="T8" fmla="*/ 51 w 102"/>
              <a:gd name="T9" fmla="*/ 24 h 175"/>
              <a:gd name="T10" fmla="*/ 51 w 102"/>
              <a:gd name="T11" fmla="*/ 99 h 175"/>
              <a:gd name="T12" fmla="*/ 76 w 102"/>
              <a:gd name="T13" fmla="*/ 150 h 175"/>
            </a:gdLst>
            <a:ahLst/>
            <a:cxnLst>
              <a:cxn ang="0">
                <a:pos x="T0" y="T1"/>
              </a:cxn>
              <a:cxn ang="0">
                <a:pos x="T2" y="T3"/>
              </a:cxn>
              <a:cxn ang="0">
                <a:pos x="T4" y="T5"/>
              </a:cxn>
              <a:cxn ang="0">
                <a:pos x="T6" y="T7"/>
              </a:cxn>
              <a:cxn ang="0">
                <a:pos x="T8" y="T9"/>
              </a:cxn>
              <a:cxn ang="0">
                <a:pos x="T10" y="T11"/>
              </a:cxn>
              <a:cxn ang="0">
                <a:pos x="T12" y="T13"/>
              </a:cxn>
            </a:cxnLst>
            <a:rect l="0" t="0" r="r" b="b"/>
            <a:pathLst>
              <a:path w="102" h="175">
                <a:moveTo>
                  <a:pt x="76" y="150"/>
                </a:moveTo>
                <a:lnTo>
                  <a:pt x="76" y="150"/>
                </a:lnTo>
                <a:cubicBezTo>
                  <a:pt x="76" y="174"/>
                  <a:pt x="51" y="124"/>
                  <a:pt x="51" y="124"/>
                </a:cubicBezTo>
                <a:cubicBezTo>
                  <a:pt x="51" y="99"/>
                  <a:pt x="0" y="99"/>
                  <a:pt x="0" y="49"/>
                </a:cubicBezTo>
                <a:cubicBezTo>
                  <a:pt x="0" y="24"/>
                  <a:pt x="25" y="0"/>
                  <a:pt x="51" y="24"/>
                </a:cubicBezTo>
                <a:cubicBezTo>
                  <a:pt x="76" y="49"/>
                  <a:pt x="51" y="74"/>
                  <a:pt x="51" y="99"/>
                </a:cubicBezTo>
                <a:cubicBezTo>
                  <a:pt x="51" y="99"/>
                  <a:pt x="101" y="124"/>
                  <a:pt x="76"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79" name="Freeform 167">
            <a:extLst>
              <a:ext uri="{FF2B5EF4-FFF2-40B4-BE49-F238E27FC236}">
                <a16:creationId xmlns:a16="http://schemas.microsoft.com/office/drawing/2014/main" id="{0E3623BD-00C8-1C48-5442-A31B13816F05}"/>
              </a:ext>
            </a:extLst>
          </p:cNvPr>
          <p:cNvSpPr>
            <a:spLocks noChangeArrowheads="1"/>
          </p:cNvSpPr>
          <p:nvPr/>
        </p:nvSpPr>
        <p:spPr bwMode="auto">
          <a:xfrm>
            <a:off x="6183809" y="4277626"/>
            <a:ext cx="40781" cy="23907"/>
          </a:xfrm>
          <a:custGeom>
            <a:avLst/>
            <a:gdLst>
              <a:gd name="T0" fmla="*/ 25 w 126"/>
              <a:gd name="T1" fmla="*/ 75 h 76"/>
              <a:gd name="T2" fmla="*/ 25 w 126"/>
              <a:gd name="T3" fmla="*/ 75 h 76"/>
              <a:gd name="T4" fmla="*/ 25 w 126"/>
              <a:gd name="T5" fmla="*/ 25 h 76"/>
              <a:gd name="T6" fmla="*/ 100 w 126"/>
              <a:gd name="T7" fmla="*/ 0 h 76"/>
              <a:gd name="T8" fmla="*/ 100 w 126"/>
              <a:gd name="T9" fmla="*/ 51 h 76"/>
              <a:gd name="T10" fmla="*/ 25 w 126"/>
              <a:gd name="T11" fmla="*/ 75 h 76"/>
            </a:gdLst>
            <a:ahLst/>
            <a:cxnLst>
              <a:cxn ang="0">
                <a:pos x="T0" y="T1"/>
              </a:cxn>
              <a:cxn ang="0">
                <a:pos x="T2" y="T3"/>
              </a:cxn>
              <a:cxn ang="0">
                <a:pos x="T4" y="T5"/>
              </a:cxn>
              <a:cxn ang="0">
                <a:pos x="T6" y="T7"/>
              </a:cxn>
              <a:cxn ang="0">
                <a:pos x="T8" y="T9"/>
              </a:cxn>
              <a:cxn ang="0">
                <a:pos x="T10" y="T11"/>
              </a:cxn>
            </a:cxnLst>
            <a:rect l="0" t="0" r="r" b="b"/>
            <a:pathLst>
              <a:path w="126" h="76">
                <a:moveTo>
                  <a:pt x="25" y="75"/>
                </a:moveTo>
                <a:lnTo>
                  <a:pt x="25" y="75"/>
                </a:lnTo>
                <a:cubicBezTo>
                  <a:pt x="25" y="51"/>
                  <a:pt x="50" y="25"/>
                  <a:pt x="25" y="25"/>
                </a:cubicBezTo>
                <a:cubicBezTo>
                  <a:pt x="0" y="25"/>
                  <a:pt x="75" y="0"/>
                  <a:pt x="100" y="0"/>
                </a:cubicBezTo>
                <a:cubicBezTo>
                  <a:pt x="125" y="25"/>
                  <a:pt x="125" y="51"/>
                  <a:pt x="100" y="51"/>
                </a:cubicBezTo>
                <a:cubicBezTo>
                  <a:pt x="75" y="75"/>
                  <a:pt x="50" y="75"/>
                  <a:pt x="2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0" name="Freeform 213">
            <a:extLst>
              <a:ext uri="{FF2B5EF4-FFF2-40B4-BE49-F238E27FC236}">
                <a16:creationId xmlns:a16="http://schemas.microsoft.com/office/drawing/2014/main" id="{21E950EC-576E-1239-4CBB-11EC0426FB61}"/>
              </a:ext>
            </a:extLst>
          </p:cNvPr>
          <p:cNvSpPr>
            <a:spLocks noChangeArrowheads="1"/>
          </p:cNvSpPr>
          <p:nvPr/>
        </p:nvSpPr>
        <p:spPr bwMode="auto">
          <a:xfrm>
            <a:off x="5337255" y="4165130"/>
            <a:ext cx="71719" cy="39375"/>
          </a:xfrm>
          <a:custGeom>
            <a:avLst/>
            <a:gdLst>
              <a:gd name="T0" fmla="*/ 225 w 226"/>
              <a:gd name="T1" fmla="*/ 49 h 125"/>
              <a:gd name="T2" fmla="*/ 225 w 226"/>
              <a:gd name="T3" fmla="*/ 49 h 125"/>
              <a:gd name="T4" fmla="*/ 125 w 226"/>
              <a:gd name="T5" fmla="*/ 24 h 125"/>
              <a:gd name="T6" fmla="*/ 75 w 226"/>
              <a:gd name="T7" fmla="*/ 0 h 125"/>
              <a:gd name="T8" fmla="*/ 75 w 226"/>
              <a:gd name="T9" fmla="*/ 0 h 125"/>
              <a:gd name="T10" fmla="*/ 0 w 226"/>
              <a:gd name="T11" fmla="*/ 49 h 125"/>
              <a:gd name="T12" fmla="*/ 175 w 226"/>
              <a:gd name="T13" fmla="*/ 124 h 125"/>
              <a:gd name="T14" fmla="*/ 225 w 226"/>
              <a:gd name="T15" fmla="*/ 100 h 125"/>
              <a:gd name="T16" fmla="*/ 225 w 226"/>
              <a:gd name="T17" fmla="*/ 4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25">
                <a:moveTo>
                  <a:pt x="225" y="49"/>
                </a:moveTo>
                <a:lnTo>
                  <a:pt x="225" y="49"/>
                </a:lnTo>
                <a:cubicBezTo>
                  <a:pt x="200" y="24"/>
                  <a:pt x="151" y="49"/>
                  <a:pt x="125" y="24"/>
                </a:cubicBezTo>
                <a:cubicBezTo>
                  <a:pt x="100" y="0"/>
                  <a:pt x="75" y="0"/>
                  <a:pt x="75" y="0"/>
                </a:cubicBezTo>
                <a:lnTo>
                  <a:pt x="75" y="0"/>
                </a:lnTo>
                <a:cubicBezTo>
                  <a:pt x="51" y="0"/>
                  <a:pt x="25" y="24"/>
                  <a:pt x="0" y="49"/>
                </a:cubicBezTo>
                <a:cubicBezTo>
                  <a:pt x="25" y="75"/>
                  <a:pt x="151" y="124"/>
                  <a:pt x="175" y="124"/>
                </a:cubicBezTo>
                <a:cubicBezTo>
                  <a:pt x="200" y="124"/>
                  <a:pt x="200" y="100"/>
                  <a:pt x="225" y="100"/>
                </a:cubicBezTo>
                <a:cubicBezTo>
                  <a:pt x="225" y="75"/>
                  <a:pt x="225" y="49"/>
                  <a:pt x="225"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1" name="Freeform 214">
            <a:extLst>
              <a:ext uri="{FF2B5EF4-FFF2-40B4-BE49-F238E27FC236}">
                <a16:creationId xmlns:a16="http://schemas.microsoft.com/office/drawing/2014/main" id="{D6EDE67E-1ED7-E031-A237-B5F1FF3089A5}"/>
              </a:ext>
            </a:extLst>
          </p:cNvPr>
          <p:cNvSpPr>
            <a:spLocks noChangeArrowheads="1"/>
          </p:cNvSpPr>
          <p:nvPr/>
        </p:nvSpPr>
        <p:spPr bwMode="auto">
          <a:xfrm>
            <a:off x="5361161" y="4110285"/>
            <a:ext cx="184217" cy="104061"/>
          </a:xfrm>
          <a:custGeom>
            <a:avLst/>
            <a:gdLst>
              <a:gd name="T0" fmla="*/ 250 w 577"/>
              <a:gd name="T1" fmla="*/ 276 h 326"/>
              <a:gd name="T2" fmla="*/ 250 w 577"/>
              <a:gd name="T3" fmla="*/ 276 h 326"/>
              <a:gd name="T4" fmla="*/ 276 w 577"/>
              <a:gd name="T5" fmla="*/ 225 h 326"/>
              <a:gd name="T6" fmla="*/ 376 w 577"/>
              <a:gd name="T7" fmla="*/ 176 h 326"/>
              <a:gd name="T8" fmla="*/ 476 w 577"/>
              <a:gd name="T9" fmla="*/ 151 h 326"/>
              <a:gd name="T10" fmla="*/ 576 w 577"/>
              <a:gd name="T11" fmla="*/ 125 h 326"/>
              <a:gd name="T12" fmla="*/ 476 w 577"/>
              <a:gd name="T13" fmla="*/ 51 h 326"/>
              <a:gd name="T14" fmla="*/ 276 w 577"/>
              <a:gd name="T15" fmla="*/ 51 h 326"/>
              <a:gd name="T16" fmla="*/ 100 w 577"/>
              <a:gd name="T17" fmla="*/ 51 h 326"/>
              <a:gd name="T18" fmla="*/ 100 w 577"/>
              <a:gd name="T19" fmla="*/ 51 h 326"/>
              <a:gd name="T20" fmla="*/ 50 w 577"/>
              <a:gd name="T21" fmla="*/ 100 h 326"/>
              <a:gd name="T22" fmla="*/ 0 w 577"/>
              <a:gd name="T23" fmla="*/ 176 h 326"/>
              <a:gd name="T24" fmla="*/ 50 w 577"/>
              <a:gd name="T25" fmla="*/ 200 h 326"/>
              <a:gd name="T26" fmla="*/ 150 w 577"/>
              <a:gd name="T27" fmla="*/ 225 h 326"/>
              <a:gd name="T28" fmla="*/ 150 w 577"/>
              <a:gd name="T29" fmla="*/ 276 h 326"/>
              <a:gd name="T30" fmla="*/ 176 w 577"/>
              <a:gd name="T31" fmla="*/ 276 h 326"/>
              <a:gd name="T32" fmla="*/ 176 w 577"/>
              <a:gd name="T33" fmla="*/ 325 h 326"/>
              <a:gd name="T34" fmla="*/ 201 w 577"/>
              <a:gd name="T35" fmla="*/ 300 h 326"/>
              <a:gd name="T36" fmla="*/ 250 w 577"/>
              <a:gd name="T37" fmla="*/ 27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326">
                <a:moveTo>
                  <a:pt x="250" y="276"/>
                </a:moveTo>
                <a:lnTo>
                  <a:pt x="250" y="276"/>
                </a:lnTo>
                <a:cubicBezTo>
                  <a:pt x="250" y="276"/>
                  <a:pt x="225" y="225"/>
                  <a:pt x="276" y="225"/>
                </a:cubicBezTo>
                <a:cubicBezTo>
                  <a:pt x="325" y="225"/>
                  <a:pt x="376" y="225"/>
                  <a:pt x="376" y="176"/>
                </a:cubicBezTo>
                <a:cubicBezTo>
                  <a:pt x="376" y="151"/>
                  <a:pt x="450" y="151"/>
                  <a:pt x="476" y="151"/>
                </a:cubicBezTo>
                <a:cubicBezTo>
                  <a:pt x="476" y="151"/>
                  <a:pt x="525" y="125"/>
                  <a:pt x="576" y="125"/>
                </a:cubicBezTo>
                <a:cubicBezTo>
                  <a:pt x="576" y="76"/>
                  <a:pt x="501" y="76"/>
                  <a:pt x="476" y="51"/>
                </a:cubicBezTo>
                <a:cubicBezTo>
                  <a:pt x="425" y="0"/>
                  <a:pt x="325" y="25"/>
                  <a:pt x="276" y="51"/>
                </a:cubicBezTo>
                <a:cubicBezTo>
                  <a:pt x="225" y="51"/>
                  <a:pt x="150" y="25"/>
                  <a:pt x="100" y="51"/>
                </a:cubicBezTo>
                <a:lnTo>
                  <a:pt x="100" y="51"/>
                </a:lnTo>
                <a:cubicBezTo>
                  <a:pt x="76" y="76"/>
                  <a:pt x="50" y="76"/>
                  <a:pt x="50" y="100"/>
                </a:cubicBezTo>
                <a:cubicBezTo>
                  <a:pt x="0" y="125"/>
                  <a:pt x="0" y="176"/>
                  <a:pt x="0" y="176"/>
                </a:cubicBezTo>
                <a:cubicBezTo>
                  <a:pt x="0" y="176"/>
                  <a:pt x="25" y="176"/>
                  <a:pt x="50" y="200"/>
                </a:cubicBezTo>
                <a:cubicBezTo>
                  <a:pt x="76" y="225"/>
                  <a:pt x="125" y="200"/>
                  <a:pt x="150" y="225"/>
                </a:cubicBezTo>
                <a:cubicBezTo>
                  <a:pt x="150" y="225"/>
                  <a:pt x="150" y="251"/>
                  <a:pt x="150" y="276"/>
                </a:cubicBezTo>
                <a:cubicBezTo>
                  <a:pt x="150" y="276"/>
                  <a:pt x="150" y="276"/>
                  <a:pt x="176" y="276"/>
                </a:cubicBezTo>
                <a:cubicBezTo>
                  <a:pt x="176" y="300"/>
                  <a:pt x="176" y="300"/>
                  <a:pt x="176" y="325"/>
                </a:cubicBezTo>
                <a:cubicBezTo>
                  <a:pt x="201" y="300"/>
                  <a:pt x="201" y="300"/>
                  <a:pt x="201" y="300"/>
                </a:cubicBezTo>
                <a:cubicBezTo>
                  <a:pt x="201" y="300"/>
                  <a:pt x="225" y="300"/>
                  <a:pt x="250" y="2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3" name="Freeform 216">
            <a:extLst>
              <a:ext uri="{FF2B5EF4-FFF2-40B4-BE49-F238E27FC236}">
                <a16:creationId xmlns:a16="http://schemas.microsoft.com/office/drawing/2014/main" id="{E89475EB-9CF4-ACDD-6752-4C48D530D453}"/>
              </a:ext>
            </a:extLst>
          </p:cNvPr>
          <p:cNvSpPr>
            <a:spLocks noChangeArrowheads="1"/>
          </p:cNvSpPr>
          <p:nvPr/>
        </p:nvSpPr>
        <p:spPr bwMode="auto">
          <a:xfrm>
            <a:off x="5265534" y="4062473"/>
            <a:ext cx="127968" cy="119531"/>
          </a:xfrm>
          <a:custGeom>
            <a:avLst/>
            <a:gdLst>
              <a:gd name="T0" fmla="*/ 350 w 401"/>
              <a:gd name="T1" fmla="*/ 249 h 375"/>
              <a:gd name="T2" fmla="*/ 350 w 401"/>
              <a:gd name="T3" fmla="*/ 249 h 375"/>
              <a:gd name="T4" fmla="*/ 400 w 401"/>
              <a:gd name="T5" fmla="*/ 200 h 375"/>
              <a:gd name="T6" fmla="*/ 350 w 401"/>
              <a:gd name="T7" fmla="*/ 174 h 375"/>
              <a:gd name="T8" fmla="*/ 300 w 401"/>
              <a:gd name="T9" fmla="*/ 174 h 375"/>
              <a:gd name="T10" fmla="*/ 300 w 401"/>
              <a:gd name="T11" fmla="*/ 0 h 375"/>
              <a:gd name="T12" fmla="*/ 150 w 401"/>
              <a:gd name="T13" fmla="*/ 0 h 375"/>
              <a:gd name="T14" fmla="*/ 125 w 401"/>
              <a:gd name="T15" fmla="*/ 49 h 375"/>
              <a:gd name="T16" fmla="*/ 200 w 401"/>
              <a:gd name="T17" fmla="*/ 149 h 375"/>
              <a:gd name="T18" fmla="*/ 76 w 401"/>
              <a:gd name="T19" fmla="*/ 174 h 375"/>
              <a:gd name="T20" fmla="*/ 0 w 401"/>
              <a:gd name="T21" fmla="*/ 274 h 375"/>
              <a:gd name="T22" fmla="*/ 100 w 401"/>
              <a:gd name="T23" fmla="*/ 349 h 375"/>
              <a:gd name="T24" fmla="*/ 225 w 401"/>
              <a:gd name="T25" fmla="*/ 374 h 375"/>
              <a:gd name="T26" fmla="*/ 225 w 401"/>
              <a:gd name="T27" fmla="*/ 374 h 375"/>
              <a:gd name="T28" fmla="*/ 300 w 401"/>
              <a:gd name="T29" fmla="*/ 325 h 375"/>
              <a:gd name="T30" fmla="*/ 350 w 401"/>
              <a:gd name="T31" fmla="*/ 24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375">
                <a:moveTo>
                  <a:pt x="350" y="249"/>
                </a:moveTo>
                <a:lnTo>
                  <a:pt x="350" y="249"/>
                </a:lnTo>
                <a:cubicBezTo>
                  <a:pt x="350" y="225"/>
                  <a:pt x="376" y="225"/>
                  <a:pt x="400" y="200"/>
                </a:cubicBezTo>
                <a:cubicBezTo>
                  <a:pt x="350" y="225"/>
                  <a:pt x="350" y="200"/>
                  <a:pt x="350" y="174"/>
                </a:cubicBezTo>
                <a:cubicBezTo>
                  <a:pt x="300" y="174"/>
                  <a:pt x="300" y="174"/>
                  <a:pt x="300" y="174"/>
                </a:cubicBezTo>
                <a:cubicBezTo>
                  <a:pt x="300" y="0"/>
                  <a:pt x="300" y="0"/>
                  <a:pt x="300" y="0"/>
                </a:cubicBezTo>
                <a:cubicBezTo>
                  <a:pt x="276" y="0"/>
                  <a:pt x="176" y="0"/>
                  <a:pt x="150" y="0"/>
                </a:cubicBezTo>
                <a:cubicBezTo>
                  <a:pt x="125" y="0"/>
                  <a:pt x="125" y="49"/>
                  <a:pt x="125" y="49"/>
                </a:cubicBezTo>
                <a:cubicBezTo>
                  <a:pt x="125" y="74"/>
                  <a:pt x="200" y="125"/>
                  <a:pt x="200" y="149"/>
                </a:cubicBezTo>
                <a:cubicBezTo>
                  <a:pt x="176" y="174"/>
                  <a:pt x="76" y="174"/>
                  <a:pt x="76" y="174"/>
                </a:cubicBezTo>
                <a:cubicBezTo>
                  <a:pt x="50" y="174"/>
                  <a:pt x="25" y="225"/>
                  <a:pt x="0" y="274"/>
                </a:cubicBezTo>
                <a:cubicBezTo>
                  <a:pt x="25" y="300"/>
                  <a:pt x="76" y="349"/>
                  <a:pt x="100" y="349"/>
                </a:cubicBezTo>
                <a:cubicBezTo>
                  <a:pt x="125" y="374"/>
                  <a:pt x="200" y="349"/>
                  <a:pt x="225" y="374"/>
                </a:cubicBezTo>
                <a:lnTo>
                  <a:pt x="225" y="374"/>
                </a:lnTo>
                <a:cubicBezTo>
                  <a:pt x="250" y="349"/>
                  <a:pt x="276" y="325"/>
                  <a:pt x="300" y="325"/>
                </a:cubicBezTo>
                <a:cubicBezTo>
                  <a:pt x="325" y="325"/>
                  <a:pt x="300" y="274"/>
                  <a:pt x="350" y="2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4" name="Freeform 217">
            <a:extLst>
              <a:ext uri="{FF2B5EF4-FFF2-40B4-BE49-F238E27FC236}">
                <a16:creationId xmlns:a16="http://schemas.microsoft.com/office/drawing/2014/main" id="{C9444236-1547-3E86-84CC-E0DCA4AC89D4}"/>
              </a:ext>
            </a:extLst>
          </p:cNvPr>
          <p:cNvSpPr>
            <a:spLocks noChangeArrowheads="1"/>
          </p:cNvSpPr>
          <p:nvPr/>
        </p:nvSpPr>
        <p:spPr bwMode="auto">
          <a:xfrm>
            <a:off x="5361160" y="4038567"/>
            <a:ext cx="40780" cy="80156"/>
          </a:xfrm>
          <a:custGeom>
            <a:avLst/>
            <a:gdLst>
              <a:gd name="T0" fmla="*/ 25 w 126"/>
              <a:gd name="T1" fmla="*/ 75 h 250"/>
              <a:gd name="T2" fmla="*/ 25 w 126"/>
              <a:gd name="T3" fmla="*/ 75 h 250"/>
              <a:gd name="T4" fmla="*/ 0 w 126"/>
              <a:gd name="T5" fmla="*/ 75 h 250"/>
              <a:gd name="T6" fmla="*/ 0 w 126"/>
              <a:gd name="T7" fmla="*/ 249 h 250"/>
              <a:gd name="T8" fmla="*/ 50 w 126"/>
              <a:gd name="T9" fmla="*/ 249 h 250"/>
              <a:gd name="T10" fmla="*/ 76 w 126"/>
              <a:gd name="T11" fmla="*/ 200 h 250"/>
              <a:gd name="T12" fmla="*/ 100 w 126"/>
              <a:gd name="T13" fmla="*/ 49 h 250"/>
              <a:gd name="T14" fmla="*/ 125 w 126"/>
              <a:gd name="T15" fmla="*/ 24 h 250"/>
              <a:gd name="T16" fmla="*/ 76 w 126"/>
              <a:gd name="T17" fmla="*/ 0 h 250"/>
              <a:gd name="T18" fmla="*/ 25 w 126"/>
              <a:gd name="T19" fmla="*/ 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50">
                <a:moveTo>
                  <a:pt x="25" y="75"/>
                </a:moveTo>
                <a:lnTo>
                  <a:pt x="25" y="75"/>
                </a:lnTo>
                <a:cubicBezTo>
                  <a:pt x="25" y="75"/>
                  <a:pt x="25" y="75"/>
                  <a:pt x="0" y="75"/>
                </a:cubicBezTo>
                <a:cubicBezTo>
                  <a:pt x="0" y="249"/>
                  <a:pt x="0" y="249"/>
                  <a:pt x="0" y="249"/>
                </a:cubicBezTo>
                <a:cubicBezTo>
                  <a:pt x="50" y="249"/>
                  <a:pt x="50" y="249"/>
                  <a:pt x="50" y="249"/>
                </a:cubicBezTo>
                <a:cubicBezTo>
                  <a:pt x="50" y="224"/>
                  <a:pt x="76" y="224"/>
                  <a:pt x="76" y="200"/>
                </a:cubicBezTo>
                <a:cubicBezTo>
                  <a:pt x="125" y="175"/>
                  <a:pt x="76" y="49"/>
                  <a:pt x="100" y="49"/>
                </a:cubicBezTo>
                <a:cubicBezTo>
                  <a:pt x="125" y="49"/>
                  <a:pt x="125" y="49"/>
                  <a:pt x="125" y="24"/>
                </a:cubicBezTo>
                <a:cubicBezTo>
                  <a:pt x="125" y="24"/>
                  <a:pt x="100" y="0"/>
                  <a:pt x="76" y="0"/>
                </a:cubicBezTo>
                <a:cubicBezTo>
                  <a:pt x="50" y="0"/>
                  <a:pt x="25" y="75"/>
                  <a:pt x="2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5" name="Freeform 218">
            <a:extLst>
              <a:ext uri="{FF2B5EF4-FFF2-40B4-BE49-F238E27FC236}">
                <a16:creationId xmlns:a16="http://schemas.microsoft.com/office/drawing/2014/main" id="{E5971693-D6BE-DE33-A385-0A9B2802CE02}"/>
              </a:ext>
            </a:extLst>
          </p:cNvPr>
          <p:cNvSpPr>
            <a:spLocks noChangeArrowheads="1"/>
          </p:cNvSpPr>
          <p:nvPr/>
        </p:nvSpPr>
        <p:spPr bwMode="auto">
          <a:xfrm>
            <a:off x="5799906" y="3982316"/>
            <a:ext cx="95624" cy="80156"/>
          </a:xfrm>
          <a:custGeom>
            <a:avLst/>
            <a:gdLst>
              <a:gd name="T0" fmla="*/ 150 w 301"/>
              <a:gd name="T1" fmla="*/ 25 h 252"/>
              <a:gd name="T2" fmla="*/ 150 w 301"/>
              <a:gd name="T3" fmla="*/ 25 h 252"/>
              <a:gd name="T4" fmla="*/ 200 w 301"/>
              <a:gd name="T5" fmla="*/ 151 h 252"/>
              <a:gd name="T6" fmla="*/ 25 w 301"/>
              <a:gd name="T7" fmla="*/ 200 h 252"/>
              <a:gd name="T8" fmla="*/ 150 w 301"/>
              <a:gd name="T9" fmla="*/ 225 h 252"/>
              <a:gd name="T10" fmla="*/ 274 w 301"/>
              <a:gd name="T11" fmla="*/ 225 h 252"/>
              <a:gd name="T12" fmla="*/ 300 w 301"/>
              <a:gd name="T13" fmla="*/ 51 h 252"/>
              <a:gd name="T14" fmla="*/ 150 w 301"/>
              <a:gd name="T15" fmla="*/ 25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52">
                <a:moveTo>
                  <a:pt x="150" y="25"/>
                </a:moveTo>
                <a:lnTo>
                  <a:pt x="150" y="25"/>
                </a:lnTo>
                <a:cubicBezTo>
                  <a:pt x="100" y="51"/>
                  <a:pt x="200" y="125"/>
                  <a:pt x="200" y="151"/>
                </a:cubicBezTo>
                <a:cubicBezTo>
                  <a:pt x="200" y="200"/>
                  <a:pt x="25" y="151"/>
                  <a:pt x="25" y="200"/>
                </a:cubicBezTo>
                <a:cubicBezTo>
                  <a:pt x="0" y="200"/>
                  <a:pt x="74" y="251"/>
                  <a:pt x="150" y="225"/>
                </a:cubicBezTo>
                <a:cubicBezTo>
                  <a:pt x="200" y="200"/>
                  <a:pt x="250" y="225"/>
                  <a:pt x="274" y="225"/>
                </a:cubicBezTo>
                <a:cubicBezTo>
                  <a:pt x="274" y="176"/>
                  <a:pt x="274" y="100"/>
                  <a:pt x="300" y="51"/>
                </a:cubicBezTo>
                <a:cubicBezTo>
                  <a:pt x="225" y="51"/>
                  <a:pt x="174" y="0"/>
                  <a:pt x="150" y="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6" name="Freeform 219">
            <a:extLst>
              <a:ext uri="{FF2B5EF4-FFF2-40B4-BE49-F238E27FC236}">
                <a16:creationId xmlns:a16="http://schemas.microsoft.com/office/drawing/2014/main" id="{E914C82C-3EC6-4BEF-2A18-9505368EA308}"/>
              </a:ext>
            </a:extLst>
          </p:cNvPr>
          <p:cNvSpPr>
            <a:spLocks noChangeArrowheads="1"/>
          </p:cNvSpPr>
          <p:nvPr/>
        </p:nvSpPr>
        <p:spPr bwMode="auto">
          <a:xfrm>
            <a:off x="5888500" y="3997787"/>
            <a:ext cx="104061" cy="64687"/>
          </a:xfrm>
          <a:custGeom>
            <a:avLst/>
            <a:gdLst>
              <a:gd name="T0" fmla="*/ 126 w 327"/>
              <a:gd name="T1" fmla="*/ 149 h 201"/>
              <a:gd name="T2" fmla="*/ 126 w 327"/>
              <a:gd name="T3" fmla="*/ 149 h 201"/>
              <a:gd name="T4" fmla="*/ 326 w 327"/>
              <a:gd name="T5" fmla="*/ 100 h 201"/>
              <a:gd name="T6" fmla="*/ 76 w 327"/>
              <a:gd name="T7" fmla="*/ 0 h 201"/>
              <a:gd name="T8" fmla="*/ 26 w 327"/>
              <a:gd name="T9" fmla="*/ 0 h 201"/>
              <a:gd name="T10" fmla="*/ 0 w 327"/>
              <a:gd name="T11" fmla="*/ 174 h 201"/>
              <a:gd name="T12" fmla="*/ 0 w 327"/>
              <a:gd name="T13" fmla="*/ 200 h 201"/>
              <a:gd name="T14" fmla="*/ 126 w 327"/>
              <a:gd name="T15" fmla="*/ 14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01">
                <a:moveTo>
                  <a:pt x="126" y="149"/>
                </a:moveTo>
                <a:lnTo>
                  <a:pt x="126" y="149"/>
                </a:lnTo>
                <a:cubicBezTo>
                  <a:pt x="200" y="125"/>
                  <a:pt x="326" y="174"/>
                  <a:pt x="326" y="100"/>
                </a:cubicBezTo>
                <a:cubicBezTo>
                  <a:pt x="326" y="49"/>
                  <a:pt x="126" y="0"/>
                  <a:pt x="76" y="0"/>
                </a:cubicBezTo>
                <a:cubicBezTo>
                  <a:pt x="51" y="0"/>
                  <a:pt x="26" y="0"/>
                  <a:pt x="26" y="0"/>
                </a:cubicBezTo>
                <a:cubicBezTo>
                  <a:pt x="0" y="49"/>
                  <a:pt x="0" y="125"/>
                  <a:pt x="0" y="174"/>
                </a:cubicBezTo>
                <a:cubicBezTo>
                  <a:pt x="0" y="174"/>
                  <a:pt x="0" y="174"/>
                  <a:pt x="0" y="200"/>
                </a:cubicBezTo>
                <a:cubicBezTo>
                  <a:pt x="26" y="200"/>
                  <a:pt x="51" y="174"/>
                  <a:pt x="126" y="1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7" name="Freeform 220">
            <a:extLst>
              <a:ext uri="{FF2B5EF4-FFF2-40B4-BE49-F238E27FC236}">
                <a16:creationId xmlns:a16="http://schemas.microsoft.com/office/drawing/2014/main" id="{51271A98-6E01-3A88-04EE-CAA6DC4ED123}"/>
              </a:ext>
            </a:extLst>
          </p:cNvPr>
          <p:cNvSpPr>
            <a:spLocks noChangeArrowheads="1"/>
          </p:cNvSpPr>
          <p:nvPr/>
        </p:nvSpPr>
        <p:spPr bwMode="auto">
          <a:xfrm>
            <a:off x="5417409" y="4149658"/>
            <a:ext cx="127968" cy="127968"/>
          </a:xfrm>
          <a:custGeom>
            <a:avLst/>
            <a:gdLst>
              <a:gd name="T0" fmla="*/ 225 w 401"/>
              <a:gd name="T1" fmla="*/ 375 h 401"/>
              <a:gd name="T2" fmla="*/ 225 w 401"/>
              <a:gd name="T3" fmla="*/ 375 h 401"/>
              <a:gd name="T4" fmla="*/ 300 w 401"/>
              <a:gd name="T5" fmla="*/ 400 h 401"/>
              <a:gd name="T6" fmla="*/ 349 w 401"/>
              <a:gd name="T7" fmla="*/ 400 h 401"/>
              <a:gd name="T8" fmla="*/ 349 w 401"/>
              <a:gd name="T9" fmla="*/ 375 h 401"/>
              <a:gd name="T10" fmla="*/ 374 w 401"/>
              <a:gd name="T11" fmla="*/ 251 h 401"/>
              <a:gd name="T12" fmla="*/ 374 w 401"/>
              <a:gd name="T13" fmla="*/ 100 h 401"/>
              <a:gd name="T14" fmla="*/ 400 w 401"/>
              <a:gd name="T15" fmla="*/ 0 h 401"/>
              <a:gd name="T16" fmla="*/ 400 w 401"/>
              <a:gd name="T17" fmla="*/ 0 h 401"/>
              <a:gd name="T18" fmla="*/ 300 w 401"/>
              <a:gd name="T19" fmla="*/ 26 h 401"/>
              <a:gd name="T20" fmla="*/ 200 w 401"/>
              <a:gd name="T21" fmla="*/ 51 h 401"/>
              <a:gd name="T22" fmla="*/ 100 w 401"/>
              <a:gd name="T23" fmla="*/ 100 h 401"/>
              <a:gd name="T24" fmla="*/ 74 w 401"/>
              <a:gd name="T25" fmla="*/ 151 h 401"/>
              <a:gd name="T26" fmla="*/ 25 w 401"/>
              <a:gd name="T27" fmla="*/ 175 h 401"/>
              <a:gd name="T28" fmla="*/ 0 w 401"/>
              <a:gd name="T29" fmla="*/ 200 h 401"/>
              <a:gd name="T30" fmla="*/ 25 w 401"/>
              <a:gd name="T31" fmla="*/ 226 h 401"/>
              <a:gd name="T32" fmla="*/ 125 w 401"/>
              <a:gd name="T33" fmla="*/ 351 h 401"/>
              <a:gd name="T34" fmla="*/ 174 w 401"/>
              <a:gd name="T35" fmla="*/ 375 h 401"/>
              <a:gd name="T36" fmla="*/ 225 w 401"/>
              <a:gd name="T37" fmla="*/ 37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01">
                <a:moveTo>
                  <a:pt x="225" y="375"/>
                </a:moveTo>
                <a:lnTo>
                  <a:pt x="225" y="375"/>
                </a:lnTo>
                <a:cubicBezTo>
                  <a:pt x="225" y="400"/>
                  <a:pt x="274" y="375"/>
                  <a:pt x="300" y="400"/>
                </a:cubicBezTo>
                <a:cubicBezTo>
                  <a:pt x="325" y="400"/>
                  <a:pt x="325" y="400"/>
                  <a:pt x="349" y="400"/>
                </a:cubicBezTo>
                <a:lnTo>
                  <a:pt x="349" y="375"/>
                </a:lnTo>
                <a:cubicBezTo>
                  <a:pt x="325" y="351"/>
                  <a:pt x="349" y="300"/>
                  <a:pt x="374" y="251"/>
                </a:cubicBezTo>
                <a:cubicBezTo>
                  <a:pt x="374" y="226"/>
                  <a:pt x="349" y="126"/>
                  <a:pt x="374" y="100"/>
                </a:cubicBezTo>
                <a:cubicBezTo>
                  <a:pt x="400" y="75"/>
                  <a:pt x="374" y="51"/>
                  <a:pt x="400" y="0"/>
                </a:cubicBezTo>
                <a:lnTo>
                  <a:pt x="400" y="0"/>
                </a:lnTo>
                <a:cubicBezTo>
                  <a:pt x="349" y="0"/>
                  <a:pt x="300" y="26"/>
                  <a:pt x="300" y="26"/>
                </a:cubicBezTo>
                <a:cubicBezTo>
                  <a:pt x="274" y="26"/>
                  <a:pt x="200" y="26"/>
                  <a:pt x="200" y="51"/>
                </a:cubicBezTo>
                <a:cubicBezTo>
                  <a:pt x="200" y="100"/>
                  <a:pt x="149" y="100"/>
                  <a:pt x="100" y="100"/>
                </a:cubicBezTo>
                <a:cubicBezTo>
                  <a:pt x="49" y="100"/>
                  <a:pt x="74" y="151"/>
                  <a:pt x="74" y="151"/>
                </a:cubicBezTo>
                <a:cubicBezTo>
                  <a:pt x="49" y="175"/>
                  <a:pt x="25" y="175"/>
                  <a:pt x="25" y="175"/>
                </a:cubicBezTo>
                <a:cubicBezTo>
                  <a:pt x="0" y="200"/>
                  <a:pt x="0" y="200"/>
                  <a:pt x="0" y="200"/>
                </a:cubicBezTo>
                <a:cubicBezTo>
                  <a:pt x="0" y="200"/>
                  <a:pt x="0" y="226"/>
                  <a:pt x="25" y="226"/>
                </a:cubicBezTo>
                <a:cubicBezTo>
                  <a:pt x="49" y="251"/>
                  <a:pt x="100" y="325"/>
                  <a:pt x="125" y="351"/>
                </a:cubicBezTo>
                <a:cubicBezTo>
                  <a:pt x="149" y="351"/>
                  <a:pt x="149" y="351"/>
                  <a:pt x="174" y="375"/>
                </a:cubicBezTo>
                <a:cubicBezTo>
                  <a:pt x="174" y="375"/>
                  <a:pt x="200" y="375"/>
                  <a:pt x="225" y="3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8" name="Freeform 221">
            <a:extLst>
              <a:ext uri="{FF2B5EF4-FFF2-40B4-BE49-F238E27FC236}">
                <a16:creationId xmlns:a16="http://schemas.microsoft.com/office/drawing/2014/main" id="{FFEC1FDD-4D99-37FF-8511-2DA889900D61}"/>
              </a:ext>
            </a:extLst>
          </p:cNvPr>
          <p:cNvSpPr>
            <a:spLocks noChangeArrowheads="1"/>
          </p:cNvSpPr>
          <p:nvPr/>
        </p:nvSpPr>
        <p:spPr bwMode="auto">
          <a:xfrm>
            <a:off x="6294904" y="5544650"/>
            <a:ext cx="143436" cy="160312"/>
          </a:xfrm>
          <a:custGeom>
            <a:avLst/>
            <a:gdLst>
              <a:gd name="T0" fmla="*/ 450 w 451"/>
              <a:gd name="T1" fmla="*/ 251 h 501"/>
              <a:gd name="T2" fmla="*/ 450 w 451"/>
              <a:gd name="T3" fmla="*/ 251 h 501"/>
              <a:gd name="T4" fmla="*/ 375 w 451"/>
              <a:gd name="T5" fmla="*/ 175 h 501"/>
              <a:gd name="T6" fmla="*/ 275 w 451"/>
              <a:gd name="T7" fmla="*/ 75 h 501"/>
              <a:gd name="T8" fmla="*/ 225 w 451"/>
              <a:gd name="T9" fmla="*/ 100 h 501"/>
              <a:gd name="T10" fmla="*/ 175 w 451"/>
              <a:gd name="T11" fmla="*/ 25 h 501"/>
              <a:gd name="T12" fmla="*/ 100 w 451"/>
              <a:gd name="T13" fmla="*/ 0 h 501"/>
              <a:gd name="T14" fmla="*/ 75 w 451"/>
              <a:gd name="T15" fmla="*/ 0 h 501"/>
              <a:gd name="T16" fmla="*/ 50 w 451"/>
              <a:gd name="T17" fmla="*/ 51 h 501"/>
              <a:gd name="T18" fmla="*/ 25 w 451"/>
              <a:gd name="T19" fmla="*/ 225 h 501"/>
              <a:gd name="T20" fmla="*/ 0 w 451"/>
              <a:gd name="T21" fmla="*/ 351 h 501"/>
              <a:gd name="T22" fmla="*/ 25 w 451"/>
              <a:gd name="T23" fmla="*/ 400 h 501"/>
              <a:gd name="T24" fmla="*/ 0 w 451"/>
              <a:gd name="T25" fmla="*/ 451 h 501"/>
              <a:gd name="T26" fmla="*/ 50 w 451"/>
              <a:gd name="T27" fmla="*/ 451 h 501"/>
              <a:gd name="T28" fmla="*/ 175 w 451"/>
              <a:gd name="T29" fmla="*/ 500 h 501"/>
              <a:gd name="T30" fmla="*/ 250 w 451"/>
              <a:gd name="T31" fmla="*/ 500 h 501"/>
              <a:gd name="T32" fmla="*/ 375 w 451"/>
              <a:gd name="T33" fmla="*/ 475 h 501"/>
              <a:gd name="T34" fmla="*/ 450 w 451"/>
              <a:gd name="T35" fmla="*/ 375 h 501"/>
              <a:gd name="T36" fmla="*/ 450 w 451"/>
              <a:gd name="T37" fmla="*/ 25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 h="501">
                <a:moveTo>
                  <a:pt x="450" y="251"/>
                </a:moveTo>
                <a:lnTo>
                  <a:pt x="450" y="251"/>
                </a:lnTo>
                <a:cubicBezTo>
                  <a:pt x="450" y="200"/>
                  <a:pt x="400" y="175"/>
                  <a:pt x="375" y="175"/>
                </a:cubicBezTo>
                <a:cubicBezTo>
                  <a:pt x="375" y="151"/>
                  <a:pt x="300" y="125"/>
                  <a:pt x="275" y="75"/>
                </a:cubicBezTo>
                <a:cubicBezTo>
                  <a:pt x="250" y="51"/>
                  <a:pt x="250" y="100"/>
                  <a:pt x="225" y="100"/>
                </a:cubicBezTo>
                <a:cubicBezTo>
                  <a:pt x="225" y="100"/>
                  <a:pt x="225" y="75"/>
                  <a:pt x="175" y="25"/>
                </a:cubicBezTo>
                <a:cubicBezTo>
                  <a:pt x="150" y="0"/>
                  <a:pt x="125" y="0"/>
                  <a:pt x="100" y="0"/>
                </a:cubicBezTo>
                <a:cubicBezTo>
                  <a:pt x="100" y="0"/>
                  <a:pt x="100" y="0"/>
                  <a:pt x="75" y="0"/>
                </a:cubicBezTo>
                <a:cubicBezTo>
                  <a:pt x="50" y="25"/>
                  <a:pt x="50" y="51"/>
                  <a:pt x="50" y="51"/>
                </a:cubicBezTo>
                <a:cubicBezTo>
                  <a:pt x="50" y="100"/>
                  <a:pt x="25" y="151"/>
                  <a:pt x="25" y="225"/>
                </a:cubicBezTo>
                <a:cubicBezTo>
                  <a:pt x="25" y="300"/>
                  <a:pt x="0" y="275"/>
                  <a:pt x="0" y="351"/>
                </a:cubicBezTo>
                <a:cubicBezTo>
                  <a:pt x="0" y="400"/>
                  <a:pt x="0" y="400"/>
                  <a:pt x="25" y="400"/>
                </a:cubicBezTo>
                <a:cubicBezTo>
                  <a:pt x="25" y="400"/>
                  <a:pt x="25" y="425"/>
                  <a:pt x="0" y="451"/>
                </a:cubicBezTo>
                <a:cubicBezTo>
                  <a:pt x="25" y="451"/>
                  <a:pt x="25" y="451"/>
                  <a:pt x="50" y="451"/>
                </a:cubicBezTo>
                <a:cubicBezTo>
                  <a:pt x="75" y="451"/>
                  <a:pt x="125" y="475"/>
                  <a:pt x="175" y="500"/>
                </a:cubicBezTo>
                <a:cubicBezTo>
                  <a:pt x="225" y="500"/>
                  <a:pt x="200" y="475"/>
                  <a:pt x="250" y="500"/>
                </a:cubicBezTo>
                <a:cubicBezTo>
                  <a:pt x="275" y="500"/>
                  <a:pt x="325" y="500"/>
                  <a:pt x="375" y="475"/>
                </a:cubicBezTo>
                <a:cubicBezTo>
                  <a:pt x="425" y="451"/>
                  <a:pt x="425" y="425"/>
                  <a:pt x="450" y="375"/>
                </a:cubicBezTo>
                <a:cubicBezTo>
                  <a:pt x="425" y="325"/>
                  <a:pt x="450" y="275"/>
                  <a:pt x="450" y="2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89" name="Freeform 222">
            <a:extLst>
              <a:ext uri="{FF2B5EF4-FFF2-40B4-BE49-F238E27FC236}">
                <a16:creationId xmlns:a16="http://schemas.microsoft.com/office/drawing/2014/main" id="{E7DCF89A-52FE-3F42-D1DF-8B090030E9FA}"/>
              </a:ext>
            </a:extLst>
          </p:cNvPr>
          <p:cNvSpPr>
            <a:spLocks noChangeArrowheads="1"/>
          </p:cNvSpPr>
          <p:nvPr/>
        </p:nvSpPr>
        <p:spPr bwMode="auto">
          <a:xfrm>
            <a:off x="5832250" y="5273245"/>
            <a:ext cx="606091" cy="1196712"/>
          </a:xfrm>
          <a:custGeom>
            <a:avLst/>
            <a:gdLst>
              <a:gd name="T0" fmla="*/ 725 w 1901"/>
              <a:gd name="T1" fmla="*/ 3675 h 3752"/>
              <a:gd name="T2" fmla="*/ 475 w 1901"/>
              <a:gd name="T3" fmla="*/ 3501 h 3752"/>
              <a:gd name="T4" fmla="*/ 450 w 1901"/>
              <a:gd name="T5" fmla="*/ 3401 h 3752"/>
              <a:gd name="T6" fmla="*/ 625 w 1901"/>
              <a:gd name="T7" fmla="*/ 3726 h 3752"/>
              <a:gd name="T8" fmla="*/ 775 w 1901"/>
              <a:gd name="T9" fmla="*/ 3701 h 3752"/>
              <a:gd name="T10" fmla="*/ 1875 w 1901"/>
              <a:gd name="T11" fmla="*/ 375 h 3752"/>
              <a:gd name="T12" fmla="*/ 1800 w 1901"/>
              <a:gd name="T13" fmla="*/ 375 h 3752"/>
              <a:gd name="T14" fmla="*/ 1750 w 1901"/>
              <a:gd name="T15" fmla="*/ 525 h 3752"/>
              <a:gd name="T16" fmla="*/ 1600 w 1901"/>
              <a:gd name="T17" fmla="*/ 575 h 3752"/>
              <a:gd name="T18" fmla="*/ 1425 w 1901"/>
              <a:gd name="T19" fmla="*/ 550 h 3752"/>
              <a:gd name="T20" fmla="*/ 1525 w 1901"/>
              <a:gd name="T21" fmla="*/ 350 h 3752"/>
              <a:gd name="T22" fmla="*/ 1250 w 1901"/>
              <a:gd name="T23" fmla="*/ 225 h 3752"/>
              <a:gd name="T24" fmla="*/ 1025 w 1901"/>
              <a:gd name="T25" fmla="*/ 25 h 3752"/>
              <a:gd name="T26" fmla="*/ 875 w 1901"/>
              <a:gd name="T27" fmla="*/ 75 h 3752"/>
              <a:gd name="T28" fmla="*/ 675 w 1901"/>
              <a:gd name="T29" fmla="*/ 25 h 3752"/>
              <a:gd name="T30" fmla="*/ 600 w 1901"/>
              <a:gd name="T31" fmla="*/ 200 h 3752"/>
              <a:gd name="T32" fmla="*/ 475 w 1901"/>
              <a:gd name="T33" fmla="*/ 350 h 3752"/>
              <a:gd name="T34" fmla="*/ 500 w 1901"/>
              <a:gd name="T35" fmla="*/ 525 h 3752"/>
              <a:gd name="T36" fmla="*/ 400 w 1901"/>
              <a:gd name="T37" fmla="*/ 650 h 3752"/>
              <a:gd name="T38" fmla="*/ 325 w 1901"/>
              <a:gd name="T39" fmla="*/ 775 h 3752"/>
              <a:gd name="T40" fmla="*/ 300 w 1901"/>
              <a:gd name="T41" fmla="*/ 950 h 3752"/>
              <a:gd name="T42" fmla="*/ 325 w 1901"/>
              <a:gd name="T43" fmla="*/ 1150 h 3752"/>
              <a:gd name="T44" fmla="*/ 325 w 1901"/>
              <a:gd name="T45" fmla="*/ 1301 h 3752"/>
              <a:gd name="T46" fmla="*/ 300 w 1901"/>
              <a:gd name="T47" fmla="*/ 1501 h 3752"/>
              <a:gd name="T48" fmla="*/ 225 w 1901"/>
              <a:gd name="T49" fmla="*/ 1701 h 3752"/>
              <a:gd name="T50" fmla="*/ 200 w 1901"/>
              <a:gd name="T51" fmla="*/ 1801 h 3752"/>
              <a:gd name="T52" fmla="*/ 174 w 1901"/>
              <a:gd name="T53" fmla="*/ 1925 h 3752"/>
              <a:gd name="T54" fmla="*/ 150 w 1901"/>
              <a:gd name="T55" fmla="*/ 2050 h 3752"/>
              <a:gd name="T56" fmla="*/ 150 w 1901"/>
              <a:gd name="T57" fmla="*/ 2250 h 3752"/>
              <a:gd name="T58" fmla="*/ 174 w 1901"/>
              <a:gd name="T59" fmla="*/ 2375 h 3752"/>
              <a:gd name="T60" fmla="*/ 200 w 1901"/>
              <a:gd name="T61" fmla="*/ 2450 h 3752"/>
              <a:gd name="T62" fmla="*/ 174 w 1901"/>
              <a:gd name="T63" fmla="*/ 2526 h 3752"/>
              <a:gd name="T64" fmla="*/ 174 w 1901"/>
              <a:gd name="T65" fmla="*/ 2675 h 3752"/>
              <a:gd name="T66" fmla="*/ 100 w 1901"/>
              <a:gd name="T67" fmla="*/ 2801 h 3752"/>
              <a:gd name="T68" fmla="*/ 74 w 1901"/>
              <a:gd name="T69" fmla="*/ 2950 h 3752"/>
              <a:gd name="T70" fmla="*/ 25 w 1901"/>
              <a:gd name="T71" fmla="*/ 3101 h 3752"/>
              <a:gd name="T72" fmla="*/ 125 w 1901"/>
              <a:gd name="T73" fmla="*/ 3201 h 3752"/>
              <a:gd name="T74" fmla="*/ 174 w 1901"/>
              <a:gd name="T75" fmla="*/ 3326 h 3752"/>
              <a:gd name="T76" fmla="*/ 374 w 1901"/>
              <a:gd name="T77" fmla="*/ 3351 h 3752"/>
              <a:gd name="T78" fmla="*/ 425 w 1901"/>
              <a:gd name="T79" fmla="*/ 3275 h 3752"/>
              <a:gd name="T80" fmla="*/ 425 w 1901"/>
              <a:gd name="T81" fmla="*/ 3126 h 3752"/>
              <a:gd name="T82" fmla="*/ 550 w 1901"/>
              <a:gd name="T83" fmla="*/ 3026 h 3752"/>
              <a:gd name="T84" fmla="*/ 725 w 1901"/>
              <a:gd name="T85" fmla="*/ 2826 h 3752"/>
              <a:gd name="T86" fmla="*/ 650 w 1901"/>
              <a:gd name="T87" fmla="*/ 2701 h 3752"/>
              <a:gd name="T88" fmla="*/ 725 w 1901"/>
              <a:gd name="T89" fmla="*/ 2475 h 3752"/>
              <a:gd name="T90" fmla="*/ 775 w 1901"/>
              <a:gd name="T91" fmla="*/ 2375 h 3752"/>
              <a:gd name="T92" fmla="*/ 850 w 1901"/>
              <a:gd name="T93" fmla="*/ 2250 h 3752"/>
              <a:gd name="T94" fmla="*/ 900 w 1901"/>
              <a:gd name="T95" fmla="*/ 2226 h 3752"/>
              <a:gd name="T96" fmla="*/ 875 w 1901"/>
              <a:gd name="T97" fmla="*/ 2175 h 3752"/>
              <a:gd name="T98" fmla="*/ 800 w 1901"/>
              <a:gd name="T99" fmla="*/ 2075 h 3752"/>
              <a:gd name="T100" fmla="*/ 950 w 1901"/>
              <a:gd name="T101" fmla="*/ 2026 h 3752"/>
              <a:gd name="T102" fmla="*/ 1075 w 1901"/>
              <a:gd name="T103" fmla="*/ 1901 h 3752"/>
              <a:gd name="T104" fmla="*/ 1100 w 1901"/>
              <a:gd name="T105" fmla="*/ 1775 h 3752"/>
              <a:gd name="T106" fmla="*/ 1525 w 1901"/>
              <a:gd name="T107" fmla="*/ 1675 h 3752"/>
              <a:gd name="T108" fmla="*/ 1575 w 1901"/>
              <a:gd name="T109" fmla="*/ 1501 h 3752"/>
              <a:gd name="T110" fmla="*/ 1500 w 1901"/>
              <a:gd name="T111" fmla="*/ 1350 h 3752"/>
              <a:gd name="T112" fmla="*/ 1450 w 1901"/>
              <a:gd name="T113" fmla="*/ 1301 h 3752"/>
              <a:gd name="T114" fmla="*/ 1450 w 1901"/>
              <a:gd name="T115" fmla="*/ 1201 h 3752"/>
              <a:gd name="T116" fmla="*/ 1500 w 1901"/>
              <a:gd name="T117" fmla="*/ 901 h 3752"/>
              <a:gd name="T118" fmla="*/ 1775 w 1901"/>
              <a:gd name="T119" fmla="*/ 575 h 3752"/>
              <a:gd name="T120" fmla="*/ 1875 w 1901"/>
              <a:gd name="T121" fmla="*/ 375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1" h="3752">
                <a:moveTo>
                  <a:pt x="725" y="3675"/>
                </a:moveTo>
                <a:lnTo>
                  <a:pt x="725" y="3675"/>
                </a:lnTo>
                <a:cubicBezTo>
                  <a:pt x="675" y="3675"/>
                  <a:pt x="550" y="3575"/>
                  <a:pt x="525" y="3551"/>
                </a:cubicBezTo>
                <a:cubicBezTo>
                  <a:pt x="500" y="3526"/>
                  <a:pt x="525" y="3501"/>
                  <a:pt x="475" y="3501"/>
                </a:cubicBezTo>
                <a:cubicBezTo>
                  <a:pt x="450" y="3501"/>
                  <a:pt x="475" y="3475"/>
                  <a:pt x="500" y="3475"/>
                </a:cubicBezTo>
                <a:cubicBezTo>
                  <a:pt x="500" y="3451"/>
                  <a:pt x="475" y="3426"/>
                  <a:pt x="450" y="3401"/>
                </a:cubicBezTo>
                <a:cubicBezTo>
                  <a:pt x="450" y="3475"/>
                  <a:pt x="450" y="3726"/>
                  <a:pt x="450" y="3726"/>
                </a:cubicBezTo>
                <a:cubicBezTo>
                  <a:pt x="475" y="3726"/>
                  <a:pt x="575" y="3701"/>
                  <a:pt x="625" y="3726"/>
                </a:cubicBezTo>
                <a:cubicBezTo>
                  <a:pt x="625" y="3726"/>
                  <a:pt x="650" y="3751"/>
                  <a:pt x="650" y="3726"/>
                </a:cubicBezTo>
                <a:cubicBezTo>
                  <a:pt x="675" y="3701"/>
                  <a:pt x="750" y="3726"/>
                  <a:pt x="775" y="3701"/>
                </a:cubicBezTo>
                <a:cubicBezTo>
                  <a:pt x="800" y="3675"/>
                  <a:pt x="775" y="3675"/>
                  <a:pt x="725" y="3675"/>
                </a:cubicBezTo>
                <a:close/>
                <a:moveTo>
                  <a:pt x="1875" y="375"/>
                </a:moveTo>
                <a:lnTo>
                  <a:pt x="1875" y="375"/>
                </a:lnTo>
                <a:cubicBezTo>
                  <a:pt x="1850" y="375"/>
                  <a:pt x="1825" y="375"/>
                  <a:pt x="1800" y="375"/>
                </a:cubicBezTo>
                <a:lnTo>
                  <a:pt x="1800" y="375"/>
                </a:lnTo>
                <a:cubicBezTo>
                  <a:pt x="1825" y="425"/>
                  <a:pt x="1800" y="525"/>
                  <a:pt x="1750" y="525"/>
                </a:cubicBezTo>
                <a:cubicBezTo>
                  <a:pt x="1725" y="525"/>
                  <a:pt x="1700" y="575"/>
                  <a:pt x="1675" y="550"/>
                </a:cubicBezTo>
                <a:cubicBezTo>
                  <a:pt x="1675" y="550"/>
                  <a:pt x="1625" y="600"/>
                  <a:pt x="1600" y="575"/>
                </a:cubicBezTo>
                <a:cubicBezTo>
                  <a:pt x="1575" y="550"/>
                  <a:pt x="1550" y="575"/>
                  <a:pt x="1525" y="575"/>
                </a:cubicBezTo>
                <a:cubicBezTo>
                  <a:pt x="1500" y="550"/>
                  <a:pt x="1425" y="575"/>
                  <a:pt x="1425" y="550"/>
                </a:cubicBezTo>
                <a:cubicBezTo>
                  <a:pt x="1425" y="525"/>
                  <a:pt x="1450" y="525"/>
                  <a:pt x="1450" y="475"/>
                </a:cubicBezTo>
                <a:cubicBezTo>
                  <a:pt x="1450" y="425"/>
                  <a:pt x="1550" y="375"/>
                  <a:pt x="1525" y="350"/>
                </a:cubicBezTo>
                <a:cubicBezTo>
                  <a:pt x="1525" y="350"/>
                  <a:pt x="1375" y="300"/>
                  <a:pt x="1350" y="275"/>
                </a:cubicBezTo>
                <a:cubicBezTo>
                  <a:pt x="1350" y="250"/>
                  <a:pt x="1300" y="225"/>
                  <a:pt x="1250" y="225"/>
                </a:cubicBezTo>
                <a:cubicBezTo>
                  <a:pt x="1200" y="225"/>
                  <a:pt x="1200" y="175"/>
                  <a:pt x="1150" y="150"/>
                </a:cubicBezTo>
                <a:cubicBezTo>
                  <a:pt x="1100" y="125"/>
                  <a:pt x="1050" y="50"/>
                  <a:pt x="1025" y="25"/>
                </a:cubicBezTo>
                <a:cubicBezTo>
                  <a:pt x="975" y="25"/>
                  <a:pt x="925" y="0"/>
                  <a:pt x="925" y="25"/>
                </a:cubicBezTo>
                <a:cubicBezTo>
                  <a:pt x="900" y="50"/>
                  <a:pt x="900" y="125"/>
                  <a:pt x="875" y="75"/>
                </a:cubicBezTo>
                <a:cubicBezTo>
                  <a:pt x="850" y="50"/>
                  <a:pt x="800" y="50"/>
                  <a:pt x="750" y="25"/>
                </a:cubicBezTo>
                <a:cubicBezTo>
                  <a:pt x="725" y="25"/>
                  <a:pt x="725" y="0"/>
                  <a:pt x="675" y="25"/>
                </a:cubicBezTo>
                <a:cubicBezTo>
                  <a:pt x="650" y="50"/>
                  <a:pt x="625" y="75"/>
                  <a:pt x="600" y="100"/>
                </a:cubicBezTo>
                <a:cubicBezTo>
                  <a:pt x="600" y="125"/>
                  <a:pt x="600" y="175"/>
                  <a:pt x="600" y="200"/>
                </a:cubicBezTo>
                <a:cubicBezTo>
                  <a:pt x="575" y="225"/>
                  <a:pt x="475" y="275"/>
                  <a:pt x="475" y="275"/>
                </a:cubicBezTo>
                <a:cubicBezTo>
                  <a:pt x="475" y="300"/>
                  <a:pt x="500" y="350"/>
                  <a:pt x="475" y="350"/>
                </a:cubicBezTo>
                <a:cubicBezTo>
                  <a:pt x="450" y="375"/>
                  <a:pt x="525" y="450"/>
                  <a:pt x="475" y="450"/>
                </a:cubicBezTo>
                <a:cubicBezTo>
                  <a:pt x="450" y="475"/>
                  <a:pt x="500" y="500"/>
                  <a:pt x="500" y="525"/>
                </a:cubicBezTo>
                <a:cubicBezTo>
                  <a:pt x="475" y="525"/>
                  <a:pt x="425" y="550"/>
                  <a:pt x="425" y="575"/>
                </a:cubicBezTo>
                <a:cubicBezTo>
                  <a:pt x="425" y="575"/>
                  <a:pt x="425" y="625"/>
                  <a:pt x="400" y="650"/>
                </a:cubicBezTo>
                <a:cubicBezTo>
                  <a:pt x="374" y="650"/>
                  <a:pt x="350" y="700"/>
                  <a:pt x="350" y="725"/>
                </a:cubicBezTo>
                <a:cubicBezTo>
                  <a:pt x="350" y="750"/>
                  <a:pt x="325" y="725"/>
                  <a:pt x="325" y="775"/>
                </a:cubicBezTo>
                <a:cubicBezTo>
                  <a:pt x="350" y="825"/>
                  <a:pt x="374" y="875"/>
                  <a:pt x="325" y="875"/>
                </a:cubicBezTo>
                <a:cubicBezTo>
                  <a:pt x="300" y="875"/>
                  <a:pt x="325" y="950"/>
                  <a:pt x="300" y="950"/>
                </a:cubicBezTo>
                <a:cubicBezTo>
                  <a:pt x="274" y="950"/>
                  <a:pt x="274" y="1025"/>
                  <a:pt x="300" y="1050"/>
                </a:cubicBezTo>
                <a:cubicBezTo>
                  <a:pt x="325" y="1075"/>
                  <a:pt x="325" y="1101"/>
                  <a:pt x="325" y="1150"/>
                </a:cubicBezTo>
                <a:cubicBezTo>
                  <a:pt x="325" y="1175"/>
                  <a:pt x="350" y="1201"/>
                  <a:pt x="350" y="1225"/>
                </a:cubicBezTo>
                <a:cubicBezTo>
                  <a:pt x="350" y="1250"/>
                  <a:pt x="350" y="1275"/>
                  <a:pt x="325" y="1301"/>
                </a:cubicBezTo>
                <a:cubicBezTo>
                  <a:pt x="300" y="1325"/>
                  <a:pt x="325" y="1350"/>
                  <a:pt x="300" y="1375"/>
                </a:cubicBezTo>
                <a:cubicBezTo>
                  <a:pt x="274" y="1375"/>
                  <a:pt x="325" y="1475"/>
                  <a:pt x="300" y="1501"/>
                </a:cubicBezTo>
                <a:cubicBezTo>
                  <a:pt x="274" y="1501"/>
                  <a:pt x="225" y="1525"/>
                  <a:pt x="225" y="1575"/>
                </a:cubicBezTo>
                <a:cubicBezTo>
                  <a:pt x="225" y="1650"/>
                  <a:pt x="225" y="1675"/>
                  <a:pt x="225" y="1701"/>
                </a:cubicBezTo>
                <a:cubicBezTo>
                  <a:pt x="225" y="1725"/>
                  <a:pt x="250" y="1725"/>
                  <a:pt x="250" y="1750"/>
                </a:cubicBezTo>
                <a:cubicBezTo>
                  <a:pt x="250" y="1801"/>
                  <a:pt x="200" y="1775"/>
                  <a:pt x="200" y="1801"/>
                </a:cubicBezTo>
                <a:cubicBezTo>
                  <a:pt x="200" y="1825"/>
                  <a:pt x="200" y="1875"/>
                  <a:pt x="200" y="1875"/>
                </a:cubicBezTo>
                <a:cubicBezTo>
                  <a:pt x="174" y="1875"/>
                  <a:pt x="174" y="1875"/>
                  <a:pt x="174" y="1925"/>
                </a:cubicBezTo>
                <a:cubicBezTo>
                  <a:pt x="174" y="1975"/>
                  <a:pt x="150" y="1975"/>
                  <a:pt x="150" y="2001"/>
                </a:cubicBezTo>
                <a:cubicBezTo>
                  <a:pt x="150" y="2001"/>
                  <a:pt x="150" y="2026"/>
                  <a:pt x="150" y="2050"/>
                </a:cubicBezTo>
                <a:cubicBezTo>
                  <a:pt x="150" y="2075"/>
                  <a:pt x="174" y="2150"/>
                  <a:pt x="150" y="2150"/>
                </a:cubicBezTo>
                <a:cubicBezTo>
                  <a:pt x="125" y="2150"/>
                  <a:pt x="125" y="2250"/>
                  <a:pt x="150" y="2250"/>
                </a:cubicBezTo>
                <a:cubicBezTo>
                  <a:pt x="150" y="2275"/>
                  <a:pt x="150" y="2301"/>
                  <a:pt x="150" y="2301"/>
                </a:cubicBezTo>
                <a:cubicBezTo>
                  <a:pt x="150" y="2326"/>
                  <a:pt x="200" y="2350"/>
                  <a:pt x="174" y="2375"/>
                </a:cubicBezTo>
                <a:cubicBezTo>
                  <a:pt x="150" y="2401"/>
                  <a:pt x="150" y="2426"/>
                  <a:pt x="200" y="2426"/>
                </a:cubicBezTo>
                <a:cubicBezTo>
                  <a:pt x="225" y="2401"/>
                  <a:pt x="250" y="2450"/>
                  <a:pt x="200" y="2450"/>
                </a:cubicBezTo>
                <a:cubicBezTo>
                  <a:pt x="174" y="2450"/>
                  <a:pt x="150" y="2450"/>
                  <a:pt x="174" y="2475"/>
                </a:cubicBezTo>
                <a:cubicBezTo>
                  <a:pt x="200" y="2501"/>
                  <a:pt x="225" y="2526"/>
                  <a:pt x="174" y="2526"/>
                </a:cubicBezTo>
                <a:cubicBezTo>
                  <a:pt x="150" y="2550"/>
                  <a:pt x="174" y="2575"/>
                  <a:pt x="174" y="2601"/>
                </a:cubicBezTo>
                <a:cubicBezTo>
                  <a:pt x="150" y="2650"/>
                  <a:pt x="200" y="2675"/>
                  <a:pt x="174" y="2675"/>
                </a:cubicBezTo>
                <a:cubicBezTo>
                  <a:pt x="150" y="2701"/>
                  <a:pt x="174" y="2750"/>
                  <a:pt x="150" y="2750"/>
                </a:cubicBezTo>
                <a:cubicBezTo>
                  <a:pt x="100" y="2750"/>
                  <a:pt x="125" y="2801"/>
                  <a:pt x="100" y="2801"/>
                </a:cubicBezTo>
                <a:cubicBezTo>
                  <a:pt x="74" y="2826"/>
                  <a:pt x="125" y="2875"/>
                  <a:pt x="100" y="2875"/>
                </a:cubicBezTo>
                <a:cubicBezTo>
                  <a:pt x="74" y="2901"/>
                  <a:pt x="100" y="2950"/>
                  <a:pt x="74" y="2950"/>
                </a:cubicBezTo>
                <a:cubicBezTo>
                  <a:pt x="25" y="2950"/>
                  <a:pt x="25" y="3001"/>
                  <a:pt x="0" y="3001"/>
                </a:cubicBezTo>
                <a:cubicBezTo>
                  <a:pt x="0" y="3026"/>
                  <a:pt x="0" y="3075"/>
                  <a:pt x="25" y="3101"/>
                </a:cubicBezTo>
                <a:cubicBezTo>
                  <a:pt x="50" y="3126"/>
                  <a:pt x="0" y="3150"/>
                  <a:pt x="25" y="3150"/>
                </a:cubicBezTo>
                <a:cubicBezTo>
                  <a:pt x="50" y="3175"/>
                  <a:pt x="125" y="3150"/>
                  <a:pt x="125" y="3201"/>
                </a:cubicBezTo>
                <a:cubicBezTo>
                  <a:pt x="100" y="3226"/>
                  <a:pt x="100" y="3301"/>
                  <a:pt x="125" y="3301"/>
                </a:cubicBezTo>
                <a:cubicBezTo>
                  <a:pt x="150" y="3301"/>
                  <a:pt x="150" y="3351"/>
                  <a:pt x="174" y="3326"/>
                </a:cubicBezTo>
                <a:cubicBezTo>
                  <a:pt x="200" y="3326"/>
                  <a:pt x="300" y="3326"/>
                  <a:pt x="325" y="3326"/>
                </a:cubicBezTo>
                <a:cubicBezTo>
                  <a:pt x="350" y="3351"/>
                  <a:pt x="374" y="3351"/>
                  <a:pt x="374" y="3351"/>
                </a:cubicBezTo>
                <a:cubicBezTo>
                  <a:pt x="400" y="3351"/>
                  <a:pt x="475" y="3375"/>
                  <a:pt x="475" y="3375"/>
                </a:cubicBezTo>
                <a:cubicBezTo>
                  <a:pt x="500" y="3351"/>
                  <a:pt x="425" y="3301"/>
                  <a:pt x="425" y="3275"/>
                </a:cubicBezTo>
                <a:lnTo>
                  <a:pt x="425" y="3226"/>
                </a:lnTo>
                <a:cubicBezTo>
                  <a:pt x="425" y="3201"/>
                  <a:pt x="400" y="3150"/>
                  <a:pt x="425" y="3126"/>
                </a:cubicBezTo>
                <a:cubicBezTo>
                  <a:pt x="475" y="3101"/>
                  <a:pt x="475" y="3075"/>
                  <a:pt x="475" y="3101"/>
                </a:cubicBezTo>
                <a:cubicBezTo>
                  <a:pt x="500" y="3101"/>
                  <a:pt x="550" y="3075"/>
                  <a:pt x="550" y="3026"/>
                </a:cubicBezTo>
                <a:cubicBezTo>
                  <a:pt x="550" y="2975"/>
                  <a:pt x="575" y="2950"/>
                  <a:pt x="600" y="2926"/>
                </a:cubicBezTo>
                <a:cubicBezTo>
                  <a:pt x="650" y="2875"/>
                  <a:pt x="725" y="2850"/>
                  <a:pt x="725" y="2826"/>
                </a:cubicBezTo>
                <a:cubicBezTo>
                  <a:pt x="700" y="2801"/>
                  <a:pt x="725" y="2750"/>
                  <a:pt x="725" y="2726"/>
                </a:cubicBezTo>
                <a:cubicBezTo>
                  <a:pt x="725" y="2726"/>
                  <a:pt x="675" y="2726"/>
                  <a:pt x="650" y="2701"/>
                </a:cubicBezTo>
                <a:cubicBezTo>
                  <a:pt x="625" y="2701"/>
                  <a:pt x="525" y="2650"/>
                  <a:pt x="575" y="2575"/>
                </a:cubicBezTo>
                <a:cubicBezTo>
                  <a:pt x="625" y="2501"/>
                  <a:pt x="700" y="2475"/>
                  <a:pt x="725" y="2475"/>
                </a:cubicBezTo>
                <a:cubicBezTo>
                  <a:pt x="750" y="2475"/>
                  <a:pt x="725" y="2450"/>
                  <a:pt x="750" y="2426"/>
                </a:cubicBezTo>
                <a:cubicBezTo>
                  <a:pt x="775" y="2426"/>
                  <a:pt x="775" y="2401"/>
                  <a:pt x="775" y="2375"/>
                </a:cubicBezTo>
                <a:cubicBezTo>
                  <a:pt x="775" y="2326"/>
                  <a:pt x="775" y="2275"/>
                  <a:pt x="825" y="2275"/>
                </a:cubicBezTo>
                <a:cubicBezTo>
                  <a:pt x="850" y="2275"/>
                  <a:pt x="875" y="2250"/>
                  <a:pt x="850" y="2250"/>
                </a:cubicBezTo>
                <a:cubicBezTo>
                  <a:pt x="825" y="2226"/>
                  <a:pt x="800" y="2201"/>
                  <a:pt x="850" y="2201"/>
                </a:cubicBezTo>
                <a:cubicBezTo>
                  <a:pt x="875" y="2201"/>
                  <a:pt x="875" y="2226"/>
                  <a:pt x="900" y="2226"/>
                </a:cubicBezTo>
                <a:cubicBezTo>
                  <a:pt x="925" y="2226"/>
                  <a:pt x="975" y="2175"/>
                  <a:pt x="925" y="2150"/>
                </a:cubicBezTo>
                <a:cubicBezTo>
                  <a:pt x="900" y="2126"/>
                  <a:pt x="900" y="2175"/>
                  <a:pt x="875" y="2175"/>
                </a:cubicBezTo>
                <a:cubicBezTo>
                  <a:pt x="850" y="2175"/>
                  <a:pt x="850" y="2150"/>
                  <a:pt x="825" y="2150"/>
                </a:cubicBezTo>
                <a:cubicBezTo>
                  <a:pt x="800" y="2150"/>
                  <a:pt x="825" y="2101"/>
                  <a:pt x="800" y="2075"/>
                </a:cubicBezTo>
                <a:cubicBezTo>
                  <a:pt x="800" y="2050"/>
                  <a:pt x="775" y="2026"/>
                  <a:pt x="800" y="2001"/>
                </a:cubicBezTo>
                <a:cubicBezTo>
                  <a:pt x="825" y="1975"/>
                  <a:pt x="900" y="2026"/>
                  <a:pt x="950" y="2026"/>
                </a:cubicBezTo>
                <a:cubicBezTo>
                  <a:pt x="1025" y="2026"/>
                  <a:pt x="1050" y="2001"/>
                  <a:pt x="1050" y="1975"/>
                </a:cubicBezTo>
                <a:cubicBezTo>
                  <a:pt x="1050" y="1950"/>
                  <a:pt x="1025" y="1925"/>
                  <a:pt x="1075" y="1901"/>
                </a:cubicBezTo>
                <a:cubicBezTo>
                  <a:pt x="1100" y="1875"/>
                  <a:pt x="1075" y="1850"/>
                  <a:pt x="1075" y="1825"/>
                </a:cubicBezTo>
                <a:cubicBezTo>
                  <a:pt x="1050" y="1801"/>
                  <a:pt x="1075" y="1775"/>
                  <a:pt x="1100" y="1775"/>
                </a:cubicBezTo>
                <a:cubicBezTo>
                  <a:pt x="1125" y="1801"/>
                  <a:pt x="1225" y="1801"/>
                  <a:pt x="1350" y="1775"/>
                </a:cubicBezTo>
                <a:cubicBezTo>
                  <a:pt x="1450" y="1750"/>
                  <a:pt x="1500" y="1701"/>
                  <a:pt x="1525" y="1675"/>
                </a:cubicBezTo>
                <a:cubicBezTo>
                  <a:pt x="1525" y="1650"/>
                  <a:pt x="1600" y="1575"/>
                  <a:pt x="1600" y="1550"/>
                </a:cubicBezTo>
                <a:cubicBezTo>
                  <a:pt x="1625" y="1525"/>
                  <a:pt x="1600" y="1501"/>
                  <a:pt x="1575" y="1501"/>
                </a:cubicBezTo>
                <a:cubicBezTo>
                  <a:pt x="1525" y="1501"/>
                  <a:pt x="1525" y="1450"/>
                  <a:pt x="1550" y="1425"/>
                </a:cubicBezTo>
                <a:cubicBezTo>
                  <a:pt x="1575" y="1401"/>
                  <a:pt x="1525" y="1375"/>
                  <a:pt x="1500" y="1350"/>
                </a:cubicBezTo>
                <a:cubicBezTo>
                  <a:pt x="1450" y="1350"/>
                  <a:pt x="1400" y="1325"/>
                  <a:pt x="1425" y="1301"/>
                </a:cubicBezTo>
                <a:cubicBezTo>
                  <a:pt x="1450" y="1275"/>
                  <a:pt x="1450" y="1275"/>
                  <a:pt x="1450" y="1301"/>
                </a:cubicBezTo>
                <a:cubicBezTo>
                  <a:pt x="1475" y="1275"/>
                  <a:pt x="1475" y="1250"/>
                  <a:pt x="1475" y="1250"/>
                </a:cubicBezTo>
                <a:cubicBezTo>
                  <a:pt x="1450" y="1250"/>
                  <a:pt x="1450" y="1250"/>
                  <a:pt x="1450" y="1201"/>
                </a:cubicBezTo>
                <a:cubicBezTo>
                  <a:pt x="1450" y="1125"/>
                  <a:pt x="1475" y="1150"/>
                  <a:pt x="1475" y="1075"/>
                </a:cubicBezTo>
                <a:cubicBezTo>
                  <a:pt x="1475" y="1001"/>
                  <a:pt x="1500" y="950"/>
                  <a:pt x="1500" y="901"/>
                </a:cubicBezTo>
                <a:cubicBezTo>
                  <a:pt x="1500" y="875"/>
                  <a:pt x="1575" y="825"/>
                  <a:pt x="1600" y="750"/>
                </a:cubicBezTo>
                <a:cubicBezTo>
                  <a:pt x="1650" y="700"/>
                  <a:pt x="1725" y="600"/>
                  <a:pt x="1775" y="575"/>
                </a:cubicBezTo>
                <a:cubicBezTo>
                  <a:pt x="1800" y="575"/>
                  <a:pt x="1875" y="550"/>
                  <a:pt x="1875" y="525"/>
                </a:cubicBezTo>
                <a:cubicBezTo>
                  <a:pt x="1900" y="500"/>
                  <a:pt x="1875" y="400"/>
                  <a:pt x="1875" y="375"/>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0" name="Freeform 223">
            <a:extLst>
              <a:ext uri="{FF2B5EF4-FFF2-40B4-BE49-F238E27FC236}">
                <a16:creationId xmlns:a16="http://schemas.microsoft.com/office/drawing/2014/main" id="{A1BA5F3E-FB3A-682B-5EB7-AA5F6CE1A6F3}"/>
              </a:ext>
            </a:extLst>
          </p:cNvPr>
          <p:cNvSpPr>
            <a:spLocks noChangeArrowheads="1"/>
          </p:cNvSpPr>
          <p:nvPr/>
        </p:nvSpPr>
        <p:spPr bwMode="auto">
          <a:xfrm>
            <a:off x="5760532" y="5138246"/>
            <a:ext cx="271404" cy="1355616"/>
          </a:xfrm>
          <a:custGeom>
            <a:avLst/>
            <a:gdLst>
              <a:gd name="T0" fmla="*/ 351 w 852"/>
              <a:gd name="T1" fmla="*/ 3726 h 4252"/>
              <a:gd name="T2" fmla="*/ 251 w 852"/>
              <a:gd name="T3" fmla="*/ 3526 h 4252"/>
              <a:gd name="T4" fmla="*/ 326 w 852"/>
              <a:gd name="T5" fmla="*/ 3300 h 4252"/>
              <a:gd name="T6" fmla="*/ 400 w 852"/>
              <a:gd name="T7" fmla="*/ 3100 h 4252"/>
              <a:gd name="T8" fmla="*/ 400 w 852"/>
              <a:gd name="T9" fmla="*/ 2900 h 4252"/>
              <a:gd name="T10" fmla="*/ 400 w 852"/>
              <a:gd name="T11" fmla="*/ 2800 h 4252"/>
              <a:gd name="T12" fmla="*/ 376 w 852"/>
              <a:gd name="T13" fmla="*/ 2575 h 4252"/>
              <a:gd name="T14" fmla="*/ 400 w 852"/>
              <a:gd name="T15" fmla="*/ 2350 h 4252"/>
              <a:gd name="T16" fmla="*/ 476 w 852"/>
              <a:gd name="T17" fmla="*/ 2175 h 4252"/>
              <a:gd name="T18" fmla="*/ 526 w 852"/>
              <a:gd name="T19" fmla="*/ 1926 h 4252"/>
              <a:gd name="T20" fmla="*/ 576 w 852"/>
              <a:gd name="T21" fmla="*/ 1650 h 4252"/>
              <a:gd name="T22" fmla="*/ 526 w 852"/>
              <a:gd name="T23" fmla="*/ 1375 h 4252"/>
              <a:gd name="T24" fmla="*/ 576 w 852"/>
              <a:gd name="T25" fmla="*/ 1150 h 4252"/>
              <a:gd name="T26" fmla="*/ 726 w 852"/>
              <a:gd name="T27" fmla="*/ 950 h 4252"/>
              <a:gd name="T28" fmla="*/ 701 w 852"/>
              <a:gd name="T29" fmla="*/ 700 h 4252"/>
              <a:gd name="T30" fmla="*/ 776 w 852"/>
              <a:gd name="T31" fmla="*/ 525 h 4252"/>
              <a:gd name="T32" fmla="*/ 676 w 852"/>
              <a:gd name="T33" fmla="*/ 275 h 4252"/>
              <a:gd name="T34" fmla="*/ 651 w 852"/>
              <a:gd name="T35" fmla="*/ 50 h 4252"/>
              <a:gd name="T36" fmla="*/ 551 w 852"/>
              <a:gd name="T37" fmla="*/ 100 h 4252"/>
              <a:gd name="T38" fmla="*/ 526 w 852"/>
              <a:gd name="T39" fmla="*/ 575 h 4252"/>
              <a:gd name="T40" fmla="*/ 476 w 852"/>
              <a:gd name="T41" fmla="*/ 950 h 4252"/>
              <a:gd name="T42" fmla="*/ 451 w 852"/>
              <a:gd name="T43" fmla="*/ 1250 h 4252"/>
              <a:gd name="T44" fmla="*/ 376 w 852"/>
              <a:gd name="T45" fmla="*/ 1626 h 4252"/>
              <a:gd name="T46" fmla="*/ 226 w 852"/>
              <a:gd name="T47" fmla="*/ 2026 h 4252"/>
              <a:gd name="T48" fmla="*/ 251 w 852"/>
              <a:gd name="T49" fmla="*/ 2300 h 4252"/>
              <a:gd name="T50" fmla="*/ 200 w 852"/>
              <a:gd name="T51" fmla="*/ 2551 h 4252"/>
              <a:gd name="T52" fmla="*/ 226 w 852"/>
              <a:gd name="T53" fmla="*/ 2551 h 4252"/>
              <a:gd name="T54" fmla="*/ 300 w 852"/>
              <a:gd name="T55" fmla="*/ 2575 h 4252"/>
              <a:gd name="T56" fmla="*/ 251 w 852"/>
              <a:gd name="T57" fmla="*/ 2800 h 4252"/>
              <a:gd name="T58" fmla="*/ 251 w 852"/>
              <a:gd name="T59" fmla="*/ 2951 h 4252"/>
              <a:gd name="T60" fmla="*/ 151 w 852"/>
              <a:gd name="T61" fmla="*/ 3000 h 4252"/>
              <a:gd name="T62" fmla="*/ 176 w 852"/>
              <a:gd name="T63" fmla="*/ 2951 h 4252"/>
              <a:gd name="T64" fmla="*/ 76 w 852"/>
              <a:gd name="T65" fmla="*/ 3051 h 4252"/>
              <a:gd name="T66" fmla="*/ 100 w 852"/>
              <a:gd name="T67" fmla="*/ 3126 h 4252"/>
              <a:gd name="T68" fmla="*/ 126 w 852"/>
              <a:gd name="T69" fmla="*/ 3226 h 4252"/>
              <a:gd name="T70" fmla="*/ 151 w 852"/>
              <a:gd name="T71" fmla="*/ 3251 h 4252"/>
              <a:gd name="T72" fmla="*/ 76 w 852"/>
              <a:gd name="T73" fmla="*/ 3351 h 4252"/>
              <a:gd name="T74" fmla="*/ 100 w 852"/>
              <a:gd name="T75" fmla="*/ 3375 h 4252"/>
              <a:gd name="T76" fmla="*/ 100 w 852"/>
              <a:gd name="T77" fmla="*/ 3500 h 4252"/>
              <a:gd name="T78" fmla="*/ 151 w 852"/>
              <a:gd name="T79" fmla="*/ 3475 h 4252"/>
              <a:gd name="T80" fmla="*/ 76 w 852"/>
              <a:gd name="T81" fmla="*/ 3626 h 4252"/>
              <a:gd name="T82" fmla="*/ 176 w 852"/>
              <a:gd name="T83" fmla="*/ 3651 h 4252"/>
              <a:gd name="T84" fmla="*/ 226 w 852"/>
              <a:gd name="T85" fmla="*/ 3751 h 4252"/>
              <a:gd name="T86" fmla="*/ 226 w 852"/>
              <a:gd name="T87" fmla="*/ 3776 h 4252"/>
              <a:gd name="T88" fmla="*/ 400 w 852"/>
              <a:gd name="T89" fmla="*/ 3826 h 4252"/>
              <a:gd name="T90" fmla="*/ 251 w 852"/>
              <a:gd name="T91" fmla="*/ 3876 h 4252"/>
              <a:gd name="T92" fmla="*/ 426 w 852"/>
              <a:gd name="T93" fmla="*/ 3876 h 4252"/>
              <a:gd name="T94" fmla="*/ 226 w 852"/>
              <a:gd name="T95" fmla="*/ 3951 h 4252"/>
              <a:gd name="T96" fmla="*/ 376 w 852"/>
              <a:gd name="T97" fmla="*/ 4051 h 4252"/>
              <a:gd name="T98" fmla="*/ 451 w 852"/>
              <a:gd name="T99" fmla="*/ 3926 h 4252"/>
              <a:gd name="T100" fmla="*/ 526 w 852"/>
              <a:gd name="T101" fmla="*/ 3926 h 4252"/>
              <a:gd name="T102" fmla="*/ 551 w 852"/>
              <a:gd name="T103" fmla="*/ 4051 h 4252"/>
              <a:gd name="T104" fmla="*/ 451 w 852"/>
              <a:gd name="T105" fmla="*/ 4000 h 4252"/>
              <a:gd name="T106" fmla="*/ 451 w 852"/>
              <a:gd name="T107" fmla="*/ 4100 h 4252"/>
              <a:gd name="T108" fmla="*/ 600 w 852"/>
              <a:gd name="T109" fmla="*/ 4200 h 4252"/>
              <a:gd name="T110" fmla="*/ 701 w 852"/>
              <a:gd name="T111" fmla="*/ 4176 h 4252"/>
              <a:gd name="T112" fmla="*/ 851 w 852"/>
              <a:gd name="T113" fmla="*/ 4151 h 4252"/>
              <a:gd name="T114" fmla="*/ 676 w 852"/>
              <a:gd name="T115" fmla="*/ 3826 h 4252"/>
              <a:gd name="T116" fmla="*/ 551 w 852"/>
              <a:gd name="T117" fmla="*/ 3751 h 4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2" h="4252">
                <a:moveTo>
                  <a:pt x="400" y="3751"/>
                </a:moveTo>
                <a:lnTo>
                  <a:pt x="400" y="3751"/>
                </a:lnTo>
                <a:cubicBezTo>
                  <a:pt x="376" y="3776"/>
                  <a:pt x="376" y="3726"/>
                  <a:pt x="351" y="3726"/>
                </a:cubicBezTo>
                <a:cubicBezTo>
                  <a:pt x="326" y="3726"/>
                  <a:pt x="326" y="3651"/>
                  <a:pt x="351" y="3626"/>
                </a:cubicBezTo>
                <a:cubicBezTo>
                  <a:pt x="351" y="3575"/>
                  <a:pt x="276" y="3600"/>
                  <a:pt x="251" y="3575"/>
                </a:cubicBezTo>
                <a:cubicBezTo>
                  <a:pt x="226" y="3575"/>
                  <a:pt x="276" y="3551"/>
                  <a:pt x="251" y="3526"/>
                </a:cubicBezTo>
                <a:cubicBezTo>
                  <a:pt x="226" y="3500"/>
                  <a:pt x="226" y="3451"/>
                  <a:pt x="226" y="3426"/>
                </a:cubicBezTo>
                <a:cubicBezTo>
                  <a:pt x="251" y="3426"/>
                  <a:pt x="251" y="3375"/>
                  <a:pt x="300" y="3375"/>
                </a:cubicBezTo>
                <a:cubicBezTo>
                  <a:pt x="326" y="3375"/>
                  <a:pt x="300" y="3326"/>
                  <a:pt x="326" y="3300"/>
                </a:cubicBezTo>
                <a:cubicBezTo>
                  <a:pt x="351" y="3300"/>
                  <a:pt x="300" y="3251"/>
                  <a:pt x="326" y="3226"/>
                </a:cubicBezTo>
                <a:cubicBezTo>
                  <a:pt x="351" y="3226"/>
                  <a:pt x="326" y="3175"/>
                  <a:pt x="376" y="3175"/>
                </a:cubicBezTo>
                <a:cubicBezTo>
                  <a:pt x="400" y="3175"/>
                  <a:pt x="376" y="3126"/>
                  <a:pt x="400" y="3100"/>
                </a:cubicBezTo>
                <a:cubicBezTo>
                  <a:pt x="426" y="3100"/>
                  <a:pt x="376" y="3075"/>
                  <a:pt x="400" y="3026"/>
                </a:cubicBezTo>
                <a:cubicBezTo>
                  <a:pt x="400" y="3000"/>
                  <a:pt x="376" y="2975"/>
                  <a:pt x="400" y="2951"/>
                </a:cubicBezTo>
                <a:cubicBezTo>
                  <a:pt x="451" y="2951"/>
                  <a:pt x="426" y="2926"/>
                  <a:pt x="400" y="2900"/>
                </a:cubicBezTo>
                <a:cubicBezTo>
                  <a:pt x="376" y="2875"/>
                  <a:pt x="400" y="2875"/>
                  <a:pt x="426" y="2875"/>
                </a:cubicBezTo>
                <a:cubicBezTo>
                  <a:pt x="476" y="2875"/>
                  <a:pt x="451" y="2826"/>
                  <a:pt x="426" y="2851"/>
                </a:cubicBezTo>
                <a:cubicBezTo>
                  <a:pt x="376" y="2851"/>
                  <a:pt x="376" y="2826"/>
                  <a:pt x="400" y="2800"/>
                </a:cubicBezTo>
                <a:cubicBezTo>
                  <a:pt x="426" y="2775"/>
                  <a:pt x="376" y="2751"/>
                  <a:pt x="376" y="2726"/>
                </a:cubicBezTo>
                <a:cubicBezTo>
                  <a:pt x="376" y="2726"/>
                  <a:pt x="376" y="2700"/>
                  <a:pt x="376" y="2675"/>
                </a:cubicBezTo>
                <a:cubicBezTo>
                  <a:pt x="351" y="2675"/>
                  <a:pt x="351" y="2575"/>
                  <a:pt x="376" y="2575"/>
                </a:cubicBezTo>
                <a:cubicBezTo>
                  <a:pt x="400" y="2575"/>
                  <a:pt x="376" y="2500"/>
                  <a:pt x="376" y="2475"/>
                </a:cubicBezTo>
                <a:cubicBezTo>
                  <a:pt x="376" y="2451"/>
                  <a:pt x="376" y="2426"/>
                  <a:pt x="376" y="2426"/>
                </a:cubicBezTo>
                <a:cubicBezTo>
                  <a:pt x="376" y="2400"/>
                  <a:pt x="400" y="2400"/>
                  <a:pt x="400" y="2350"/>
                </a:cubicBezTo>
                <a:cubicBezTo>
                  <a:pt x="400" y="2300"/>
                  <a:pt x="400" y="2300"/>
                  <a:pt x="426" y="2300"/>
                </a:cubicBezTo>
                <a:cubicBezTo>
                  <a:pt x="426" y="2300"/>
                  <a:pt x="426" y="2250"/>
                  <a:pt x="426" y="2226"/>
                </a:cubicBezTo>
                <a:cubicBezTo>
                  <a:pt x="426" y="2200"/>
                  <a:pt x="476" y="2226"/>
                  <a:pt x="476" y="2175"/>
                </a:cubicBezTo>
                <a:cubicBezTo>
                  <a:pt x="476" y="2150"/>
                  <a:pt x="451" y="2150"/>
                  <a:pt x="451" y="2126"/>
                </a:cubicBezTo>
                <a:cubicBezTo>
                  <a:pt x="451" y="2100"/>
                  <a:pt x="451" y="2075"/>
                  <a:pt x="451" y="2000"/>
                </a:cubicBezTo>
                <a:cubicBezTo>
                  <a:pt x="451" y="1950"/>
                  <a:pt x="500" y="1926"/>
                  <a:pt x="526" y="1926"/>
                </a:cubicBezTo>
                <a:cubicBezTo>
                  <a:pt x="551" y="1900"/>
                  <a:pt x="500" y="1800"/>
                  <a:pt x="526" y="1800"/>
                </a:cubicBezTo>
                <a:cubicBezTo>
                  <a:pt x="551" y="1775"/>
                  <a:pt x="526" y="1750"/>
                  <a:pt x="551" y="1726"/>
                </a:cubicBezTo>
                <a:cubicBezTo>
                  <a:pt x="576" y="1700"/>
                  <a:pt x="576" y="1675"/>
                  <a:pt x="576" y="1650"/>
                </a:cubicBezTo>
                <a:cubicBezTo>
                  <a:pt x="576" y="1626"/>
                  <a:pt x="551" y="1600"/>
                  <a:pt x="551" y="1575"/>
                </a:cubicBezTo>
                <a:cubicBezTo>
                  <a:pt x="551" y="1526"/>
                  <a:pt x="551" y="1500"/>
                  <a:pt x="526" y="1475"/>
                </a:cubicBezTo>
                <a:cubicBezTo>
                  <a:pt x="500" y="1450"/>
                  <a:pt x="500" y="1375"/>
                  <a:pt x="526" y="1375"/>
                </a:cubicBezTo>
                <a:cubicBezTo>
                  <a:pt x="551" y="1375"/>
                  <a:pt x="526" y="1300"/>
                  <a:pt x="551" y="1300"/>
                </a:cubicBezTo>
                <a:cubicBezTo>
                  <a:pt x="600" y="1300"/>
                  <a:pt x="576" y="1250"/>
                  <a:pt x="551" y="1200"/>
                </a:cubicBezTo>
                <a:cubicBezTo>
                  <a:pt x="551" y="1150"/>
                  <a:pt x="576" y="1175"/>
                  <a:pt x="576" y="1150"/>
                </a:cubicBezTo>
                <a:cubicBezTo>
                  <a:pt x="576" y="1125"/>
                  <a:pt x="600" y="1075"/>
                  <a:pt x="626" y="1075"/>
                </a:cubicBezTo>
                <a:cubicBezTo>
                  <a:pt x="651" y="1050"/>
                  <a:pt x="651" y="1000"/>
                  <a:pt x="651" y="1000"/>
                </a:cubicBezTo>
                <a:cubicBezTo>
                  <a:pt x="651" y="975"/>
                  <a:pt x="701" y="950"/>
                  <a:pt x="726" y="950"/>
                </a:cubicBezTo>
                <a:cubicBezTo>
                  <a:pt x="726" y="925"/>
                  <a:pt x="676" y="900"/>
                  <a:pt x="701" y="875"/>
                </a:cubicBezTo>
                <a:cubicBezTo>
                  <a:pt x="751" y="875"/>
                  <a:pt x="676" y="800"/>
                  <a:pt x="701" y="775"/>
                </a:cubicBezTo>
                <a:cubicBezTo>
                  <a:pt x="726" y="775"/>
                  <a:pt x="701" y="725"/>
                  <a:pt x="701" y="700"/>
                </a:cubicBezTo>
                <a:cubicBezTo>
                  <a:pt x="701" y="700"/>
                  <a:pt x="801" y="650"/>
                  <a:pt x="826" y="625"/>
                </a:cubicBezTo>
                <a:cubicBezTo>
                  <a:pt x="826" y="600"/>
                  <a:pt x="826" y="550"/>
                  <a:pt x="826" y="525"/>
                </a:cubicBezTo>
                <a:cubicBezTo>
                  <a:pt x="801" y="525"/>
                  <a:pt x="776" y="550"/>
                  <a:pt x="776" y="525"/>
                </a:cubicBezTo>
                <a:cubicBezTo>
                  <a:pt x="776" y="525"/>
                  <a:pt x="776" y="450"/>
                  <a:pt x="751" y="425"/>
                </a:cubicBezTo>
                <a:cubicBezTo>
                  <a:pt x="726" y="400"/>
                  <a:pt x="751" y="350"/>
                  <a:pt x="726" y="350"/>
                </a:cubicBezTo>
                <a:cubicBezTo>
                  <a:pt x="701" y="325"/>
                  <a:pt x="676" y="275"/>
                  <a:pt x="676" y="275"/>
                </a:cubicBezTo>
                <a:cubicBezTo>
                  <a:pt x="701" y="250"/>
                  <a:pt x="676" y="225"/>
                  <a:pt x="701" y="200"/>
                </a:cubicBezTo>
                <a:cubicBezTo>
                  <a:pt x="726" y="175"/>
                  <a:pt x="701" y="175"/>
                  <a:pt x="676" y="150"/>
                </a:cubicBezTo>
                <a:cubicBezTo>
                  <a:pt x="651" y="125"/>
                  <a:pt x="676" y="75"/>
                  <a:pt x="651" y="50"/>
                </a:cubicBezTo>
                <a:cubicBezTo>
                  <a:pt x="600" y="24"/>
                  <a:pt x="600" y="0"/>
                  <a:pt x="600" y="0"/>
                </a:cubicBezTo>
                <a:cubicBezTo>
                  <a:pt x="600" y="24"/>
                  <a:pt x="600" y="75"/>
                  <a:pt x="576" y="75"/>
                </a:cubicBezTo>
                <a:cubicBezTo>
                  <a:pt x="551" y="75"/>
                  <a:pt x="551" y="100"/>
                  <a:pt x="551" y="100"/>
                </a:cubicBezTo>
                <a:cubicBezTo>
                  <a:pt x="551" y="125"/>
                  <a:pt x="526" y="150"/>
                  <a:pt x="551" y="175"/>
                </a:cubicBezTo>
                <a:cubicBezTo>
                  <a:pt x="551" y="225"/>
                  <a:pt x="576" y="375"/>
                  <a:pt x="551" y="425"/>
                </a:cubicBezTo>
                <a:cubicBezTo>
                  <a:pt x="551" y="475"/>
                  <a:pt x="526" y="525"/>
                  <a:pt x="526" y="575"/>
                </a:cubicBezTo>
                <a:cubicBezTo>
                  <a:pt x="500" y="600"/>
                  <a:pt x="551" y="600"/>
                  <a:pt x="526" y="625"/>
                </a:cubicBezTo>
                <a:cubicBezTo>
                  <a:pt x="500" y="625"/>
                  <a:pt x="526" y="675"/>
                  <a:pt x="526" y="750"/>
                </a:cubicBezTo>
                <a:cubicBezTo>
                  <a:pt x="526" y="800"/>
                  <a:pt x="476" y="925"/>
                  <a:pt x="476" y="950"/>
                </a:cubicBezTo>
                <a:cubicBezTo>
                  <a:pt x="476" y="1000"/>
                  <a:pt x="451" y="1025"/>
                  <a:pt x="451" y="1050"/>
                </a:cubicBezTo>
                <a:cubicBezTo>
                  <a:pt x="451" y="1100"/>
                  <a:pt x="426" y="1125"/>
                  <a:pt x="400" y="1150"/>
                </a:cubicBezTo>
                <a:cubicBezTo>
                  <a:pt x="376" y="1150"/>
                  <a:pt x="451" y="1225"/>
                  <a:pt x="451" y="1250"/>
                </a:cubicBezTo>
                <a:cubicBezTo>
                  <a:pt x="451" y="1275"/>
                  <a:pt x="400" y="1300"/>
                  <a:pt x="400" y="1350"/>
                </a:cubicBezTo>
                <a:cubicBezTo>
                  <a:pt x="426" y="1426"/>
                  <a:pt x="400" y="1526"/>
                  <a:pt x="400" y="1550"/>
                </a:cubicBezTo>
                <a:cubicBezTo>
                  <a:pt x="400" y="1575"/>
                  <a:pt x="376" y="1575"/>
                  <a:pt x="376" y="1626"/>
                </a:cubicBezTo>
                <a:cubicBezTo>
                  <a:pt x="400" y="1675"/>
                  <a:pt x="351" y="1675"/>
                  <a:pt x="351" y="1750"/>
                </a:cubicBezTo>
                <a:cubicBezTo>
                  <a:pt x="351" y="1800"/>
                  <a:pt x="300" y="1900"/>
                  <a:pt x="276" y="1950"/>
                </a:cubicBezTo>
                <a:cubicBezTo>
                  <a:pt x="251" y="2000"/>
                  <a:pt x="251" y="2026"/>
                  <a:pt x="226" y="2026"/>
                </a:cubicBezTo>
                <a:cubicBezTo>
                  <a:pt x="200" y="2026"/>
                  <a:pt x="200" y="2050"/>
                  <a:pt x="226" y="2075"/>
                </a:cubicBezTo>
                <a:cubicBezTo>
                  <a:pt x="251" y="2126"/>
                  <a:pt x="200" y="2150"/>
                  <a:pt x="226" y="2200"/>
                </a:cubicBezTo>
                <a:cubicBezTo>
                  <a:pt x="251" y="2250"/>
                  <a:pt x="251" y="2250"/>
                  <a:pt x="251" y="2300"/>
                </a:cubicBezTo>
                <a:cubicBezTo>
                  <a:pt x="226" y="2350"/>
                  <a:pt x="200" y="2350"/>
                  <a:pt x="200" y="2375"/>
                </a:cubicBezTo>
                <a:cubicBezTo>
                  <a:pt x="200" y="2426"/>
                  <a:pt x="176" y="2451"/>
                  <a:pt x="200" y="2500"/>
                </a:cubicBezTo>
                <a:cubicBezTo>
                  <a:pt x="226" y="2526"/>
                  <a:pt x="200" y="2551"/>
                  <a:pt x="200" y="2551"/>
                </a:cubicBezTo>
                <a:cubicBezTo>
                  <a:pt x="176" y="2551"/>
                  <a:pt x="151" y="2575"/>
                  <a:pt x="151" y="2651"/>
                </a:cubicBezTo>
                <a:cubicBezTo>
                  <a:pt x="151" y="2726"/>
                  <a:pt x="151" y="2726"/>
                  <a:pt x="200" y="2700"/>
                </a:cubicBezTo>
                <a:cubicBezTo>
                  <a:pt x="251" y="2700"/>
                  <a:pt x="200" y="2551"/>
                  <a:pt x="226" y="2551"/>
                </a:cubicBezTo>
                <a:cubicBezTo>
                  <a:pt x="276" y="2551"/>
                  <a:pt x="251" y="2526"/>
                  <a:pt x="276" y="2500"/>
                </a:cubicBezTo>
                <a:cubicBezTo>
                  <a:pt x="300" y="2500"/>
                  <a:pt x="276" y="2526"/>
                  <a:pt x="300" y="2551"/>
                </a:cubicBezTo>
                <a:cubicBezTo>
                  <a:pt x="326" y="2551"/>
                  <a:pt x="326" y="2575"/>
                  <a:pt x="300" y="2575"/>
                </a:cubicBezTo>
                <a:cubicBezTo>
                  <a:pt x="276" y="2600"/>
                  <a:pt x="300" y="2651"/>
                  <a:pt x="300" y="2651"/>
                </a:cubicBezTo>
                <a:cubicBezTo>
                  <a:pt x="276" y="2675"/>
                  <a:pt x="251" y="2700"/>
                  <a:pt x="276" y="2726"/>
                </a:cubicBezTo>
                <a:cubicBezTo>
                  <a:pt x="276" y="2775"/>
                  <a:pt x="251" y="2751"/>
                  <a:pt x="251" y="2800"/>
                </a:cubicBezTo>
                <a:cubicBezTo>
                  <a:pt x="251" y="2826"/>
                  <a:pt x="276" y="2826"/>
                  <a:pt x="251" y="2851"/>
                </a:cubicBezTo>
                <a:cubicBezTo>
                  <a:pt x="251" y="2851"/>
                  <a:pt x="276" y="2875"/>
                  <a:pt x="251" y="2875"/>
                </a:cubicBezTo>
                <a:cubicBezTo>
                  <a:pt x="226" y="2875"/>
                  <a:pt x="251" y="2926"/>
                  <a:pt x="251" y="2951"/>
                </a:cubicBezTo>
                <a:cubicBezTo>
                  <a:pt x="276" y="2975"/>
                  <a:pt x="226" y="2951"/>
                  <a:pt x="226" y="2975"/>
                </a:cubicBezTo>
                <a:cubicBezTo>
                  <a:pt x="200" y="2975"/>
                  <a:pt x="226" y="3000"/>
                  <a:pt x="226" y="3026"/>
                </a:cubicBezTo>
                <a:cubicBezTo>
                  <a:pt x="200" y="3051"/>
                  <a:pt x="176" y="3026"/>
                  <a:pt x="151" y="3000"/>
                </a:cubicBezTo>
                <a:cubicBezTo>
                  <a:pt x="151" y="3000"/>
                  <a:pt x="176" y="2975"/>
                  <a:pt x="200" y="2951"/>
                </a:cubicBezTo>
                <a:cubicBezTo>
                  <a:pt x="226" y="2926"/>
                  <a:pt x="176" y="2851"/>
                  <a:pt x="151" y="2875"/>
                </a:cubicBezTo>
                <a:cubicBezTo>
                  <a:pt x="126" y="2875"/>
                  <a:pt x="176" y="2926"/>
                  <a:pt x="176" y="2951"/>
                </a:cubicBezTo>
                <a:cubicBezTo>
                  <a:pt x="176" y="2975"/>
                  <a:pt x="126" y="2951"/>
                  <a:pt x="126" y="2975"/>
                </a:cubicBezTo>
                <a:cubicBezTo>
                  <a:pt x="126" y="3000"/>
                  <a:pt x="100" y="3000"/>
                  <a:pt x="76" y="3000"/>
                </a:cubicBezTo>
                <a:cubicBezTo>
                  <a:pt x="51" y="3026"/>
                  <a:pt x="100" y="3051"/>
                  <a:pt x="76" y="3051"/>
                </a:cubicBezTo>
                <a:lnTo>
                  <a:pt x="26" y="3100"/>
                </a:lnTo>
                <a:cubicBezTo>
                  <a:pt x="26" y="3126"/>
                  <a:pt x="51" y="3126"/>
                  <a:pt x="51" y="3126"/>
                </a:cubicBezTo>
                <a:cubicBezTo>
                  <a:pt x="51" y="3100"/>
                  <a:pt x="76" y="3100"/>
                  <a:pt x="100" y="3126"/>
                </a:cubicBezTo>
                <a:cubicBezTo>
                  <a:pt x="100" y="3151"/>
                  <a:pt x="126" y="3126"/>
                  <a:pt x="151" y="3126"/>
                </a:cubicBezTo>
                <a:cubicBezTo>
                  <a:pt x="176" y="3126"/>
                  <a:pt x="176" y="3175"/>
                  <a:pt x="151" y="3175"/>
                </a:cubicBezTo>
                <a:cubicBezTo>
                  <a:pt x="151" y="3175"/>
                  <a:pt x="126" y="3200"/>
                  <a:pt x="126" y="3226"/>
                </a:cubicBezTo>
                <a:cubicBezTo>
                  <a:pt x="126" y="3251"/>
                  <a:pt x="200" y="3226"/>
                  <a:pt x="226" y="3226"/>
                </a:cubicBezTo>
                <a:cubicBezTo>
                  <a:pt x="251" y="3251"/>
                  <a:pt x="226" y="3300"/>
                  <a:pt x="226" y="3275"/>
                </a:cubicBezTo>
                <a:cubicBezTo>
                  <a:pt x="200" y="3251"/>
                  <a:pt x="176" y="3226"/>
                  <a:pt x="151" y="3251"/>
                </a:cubicBezTo>
                <a:cubicBezTo>
                  <a:pt x="151" y="3275"/>
                  <a:pt x="126" y="3275"/>
                  <a:pt x="100" y="3275"/>
                </a:cubicBezTo>
                <a:cubicBezTo>
                  <a:pt x="76" y="3251"/>
                  <a:pt x="0" y="3300"/>
                  <a:pt x="26" y="3326"/>
                </a:cubicBezTo>
                <a:cubicBezTo>
                  <a:pt x="51" y="3326"/>
                  <a:pt x="51" y="3351"/>
                  <a:pt x="76" y="3351"/>
                </a:cubicBezTo>
                <a:cubicBezTo>
                  <a:pt x="76" y="3351"/>
                  <a:pt x="100" y="3351"/>
                  <a:pt x="126" y="3326"/>
                </a:cubicBezTo>
                <a:cubicBezTo>
                  <a:pt x="126" y="3300"/>
                  <a:pt x="151" y="3300"/>
                  <a:pt x="151" y="3326"/>
                </a:cubicBezTo>
                <a:cubicBezTo>
                  <a:pt x="151" y="3375"/>
                  <a:pt x="126" y="3351"/>
                  <a:pt x="100" y="3375"/>
                </a:cubicBezTo>
                <a:cubicBezTo>
                  <a:pt x="100" y="3400"/>
                  <a:pt x="76" y="3400"/>
                  <a:pt x="51" y="3426"/>
                </a:cubicBezTo>
                <a:cubicBezTo>
                  <a:pt x="26" y="3451"/>
                  <a:pt x="51" y="3475"/>
                  <a:pt x="76" y="3475"/>
                </a:cubicBezTo>
                <a:cubicBezTo>
                  <a:pt x="100" y="3451"/>
                  <a:pt x="76" y="3500"/>
                  <a:pt x="100" y="3500"/>
                </a:cubicBezTo>
                <a:cubicBezTo>
                  <a:pt x="126" y="3500"/>
                  <a:pt x="126" y="3475"/>
                  <a:pt x="126" y="3451"/>
                </a:cubicBezTo>
                <a:cubicBezTo>
                  <a:pt x="126" y="3451"/>
                  <a:pt x="151" y="3400"/>
                  <a:pt x="176" y="3426"/>
                </a:cubicBezTo>
                <a:cubicBezTo>
                  <a:pt x="200" y="3451"/>
                  <a:pt x="151" y="3451"/>
                  <a:pt x="151" y="3475"/>
                </a:cubicBezTo>
                <a:cubicBezTo>
                  <a:pt x="151" y="3500"/>
                  <a:pt x="151" y="3526"/>
                  <a:pt x="151" y="3551"/>
                </a:cubicBezTo>
                <a:cubicBezTo>
                  <a:pt x="151" y="3575"/>
                  <a:pt x="126" y="3575"/>
                  <a:pt x="126" y="3600"/>
                </a:cubicBezTo>
                <a:cubicBezTo>
                  <a:pt x="126" y="3626"/>
                  <a:pt x="51" y="3600"/>
                  <a:pt x="76" y="3626"/>
                </a:cubicBezTo>
                <a:cubicBezTo>
                  <a:pt x="126" y="3626"/>
                  <a:pt x="76" y="3651"/>
                  <a:pt x="76" y="3676"/>
                </a:cubicBezTo>
                <a:cubicBezTo>
                  <a:pt x="100" y="3676"/>
                  <a:pt x="100" y="3651"/>
                  <a:pt x="126" y="3651"/>
                </a:cubicBezTo>
                <a:cubicBezTo>
                  <a:pt x="151" y="3676"/>
                  <a:pt x="151" y="3676"/>
                  <a:pt x="176" y="3651"/>
                </a:cubicBezTo>
                <a:cubicBezTo>
                  <a:pt x="200" y="3651"/>
                  <a:pt x="226" y="3676"/>
                  <a:pt x="200" y="3700"/>
                </a:cubicBezTo>
                <a:cubicBezTo>
                  <a:pt x="176" y="3700"/>
                  <a:pt x="151" y="3726"/>
                  <a:pt x="151" y="3726"/>
                </a:cubicBezTo>
                <a:cubicBezTo>
                  <a:pt x="176" y="3726"/>
                  <a:pt x="200" y="3700"/>
                  <a:pt x="226" y="3751"/>
                </a:cubicBezTo>
                <a:cubicBezTo>
                  <a:pt x="226" y="3776"/>
                  <a:pt x="251" y="3751"/>
                  <a:pt x="251" y="3726"/>
                </a:cubicBezTo>
                <a:cubicBezTo>
                  <a:pt x="251" y="3700"/>
                  <a:pt x="300" y="3726"/>
                  <a:pt x="300" y="3751"/>
                </a:cubicBezTo>
                <a:cubicBezTo>
                  <a:pt x="326" y="3776"/>
                  <a:pt x="251" y="3800"/>
                  <a:pt x="226" y="3776"/>
                </a:cubicBezTo>
                <a:cubicBezTo>
                  <a:pt x="200" y="3776"/>
                  <a:pt x="176" y="3800"/>
                  <a:pt x="200" y="3851"/>
                </a:cubicBezTo>
                <a:cubicBezTo>
                  <a:pt x="226" y="3876"/>
                  <a:pt x="251" y="3851"/>
                  <a:pt x="276" y="3826"/>
                </a:cubicBezTo>
                <a:cubicBezTo>
                  <a:pt x="276" y="3800"/>
                  <a:pt x="400" y="3800"/>
                  <a:pt x="400" y="3826"/>
                </a:cubicBezTo>
                <a:cubicBezTo>
                  <a:pt x="426" y="3851"/>
                  <a:pt x="351" y="3826"/>
                  <a:pt x="351" y="3851"/>
                </a:cubicBezTo>
                <a:cubicBezTo>
                  <a:pt x="351" y="3851"/>
                  <a:pt x="300" y="3876"/>
                  <a:pt x="300" y="3851"/>
                </a:cubicBezTo>
                <a:cubicBezTo>
                  <a:pt x="276" y="3826"/>
                  <a:pt x="251" y="3851"/>
                  <a:pt x="251" y="3876"/>
                </a:cubicBezTo>
                <a:cubicBezTo>
                  <a:pt x="226" y="3926"/>
                  <a:pt x="200" y="3926"/>
                  <a:pt x="251" y="3926"/>
                </a:cubicBezTo>
                <a:cubicBezTo>
                  <a:pt x="276" y="3926"/>
                  <a:pt x="276" y="3876"/>
                  <a:pt x="326" y="3900"/>
                </a:cubicBezTo>
                <a:cubicBezTo>
                  <a:pt x="376" y="3900"/>
                  <a:pt x="426" y="3826"/>
                  <a:pt x="426" y="3876"/>
                </a:cubicBezTo>
                <a:cubicBezTo>
                  <a:pt x="451" y="3900"/>
                  <a:pt x="376" y="3926"/>
                  <a:pt x="351" y="3900"/>
                </a:cubicBezTo>
                <a:cubicBezTo>
                  <a:pt x="351" y="3876"/>
                  <a:pt x="300" y="3926"/>
                  <a:pt x="326" y="3951"/>
                </a:cubicBezTo>
                <a:cubicBezTo>
                  <a:pt x="326" y="3976"/>
                  <a:pt x="251" y="3951"/>
                  <a:pt x="226" y="3951"/>
                </a:cubicBezTo>
                <a:cubicBezTo>
                  <a:pt x="176" y="3926"/>
                  <a:pt x="200" y="3976"/>
                  <a:pt x="226" y="4000"/>
                </a:cubicBezTo>
                <a:cubicBezTo>
                  <a:pt x="251" y="4026"/>
                  <a:pt x="276" y="4000"/>
                  <a:pt x="300" y="4026"/>
                </a:cubicBezTo>
                <a:cubicBezTo>
                  <a:pt x="351" y="4051"/>
                  <a:pt x="351" y="4076"/>
                  <a:pt x="376" y="4051"/>
                </a:cubicBezTo>
                <a:cubicBezTo>
                  <a:pt x="400" y="4026"/>
                  <a:pt x="376" y="4026"/>
                  <a:pt x="351" y="4026"/>
                </a:cubicBezTo>
                <a:cubicBezTo>
                  <a:pt x="326" y="4000"/>
                  <a:pt x="351" y="3976"/>
                  <a:pt x="376" y="4000"/>
                </a:cubicBezTo>
                <a:cubicBezTo>
                  <a:pt x="426" y="4000"/>
                  <a:pt x="476" y="3976"/>
                  <a:pt x="451" y="3926"/>
                </a:cubicBezTo>
                <a:cubicBezTo>
                  <a:pt x="451" y="3876"/>
                  <a:pt x="500" y="3851"/>
                  <a:pt x="551" y="3826"/>
                </a:cubicBezTo>
                <a:cubicBezTo>
                  <a:pt x="600" y="3826"/>
                  <a:pt x="576" y="3876"/>
                  <a:pt x="526" y="3876"/>
                </a:cubicBezTo>
                <a:cubicBezTo>
                  <a:pt x="500" y="3900"/>
                  <a:pt x="500" y="3900"/>
                  <a:pt x="526" y="3926"/>
                </a:cubicBezTo>
                <a:cubicBezTo>
                  <a:pt x="551" y="3951"/>
                  <a:pt x="576" y="3926"/>
                  <a:pt x="600" y="3926"/>
                </a:cubicBezTo>
                <a:cubicBezTo>
                  <a:pt x="626" y="3951"/>
                  <a:pt x="551" y="3951"/>
                  <a:pt x="551" y="3976"/>
                </a:cubicBezTo>
                <a:cubicBezTo>
                  <a:pt x="551" y="4000"/>
                  <a:pt x="600" y="4026"/>
                  <a:pt x="551" y="4051"/>
                </a:cubicBezTo>
                <a:cubicBezTo>
                  <a:pt x="526" y="4051"/>
                  <a:pt x="526" y="3976"/>
                  <a:pt x="526" y="3976"/>
                </a:cubicBezTo>
                <a:cubicBezTo>
                  <a:pt x="500" y="3951"/>
                  <a:pt x="476" y="3976"/>
                  <a:pt x="500" y="4026"/>
                </a:cubicBezTo>
                <a:cubicBezTo>
                  <a:pt x="526" y="4076"/>
                  <a:pt x="476" y="4026"/>
                  <a:pt x="451" y="4000"/>
                </a:cubicBezTo>
                <a:cubicBezTo>
                  <a:pt x="426" y="3976"/>
                  <a:pt x="400" y="4026"/>
                  <a:pt x="426" y="4051"/>
                </a:cubicBezTo>
                <a:cubicBezTo>
                  <a:pt x="451" y="4076"/>
                  <a:pt x="376" y="4051"/>
                  <a:pt x="376" y="4076"/>
                </a:cubicBezTo>
                <a:cubicBezTo>
                  <a:pt x="376" y="4126"/>
                  <a:pt x="400" y="4100"/>
                  <a:pt x="451" y="4100"/>
                </a:cubicBezTo>
                <a:cubicBezTo>
                  <a:pt x="476" y="4100"/>
                  <a:pt x="476" y="4151"/>
                  <a:pt x="500" y="4176"/>
                </a:cubicBezTo>
                <a:cubicBezTo>
                  <a:pt x="526" y="4200"/>
                  <a:pt x="500" y="4126"/>
                  <a:pt x="526" y="4100"/>
                </a:cubicBezTo>
                <a:cubicBezTo>
                  <a:pt x="551" y="4100"/>
                  <a:pt x="526" y="4176"/>
                  <a:pt x="600" y="4200"/>
                </a:cubicBezTo>
                <a:cubicBezTo>
                  <a:pt x="651" y="4226"/>
                  <a:pt x="600" y="4176"/>
                  <a:pt x="626" y="4151"/>
                </a:cubicBezTo>
                <a:cubicBezTo>
                  <a:pt x="651" y="4151"/>
                  <a:pt x="701" y="4226"/>
                  <a:pt x="726" y="4226"/>
                </a:cubicBezTo>
                <a:cubicBezTo>
                  <a:pt x="751" y="4251"/>
                  <a:pt x="726" y="4200"/>
                  <a:pt x="701" y="4176"/>
                </a:cubicBezTo>
                <a:cubicBezTo>
                  <a:pt x="701" y="4151"/>
                  <a:pt x="726" y="4151"/>
                  <a:pt x="776" y="4176"/>
                </a:cubicBezTo>
                <a:cubicBezTo>
                  <a:pt x="801" y="4176"/>
                  <a:pt x="826" y="4176"/>
                  <a:pt x="826" y="4151"/>
                </a:cubicBezTo>
                <a:cubicBezTo>
                  <a:pt x="826" y="4151"/>
                  <a:pt x="826" y="4151"/>
                  <a:pt x="851" y="4151"/>
                </a:cubicBezTo>
                <a:cubicBezTo>
                  <a:pt x="801" y="4126"/>
                  <a:pt x="701" y="4151"/>
                  <a:pt x="676" y="4151"/>
                </a:cubicBezTo>
                <a:cubicBezTo>
                  <a:pt x="676" y="4151"/>
                  <a:pt x="676" y="3900"/>
                  <a:pt x="676" y="3826"/>
                </a:cubicBezTo>
                <a:lnTo>
                  <a:pt x="676" y="3826"/>
                </a:lnTo>
                <a:cubicBezTo>
                  <a:pt x="651" y="3826"/>
                  <a:pt x="600" y="3851"/>
                  <a:pt x="600" y="3800"/>
                </a:cubicBezTo>
                <a:cubicBezTo>
                  <a:pt x="600" y="3800"/>
                  <a:pt x="600" y="3800"/>
                  <a:pt x="600" y="3776"/>
                </a:cubicBezTo>
                <a:cubicBezTo>
                  <a:pt x="600" y="3776"/>
                  <a:pt x="576" y="3776"/>
                  <a:pt x="551" y="3751"/>
                </a:cubicBezTo>
                <a:cubicBezTo>
                  <a:pt x="526" y="3751"/>
                  <a:pt x="426" y="3751"/>
                  <a:pt x="400" y="3751"/>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1" name="Freeform 224">
            <a:extLst>
              <a:ext uri="{FF2B5EF4-FFF2-40B4-BE49-F238E27FC236}">
                <a16:creationId xmlns:a16="http://schemas.microsoft.com/office/drawing/2014/main" id="{65BE57A9-4AB1-B95E-01A2-4C830B6383A4}"/>
              </a:ext>
            </a:extLst>
          </p:cNvPr>
          <p:cNvSpPr>
            <a:spLocks noChangeArrowheads="1"/>
          </p:cNvSpPr>
          <p:nvPr/>
        </p:nvSpPr>
        <p:spPr bwMode="auto">
          <a:xfrm>
            <a:off x="6159906" y="5194497"/>
            <a:ext cx="262967" cy="271405"/>
          </a:xfrm>
          <a:custGeom>
            <a:avLst/>
            <a:gdLst>
              <a:gd name="T0" fmla="*/ 800 w 826"/>
              <a:gd name="T1" fmla="*/ 450 h 851"/>
              <a:gd name="T2" fmla="*/ 800 w 826"/>
              <a:gd name="T3" fmla="*/ 450 h 851"/>
              <a:gd name="T4" fmla="*/ 725 w 826"/>
              <a:gd name="T5" fmla="*/ 475 h 851"/>
              <a:gd name="T6" fmla="*/ 675 w 826"/>
              <a:gd name="T7" fmla="*/ 375 h 851"/>
              <a:gd name="T8" fmla="*/ 600 w 826"/>
              <a:gd name="T9" fmla="*/ 300 h 851"/>
              <a:gd name="T10" fmla="*/ 525 w 826"/>
              <a:gd name="T11" fmla="*/ 275 h 851"/>
              <a:gd name="T12" fmla="*/ 475 w 826"/>
              <a:gd name="T13" fmla="*/ 200 h 851"/>
              <a:gd name="T14" fmla="*/ 450 w 826"/>
              <a:gd name="T15" fmla="*/ 100 h 851"/>
              <a:gd name="T16" fmla="*/ 450 w 826"/>
              <a:gd name="T17" fmla="*/ 50 h 851"/>
              <a:gd name="T18" fmla="*/ 425 w 826"/>
              <a:gd name="T19" fmla="*/ 50 h 851"/>
              <a:gd name="T20" fmla="*/ 350 w 826"/>
              <a:gd name="T21" fmla="*/ 0 h 851"/>
              <a:gd name="T22" fmla="*/ 250 w 826"/>
              <a:gd name="T23" fmla="*/ 25 h 851"/>
              <a:gd name="T24" fmla="*/ 125 w 826"/>
              <a:gd name="T25" fmla="*/ 50 h 851"/>
              <a:gd name="T26" fmla="*/ 50 w 826"/>
              <a:gd name="T27" fmla="*/ 125 h 851"/>
              <a:gd name="T28" fmla="*/ 25 w 826"/>
              <a:gd name="T29" fmla="*/ 275 h 851"/>
              <a:gd name="T30" fmla="*/ 0 w 826"/>
              <a:gd name="T31" fmla="*/ 275 h 851"/>
              <a:gd name="T32" fmla="*/ 125 w 826"/>
              <a:gd name="T33" fmla="*/ 400 h 851"/>
              <a:gd name="T34" fmla="*/ 225 w 826"/>
              <a:gd name="T35" fmla="*/ 475 h 851"/>
              <a:gd name="T36" fmla="*/ 325 w 826"/>
              <a:gd name="T37" fmla="*/ 525 h 851"/>
              <a:gd name="T38" fmla="*/ 500 w 826"/>
              <a:gd name="T39" fmla="*/ 600 h 851"/>
              <a:gd name="T40" fmla="*/ 425 w 826"/>
              <a:gd name="T41" fmla="*/ 725 h 851"/>
              <a:gd name="T42" fmla="*/ 400 w 826"/>
              <a:gd name="T43" fmla="*/ 800 h 851"/>
              <a:gd name="T44" fmla="*/ 500 w 826"/>
              <a:gd name="T45" fmla="*/ 825 h 851"/>
              <a:gd name="T46" fmla="*/ 575 w 826"/>
              <a:gd name="T47" fmla="*/ 825 h 851"/>
              <a:gd name="T48" fmla="*/ 650 w 826"/>
              <a:gd name="T49" fmla="*/ 800 h 851"/>
              <a:gd name="T50" fmla="*/ 725 w 826"/>
              <a:gd name="T51" fmla="*/ 775 h 851"/>
              <a:gd name="T52" fmla="*/ 775 w 826"/>
              <a:gd name="T53" fmla="*/ 625 h 851"/>
              <a:gd name="T54" fmla="*/ 800 w 826"/>
              <a:gd name="T5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6" h="851">
                <a:moveTo>
                  <a:pt x="800" y="450"/>
                </a:moveTo>
                <a:lnTo>
                  <a:pt x="800" y="450"/>
                </a:lnTo>
                <a:cubicBezTo>
                  <a:pt x="750" y="450"/>
                  <a:pt x="725" y="475"/>
                  <a:pt x="725" y="475"/>
                </a:cubicBezTo>
                <a:cubicBezTo>
                  <a:pt x="700" y="475"/>
                  <a:pt x="675" y="400"/>
                  <a:pt x="675" y="375"/>
                </a:cubicBezTo>
                <a:cubicBezTo>
                  <a:pt x="650" y="350"/>
                  <a:pt x="625" y="275"/>
                  <a:pt x="600" y="300"/>
                </a:cubicBezTo>
                <a:cubicBezTo>
                  <a:pt x="575" y="300"/>
                  <a:pt x="575" y="275"/>
                  <a:pt x="525" y="275"/>
                </a:cubicBezTo>
                <a:cubicBezTo>
                  <a:pt x="450" y="275"/>
                  <a:pt x="450" y="275"/>
                  <a:pt x="475" y="200"/>
                </a:cubicBezTo>
                <a:cubicBezTo>
                  <a:pt x="500" y="150"/>
                  <a:pt x="425" y="100"/>
                  <a:pt x="450" y="100"/>
                </a:cubicBezTo>
                <a:cubicBezTo>
                  <a:pt x="475" y="75"/>
                  <a:pt x="475" y="75"/>
                  <a:pt x="450" y="50"/>
                </a:cubicBezTo>
                <a:cubicBezTo>
                  <a:pt x="450" y="50"/>
                  <a:pt x="450" y="50"/>
                  <a:pt x="425" y="50"/>
                </a:cubicBezTo>
                <a:cubicBezTo>
                  <a:pt x="425" y="50"/>
                  <a:pt x="375" y="0"/>
                  <a:pt x="350" y="0"/>
                </a:cubicBezTo>
                <a:cubicBezTo>
                  <a:pt x="300" y="0"/>
                  <a:pt x="275" y="0"/>
                  <a:pt x="250" y="25"/>
                </a:cubicBezTo>
                <a:cubicBezTo>
                  <a:pt x="200" y="25"/>
                  <a:pt x="150" y="25"/>
                  <a:pt x="125" y="50"/>
                </a:cubicBezTo>
                <a:cubicBezTo>
                  <a:pt x="100" y="50"/>
                  <a:pt x="50" y="100"/>
                  <a:pt x="50" y="125"/>
                </a:cubicBezTo>
                <a:cubicBezTo>
                  <a:pt x="50" y="150"/>
                  <a:pt x="50" y="275"/>
                  <a:pt x="25" y="275"/>
                </a:cubicBezTo>
                <a:lnTo>
                  <a:pt x="0" y="275"/>
                </a:lnTo>
                <a:cubicBezTo>
                  <a:pt x="25" y="300"/>
                  <a:pt x="75" y="375"/>
                  <a:pt x="125" y="400"/>
                </a:cubicBezTo>
                <a:cubicBezTo>
                  <a:pt x="175" y="425"/>
                  <a:pt x="175" y="475"/>
                  <a:pt x="225" y="475"/>
                </a:cubicBezTo>
                <a:cubicBezTo>
                  <a:pt x="275" y="475"/>
                  <a:pt x="325" y="500"/>
                  <a:pt x="325" y="525"/>
                </a:cubicBezTo>
                <a:cubicBezTo>
                  <a:pt x="350" y="550"/>
                  <a:pt x="500" y="600"/>
                  <a:pt x="500" y="600"/>
                </a:cubicBezTo>
                <a:cubicBezTo>
                  <a:pt x="525" y="625"/>
                  <a:pt x="425" y="675"/>
                  <a:pt x="425" y="725"/>
                </a:cubicBezTo>
                <a:cubicBezTo>
                  <a:pt x="425" y="775"/>
                  <a:pt x="400" y="775"/>
                  <a:pt x="400" y="800"/>
                </a:cubicBezTo>
                <a:cubicBezTo>
                  <a:pt x="400" y="825"/>
                  <a:pt x="475" y="800"/>
                  <a:pt x="500" y="825"/>
                </a:cubicBezTo>
                <a:cubicBezTo>
                  <a:pt x="525" y="825"/>
                  <a:pt x="550" y="800"/>
                  <a:pt x="575" y="825"/>
                </a:cubicBezTo>
                <a:cubicBezTo>
                  <a:pt x="600" y="850"/>
                  <a:pt x="650" y="800"/>
                  <a:pt x="650" y="800"/>
                </a:cubicBezTo>
                <a:cubicBezTo>
                  <a:pt x="675" y="825"/>
                  <a:pt x="700" y="775"/>
                  <a:pt x="725" y="775"/>
                </a:cubicBezTo>
                <a:cubicBezTo>
                  <a:pt x="775" y="775"/>
                  <a:pt x="800" y="675"/>
                  <a:pt x="775" y="625"/>
                </a:cubicBezTo>
                <a:cubicBezTo>
                  <a:pt x="775" y="600"/>
                  <a:pt x="825" y="475"/>
                  <a:pt x="800" y="4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2" name="Freeform 225">
            <a:extLst>
              <a:ext uri="{FF2B5EF4-FFF2-40B4-BE49-F238E27FC236}">
                <a16:creationId xmlns:a16="http://schemas.microsoft.com/office/drawing/2014/main" id="{8725680E-F73A-E009-9B21-09A65BF0677A}"/>
              </a:ext>
            </a:extLst>
          </p:cNvPr>
          <p:cNvSpPr>
            <a:spLocks noChangeArrowheads="1"/>
          </p:cNvSpPr>
          <p:nvPr/>
        </p:nvSpPr>
        <p:spPr bwMode="auto">
          <a:xfrm>
            <a:off x="5951780" y="4899187"/>
            <a:ext cx="367028" cy="414841"/>
          </a:xfrm>
          <a:custGeom>
            <a:avLst/>
            <a:gdLst>
              <a:gd name="T0" fmla="*/ 1151 w 1152"/>
              <a:gd name="T1" fmla="*/ 774 h 1301"/>
              <a:gd name="T2" fmla="*/ 1151 w 1152"/>
              <a:gd name="T3" fmla="*/ 774 h 1301"/>
              <a:gd name="T4" fmla="*/ 1076 w 1152"/>
              <a:gd name="T5" fmla="*/ 700 h 1301"/>
              <a:gd name="T6" fmla="*/ 1001 w 1152"/>
              <a:gd name="T7" fmla="*/ 650 h 1301"/>
              <a:gd name="T8" fmla="*/ 901 w 1152"/>
              <a:gd name="T9" fmla="*/ 600 h 1301"/>
              <a:gd name="T10" fmla="*/ 901 w 1152"/>
              <a:gd name="T11" fmla="*/ 525 h 1301"/>
              <a:gd name="T12" fmla="*/ 876 w 1152"/>
              <a:gd name="T13" fmla="*/ 450 h 1301"/>
              <a:gd name="T14" fmla="*/ 851 w 1152"/>
              <a:gd name="T15" fmla="*/ 375 h 1301"/>
              <a:gd name="T16" fmla="*/ 751 w 1152"/>
              <a:gd name="T17" fmla="*/ 350 h 1301"/>
              <a:gd name="T18" fmla="*/ 676 w 1152"/>
              <a:gd name="T19" fmla="*/ 325 h 1301"/>
              <a:gd name="T20" fmla="*/ 626 w 1152"/>
              <a:gd name="T21" fmla="*/ 300 h 1301"/>
              <a:gd name="T22" fmla="*/ 551 w 1152"/>
              <a:gd name="T23" fmla="*/ 275 h 1301"/>
              <a:gd name="T24" fmla="*/ 451 w 1152"/>
              <a:gd name="T25" fmla="*/ 200 h 1301"/>
              <a:gd name="T26" fmla="*/ 426 w 1152"/>
              <a:gd name="T27" fmla="*/ 25 h 1301"/>
              <a:gd name="T28" fmla="*/ 326 w 1152"/>
              <a:gd name="T29" fmla="*/ 25 h 1301"/>
              <a:gd name="T30" fmla="*/ 226 w 1152"/>
              <a:gd name="T31" fmla="*/ 75 h 1301"/>
              <a:gd name="T32" fmla="*/ 126 w 1152"/>
              <a:gd name="T33" fmla="*/ 100 h 1301"/>
              <a:gd name="T34" fmla="*/ 51 w 1152"/>
              <a:gd name="T35" fmla="*/ 125 h 1301"/>
              <a:gd name="T36" fmla="*/ 26 w 1152"/>
              <a:gd name="T37" fmla="*/ 125 h 1301"/>
              <a:gd name="T38" fmla="*/ 101 w 1152"/>
              <a:gd name="T39" fmla="*/ 250 h 1301"/>
              <a:gd name="T40" fmla="*/ 76 w 1152"/>
              <a:gd name="T41" fmla="*/ 300 h 1301"/>
              <a:gd name="T42" fmla="*/ 76 w 1152"/>
              <a:gd name="T43" fmla="*/ 450 h 1301"/>
              <a:gd name="T44" fmla="*/ 51 w 1152"/>
              <a:gd name="T45" fmla="*/ 525 h 1301"/>
              <a:gd name="T46" fmla="*/ 26 w 1152"/>
              <a:gd name="T47" fmla="*/ 600 h 1301"/>
              <a:gd name="T48" fmla="*/ 76 w 1152"/>
              <a:gd name="T49" fmla="*/ 650 h 1301"/>
              <a:gd name="T50" fmla="*/ 26 w 1152"/>
              <a:gd name="T51" fmla="*/ 725 h 1301"/>
              <a:gd name="T52" fmla="*/ 0 w 1152"/>
              <a:gd name="T53" fmla="*/ 750 h 1301"/>
              <a:gd name="T54" fmla="*/ 51 w 1152"/>
              <a:gd name="T55" fmla="*/ 800 h 1301"/>
              <a:gd name="T56" fmla="*/ 76 w 1152"/>
              <a:gd name="T57" fmla="*/ 900 h 1301"/>
              <a:gd name="T58" fmla="*/ 101 w 1152"/>
              <a:gd name="T59" fmla="*/ 950 h 1301"/>
              <a:gd name="T60" fmla="*/ 76 w 1152"/>
              <a:gd name="T61" fmla="*/ 1025 h 1301"/>
              <a:gd name="T62" fmla="*/ 126 w 1152"/>
              <a:gd name="T63" fmla="*/ 1100 h 1301"/>
              <a:gd name="T64" fmla="*/ 151 w 1152"/>
              <a:gd name="T65" fmla="*/ 1175 h 1301"/>
              <a:gd name="T66" fmla="*/ 176 w 1152"/>
              <a:gd name="T67" fmla="*/ 1275 h 1301"/>
              <a:gd name="T68" fmla="*/ 301 w 1152"/>
              <a:gd name="T69" fmla="*/ 1200 h 1301"/>
              <a:gd name="T70" fmla="*/ 376 w 1152"/>
              <a:gd name="T71" fmla="*/ 1200 h 1301"/>
              <a:gd name="T72" fmla="*/ 501 w 1152"/>
              <a:gd name="T73" fmla="*/ 1250 h 1301"/>
              <a:gd name="T74" fmla="*/ 551 w 1152"/>
              <a:gd name="T75" fmla="*/ 1200 h 1301"/>
              <a:gd name="T76" fmla="*/ 676 w 1152"/>
              <a:gd name="T77" fmla="*/ 1200 h 1301"/>
              <a:gd name="T78" fmla="*/ 701 w 1152"/>
              <a:gd name="T79" fmla="*/ 1050 h 1301"/>
              <a:gd name="T80" fmla="*/ 776 w 1152"/>
              <a:gd name="T81" fmla="*/ 975 h 1301"/>
              <a:gd name="T82" fmla="*/ 901 w 1152"/>
              <a:gd name="T83" fmla="*/ 950 h 1301"/>
              <a:gd name="T84" fmla="*/ 1001 w 1152"/>
              <a:gd name="T85" fmla="*/ 925 h 1301"/>
              <a:gd name="T86" fmla="*/ 1076 w 1152"/>
              <a:gd name="T87" fmla="*/ 975 h 1301"/>
              <a:gd name="T88" fmla="*/ 1126 w 1152"/>
              <a:gd name="T89" fmla="*/ 900 h 1301"/>
              <a:gd name="T90" fmla="*/ 1151 w 1152"/>
              <a:gd name="T91" fmla="*/ 774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2" h="1301">
                <a:moveTo>
                  <a:pt x="1151" y="774"/>
                </a:moveTo>
                <a:lnTo>
                  <a:pt x="1151" y="774"/>
                </a:lnTo>
                <a:cubicBezTo>
                  <a:pt x="1126" y="750"/>
                  <a:pt x="1076" y="725"/>
                  <a:pt x="1076" y="700"/>
                </a:cubicBezTo>
                <a:cubicBezTo>
                  <a:pt x="1076" y="650"/>
                  <a:pt x="1076" y="650"/>
                  <a:pt x="1001" y="650"/>
                </a:cubicBezTo>
                <a:cubicBezTo>
                  <a:pt x="951" y="650"/>
                  <a:pt x="901" y="625"/>
                  <a:pt x="901" y="600"/>
                </a:cubicBezTo>
                <a:cubicBezTo>
                  <a:pt x="901" y="550"/>
                  <a:pt x="876" y="525"/>
                  <a:pt x="901" y="525"/>
                </a:cubicBezTo>
                <a:cubicBezTo>
                  <a:pt x="926" y="500"/>
                  <a:pt x="876" y="475"/>
                  <a:pt x="876" y="450"/>
                </a:cubicBezTo>
                <a:cubicBezTo>
                  <a:pt x="876" y="400"/>
                  <a:pt x="876" y="400"/>
                  <a:pt x="851" y="375"/>
                </a:cubicBezTo>
                <a:cubicBezTo>
                  <a:pt x="826" y="375"/>
                  <a:pt x="751" y="400"/>
                  <a:pt x="751" y="350"/>
                </a:cubicBezTo>
                <a:cubicBezTo>
                  <a:pt x="751" y="325"/>
                  <a:pt x="701" y="325"/>
                  <a:pt x="676" y="325"/>
                </a:cubicBezTo>
                <a:cubicBezTo>
                  <a:pt x="626" y="325"/>
                  <a:pt x="651" y="275"/>
                  <a:pt x="626" y="300"/>
                </a:cubicBezTo>
                <a:cubicBezTo>
                  <a:pt x="601" y="300"/>
                  <a:pt x="601" y="275"/>
                  <a:pt x="551" y="275"/>
                </a:cubicBezTo>
                <a:cubicBezTo>
                  <a:pt x="526" y="275"/>
                  <a:pt x="501" y="250"/>
                  <a:pt x="451" y="200"/>
                </a:cubicBezTo>
                <a:cubicBezTo>
                  <a:pt x="401" y="150"/>
                  <a:pt x="401" y="50"/>
                  <a:pt x="426" y="25"/>
                </a:cubicBezTo>
                <a:cubicBezTo>
                  <a:pt x="426" y="0"/>
                  <a:pt x="376" y="25"/>
                  <a:pt x="326" y="25"/>
                </a:cubicBezTo>
                <a:cubicBezTo>
                  <a:pt x="301" y="25"/>
                  <a:pt x="251" y="50"/>
                  <a:pt x="226" y="75"/>
                </a:cubicBezTo>
                <a:cubicBezTo>
                  <a:pt x="176" y="100"/>
                  <a:pt x="151" y="100"/>
                  <a:pt x="126" y="100"/>
                </a:cubicBezTo>
                <a:cubicBezTo>
                  <a:pt x="126" y="125"/>
                  <a:pt x="76" y="150"/>
                  <a:pt x="51" y="125"/>
                </a:cubicBezTo>
                <a:lnTo>
                  <a:pt x="26" y="125"/>
                </a:lnTo>
                <a:cubicBezTo>
                  <a:pt x="51" y="175"/>
                  <a:pt x="76" y="225"/>
                  <a:pt x="101" y="250"/>
                </a:cubicBezTo>
                <a:cubicBezTo>
                  <a:pt x="101" y="275"/>
                  <a:pt x="76" y="300"/>
                  <a:pt x="76" y="300"/>
                </a:cubicBezTo>
                <a:cubicBezTo>
                  <a:pt x="51" y="325"/>
                  <a:pt x="76" y="425"/>
                  <a:pt x="76" y="450"/>
                </a:cubicBezTo>
                <a:cubicBezTo>
                  <a:pt x="76" y="450"/>
                  <a:pt x="26" y="500"/>
                  <a:pt x="51" y="525"/>
                </a:cubicBezTo>
                <a:cubicBezTo>
                  <a:pt x="76" y="525"/>
                  <a:pt x="26" y="575"/>
                  <a:pt x="26" y="600"/>
                </a:cubicBezTo>
                <a:cubicBezTo>
                  <a:pt x="26" y="625"/>
                  <a:pt x="76" y="625"/>
                  <a:pt x="76" y="650"/>
                </a:cubicBezTo>
                <a:cubicBezTo>
                  <a:pt x="76" y="650"/>
                  <a:pt x="26" y="700"/>
                  <a:pt x="26" y="725"/>
                </a:cubicBezTo>
                <a:cubicBezTo>
                  <a:pt x="0" y="725"/>
                  <a:pt x="0" y="725"/>
                  <a:pt x="0" y="750"/>
                </a:cubicBezTo>
                <a:cubicBezTo>
                  <a:pt x="0" y="750"/>
                  <a:pt x="26" y="774"/>
                  <a:pt x="51" y="800"/>
                </a:cubicBezTo>
                <a:cubicBezTo>
                  <a:pt x="76" y="825"/>
                  <a:pt x="51" y="875"/>
                  <a:pt x="76" y="900"/>
                </a:cubicBezTo>
                <a:cubicBezTo>
                  <a:pt x="101" y="925"/>
                  <a:pt x="126" y="925"/>
                  <a:pt x="101" y="950"/>
                </a:cubicBezTo>
                <a:cubicBezTo>
                  <a:pt x="76" y="975"/>
                  <a:pt x="101" y="1000"/>
                  <a:pt x="76" y="1025"/>
                </a:cubicBezTo>
                <a:cubicBezTo>
                  <a:pt x="76" y="1025"/>
                  <a:pt x="101" y="1075"/>
                  <a:pt x="126" y="1100"/>
                </a:cubicBezTo>
                <a:cubicBezTo>
                  <a:pt x="151" y="1100"/>
                  <a:pt x="126" y="1150"/>
                  <a:pt x="151" y="1175"/>
                </a:cubicBezTo>
                <a:cubicBezTo>
                  <a:pt x="176" y="1200"/>
                  <a:pt x="176" y="1275"/>
                  <a:pt x="176" y="1275"/>
                </a:cubicBezTo>
                <a:cubicBezTo>
                  <a:pt x="176" y="1300"/>
                  <a:pt x="251" y="1250"/>
                  <a:pt x="301" y="1200"/>
                </a:cubicBezTo>
                <a:cubicBezTo>
                  <a:pt x="351" y="1175"/>
                  <a:pt x="351" y="1200"/>
                  <a:pt x="376" y="1200"/>
                </a:cubicBezTo>
                <a:cubicBezTo>
                  <a:pt x="426" y="1225"/>
                  <a:pt x="476" y="1225"/>
                  <a:pt x="501" y="1250"/>
                </a:cubicBezTo>
                <a:cubicBezTo>
                  <a:pt x="526" y="1300"/>
                  <a:pt x="526" y="1225"/>
                  <a:pt x="551" y="1200"/>
                </a:cubicBezTo>
                <a:cubicBezTo>
                  <a:pt x="576" y="1175"/>
                  <a:pt x="651" y="1200"/>
                  <a:pt x="676" y="1200"/>
                </a:cubicBezTo>
                <a:cubicBezTo>
                  <a:pt x="701" y="1200"/>
                  <a:pt x="701" y="1075"/>
                  <a:pt x="701" y="1050"/>
                </a:cubicBezTo>
                <a:cubicBezTo>
                  <a:pt x="701" y="1025"/>
                  <a:pt x="751" y="975"/>
                  <a:pt x="776" y="975"/>
                </a:cubicBezTo>
                <a:cubicBezTo>
                  <a:pt x="801" y="950"/>
                  <a:pt x="851" y="950"/>
                  <a:pt x="901" y="950"/>
                </a:cubicBezTo>
                <a:cubicBezTo>
                  <a:pt x="926" y="925"/>
                  <a:pt x="951" y="925"/>
                  <a:pt x="1001" y="925"/>
                </a:cubicBezTo>
                <a:cubicBezTo>
                  <a:pt x="1026" y="925"/>
                  <a:pt x="1076" y="975"/>
                  <a:pt x="1076" y="975"/>
                </a:cubicBezTo>
                <a:cubicBezTo>
                  <a:pt x="1101" y="975"/>
                  <a:pt x="1126" y="925"/>
                  <a:pt x="1126" y="900"/>
                </a:cubicBezTo>
                <a:cubicBezTo>
                  <a:pt x="1126" y="875"/>
                  <a:pt x="1151" y="825"/>
                  <a:pt x="1151" y="774"/>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3" name="Freeform 226">
            <a:extLst>
              <a:ext uri="{FF2B5EF4-FFF2-40B4-BE49-F238E27FC236}">
                <a16:creationId xmlns:a16="http://schemas.microsoft.com/office/drawing/2014/main" id="{1B79CAEC-0483-68A7-51BA-1FC55C1F8664}"/>
              </a:ext>
            </a:extLst>
          </p:cNvPr>
          <p:cNvSpPr>
            <a:spLocks noChangeArrowheads="1"/>
          </p:cNvSpPr>
          <p:nvPr/>
        </p:nvSpPr>
        <p:spPr bwMode="auto">
          <a:xfrm>
            <a:off x="5593190" y="4603876"/>
            <a:ext cx="390935" cy="566716"/>
          </a:xfrm>
          <a:custGeom>
            <a:avLst/>
            <a:gdLst>
              <a:gd name="T0" fmla="*/ 1125 w 1227"/>
              <a:gd name="T1" fmla="*/ 1675 h 1776"/>
              <a:gd name="T2" fmla="*/ 1125 w 1227"/>
              <a:gd name="T3" fmla="*/ 1675 h 1776"/>
              <a:gd name="T4" fmla="*/ 1125 w 1227"/>
              <a:gd name="T5" fmla="*/ 1675 h 1776"/>
              <a:gd name="T6" fmla="*/ 1151 w 1227"/>
              <a:gd name="T7" fmla="*/ 1650 h 1776"/>
              <a:gd name="T8" fmla="*/ 1201 w 1227"/>
              <a:gd name="T9" fmla="*/ 1575 h 1776"/>
              <a:gd name="T10" fmla="*/ 1151 w 1227"/>
              <a:gd name="T11" fmla="*/ 1525 h 1776"/>
              <a:gd name="T12" fmla="*/ 1176 w 1227"/>
              <a:gd name="T13" fmla="*/ 1450 h 1776"/>
              <a:gd name="T14" fmla="*/ 1201 w 1227"/>
              <a:gd name="T15" fmla="*/ 1375 h 1776"/>
              <a:gd name="T16" fmla="*/ 1201 w 1227"/>
              <a:gd name="T17" fmla="*/ 1225 h 1776"/>
              <a:gd name="T18" fmla="*/ 1226 w 1227"/>
              <a:gd name="T19" fmla="*/ 1175 h 1776"/>
              <a:gd name="T20" fmla="*/ 1151 w 1227"/>
              <a:gd name="T21" fmla="*/ 1050 h 1776"/>
              <a:gd name="T22" fmla="*/ 1051 w 1227"/>
              <a:gd name="T23" fmla="*/ 1050 h 1776"/>
              <a:gd name="T24" fmla="*/ 1025 w 1227"/>
              <a:gd name="T25" fmla="*/ 925 h 1776"/>
              <a:gd name="T26" fmla="*/ 1001 w 1227"/>
              <a:gd name="T27" fmla="*/ 950 h 1776"/>
              <a:gd name="T28" fmla="*/ 901 w 1227"/>
              <a:gd name="T29" fmla="*/ 950 h 1776"/>
              <a:gd name="T30" fmla="*/ 851 w 1227"/>
              <a:gd name="T31" fmla="*/ 900 h 1776"/>
              <a:gd name="T32" fmla="*/ 801 w 1227"/>
              <a:gd name="T33" fmla="*/ 875 h 1776"/>
              <a:gd name="T34" fmla="*/ 751 w 1227"/>
              <a:gd name="T35" fmla="*/ 775 h 1776"/>
              <a:gd name="T36" fmla="*/ 725 w 1227"/>
              <a:gd name="T37" fmla="*/ 700 h 1776"/>
              <a:gd name="T38" fmla="*/ 751 w 1227"/>
              <a:gd name="T39" fmla="*/ 650 h 1776"/>
              <a:gd name="T40" fmla="*/ 801 w 1227"/>
              <a:gd name="T41" fmla="*/ 600 h 1776"/>
              <a:gd name="T42" fmla="*/ 825 w 1227"/>
              <a:gd name="T43" fmla="*/ 500 h 1776"/>
              <a:gd name="T44" fmla="*/ 901 w 1227"/>
              <a:gd name="T45" fmla="*/ 450 h 1776"/>
              <a:gd name="T46" fmla="*/ 1025 w 1227"/>
              <a:gd name="T47" fmla="*/ 400 h 1776"/>
              <a:gd name="T48" fmla="*/ 1101 w 1227"/>
              <a:gd name="T49" fmla="*/ 400 h 1776"/>
              <a:gd name="T50" fmla="*/ 1025 w 1227"/>
              <a:gd name="T51" fmla="*/ 350 h 1776"/>
              <a:gd name="T52" fmla="*/ 1076 w 1227"/>
              <a:gd name="T53" fmla="*/ 274 h 1776"/>
              <a:gd name="T54" fmla="*/ 1025 w 1227"/>
              <a:gd name="T55" fmla="*/ 225 h 1776"/>
              <a:gd name="T56" fmla="*/ 951 w 1227"/>
              <a:gd name="T57" fmla="*/ 225 h 1776"/>
              <a:gd name="T58" fmla="*/ 901 w 1227"/>
              <a:gd name="T59" fmla="*/ 225 h 1776"/>
              <a:gd name="T60" fmla="*/ 801 w 1227"/>
              <a:gd name="T61" fmla="*/ 225 h 1776"/>
              <a:gd name="T62" fmla="*/ 751 w 1227"/>
              <a:gd name="T63" fmla="*/ 150 h 1776"/>
              <a:gd name="T64" fmla="*/ 701 w 1227"/>
              <a:gd name="T65" fmla="*/ 100 h 1776"/>
              <a:gd name="T66" fmla="*/ 651 w 1227"/>
              <a:gd name="T67" fmla="*/ 25 h 1776"/>
              <a:gd name="T68" fmla="*/ 551 w 1227"/>
              <a:gd name="T69" fmla="*/ 25 h 1776"/>
              <a:gd name="T70" fmla="*/ 576 w 1227"/>
              <a:gd name="T71" fmla="*/ 100 h 1776"/>
              <a:gd name="T72" fmla="*/ 525 w 1227"/>
              <a:gd name="T73" fmla="*/ 174 h 1776"/>
              <a:gd name="T74" fmla="*/ 351 w 1227"/>
              <a:gd name="T75" fmla="*/ 274 h 1776"/>
              <a:gd name="T76" fmla="*/ 251 w 1227"/>
              <a:gd name="T77" fmla="*/ 425 h 1776"/>
              <a:gd name="T78" fmla="*/ 200 w 1227"/>
              <a:gd name="T79" fmla="*/ 450 h 1776"/>
              <a:gd name="T80" fmla="*/ 125 w 1227"/>
              <a:gd name="T81" fmla="*/ 425 h 1776"/>
              <a:gd name="T82" fmla="*/ 125 w 1227"/>
              <a:gd name="T83" fmla="*/ 374 h 1776"/>
              <a:gd name="T84" fmla="*/ 100 w 1227"/>
              <a:gd name="T85" fmla="*/ 325 h 1776"/>
              <a:gd name="T86" fmla="*/ 25 w 1227"/>
              <a:gd name="T87" fmla="*/ 400 h 1776"/>
              <a:gd name="T88" fmla="*/ 51 w 1227"/>
              <a:gd name="T89" fmla="*/ 525 h 1776"/>
              <a:gd name="T90" fmla="*/ 25 w 1227"/>
              <a:gd name="T91" fmla="*/ 550 h 1776"/>
              <a:gd name="T92" fmla="*/ 125 w 1227"/>
              <a:gd name="T93" fmla="*/ 650 h 1776"/>
              <a:gd name="T94" fmla="*/ 225 w 1227"/>
              <a:gd name="T95" fmla="*/ 775 h 1776"/>
              <a:gd name="T96" fmla="*/ 300 w 1227"/>
              <a:gd name="T97" fmla="*/ 925 h 1776"/>
              <a:gd name="T98" fmla="*/ 451 w 1227"/>
              <a:gd name="T99" fmla="*/ 1200 h 1776"/>
              <a:gd name="T100" fmla="*/ 501 w 1227"/>
              <a:gd name="T101" fmla="*/ 1325 h 1776"/>
              <a:gd name="T102" fmla="*/ 525 w 1227"/>
              <a:gd name="T103" fmla="*/ 1400 h 1776"/>
              <a:gd name="T104" fmla="*/ 676 w 1227"/>
              <a:gd name="T105" fmla="*/ 1500 h 1776"/>
              <a:gd name="T106" fmla="*/ 951 w 1227"/>
              <a:gd name="T107" fmla="*/ 1675 h 1776"/>
              <a:gd name="T108" fmla="*/ 1076 w 1227"/>
              <a:gd name="T109" fmla="*/ 1750 h 1776"/>
              <a:gd name="T110" fmla="*/ 1076 w 1227"/>
              <a:gd name="T111" fmla="*/ 1775 h 1776"/>
              <a:gd name="T112" fmla="*/ 1101 w 1227"/>
              <a:gd name="T113" fmla="*/ 1750 h 1776"/>
              <a:gd name="T114" fmla="*/ 1125 w 1227"/>
              <a:gd name="T115" fmla="*/ 1675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7" h="1776">
                <a:moveTo>
                  <a:pt x="1125" y="1675"/>
                </a:moveTo>
                <a:lnTo>
                  <a:pt x="1125" y="1675"/>
                </a:lnTo>
                <a:lnTo>
                  <a:pt x="1125" y="1675"/>
                </a:lnTo>
                <a:cubicBezTo>
                  <a:pt x="1125" y="1650"/>
                  <a:pt x="1125" y="1650"/>
                  <a:pt x="1151" y="1650"/>
                </a:cubicBezTo>
                <a:cubicBezTo>
                  <a:pt x="1151" y="1625"/>
                  <a:pt x="1201" y="1575"/>
                  <a:pt x="1201" y="1575"/>
                </a:cubicBezTo>
                <a:cubicBezTo>
                  <a:pt x="1201" y="1550"/>
                  <a:pt x="1151" y="1550"/>
                  <a:pt x="1151" y="1525"/>
                </a:cubicBezTo>
                <a:cubicBezTo>
                  <a:pt x="1151" y="1500"/>
                  <a:pt x="1201" y="1450"/>
                  <a:pt x="1176" y="1450"/>
                </a:cubicBezTo>
                <a:cubicBezTo>
                  <a:pt x="1151" y="1425"/>
                  <a:pt x="1201" y="1375"/>
                  <a:pt x="1201" y="1375"/>
                </a:cubicBezTo>
                <a:cubicBezTo>
                  <a:pt x="1201" y="1350"/>
                  <a:pt x="1176" y="1250"/>
                  <a:pt x="1201" y="1225"/>
                </a:cubicBezTo>
                <a:cubicBezTo>
                  <a:pt x="1201" y="1225"/>
                  <a:pt x="1226" y="1200"/>
                  <a:pt x="1226" y="1175"/>
                </a:cubicBezTo>
                <a:cubicBezTo>
                  <a:pt x="1201" y="1150"/>
                  <a:pt x="1176" y="1100"/>
                  <a:pt x="1151" y="1050"/>
                </a:cubicBezTo>
                <a:cubicBezTo>
                  <a:pt x="1125" y="1050"/>
                  <a:pt x="1076" y="1050"/>
                  <a:pt x="1051" y="1050"/>
                </a:cubicBezTo>
                <a:cubicBezTo>
                  <a:pt x="1025" y="1075"/>
                  <a:pt x="1025" y="975"/>
                  <a:pt x="1025" y="925"/>
                </a:cubicBezTo>
                <a:cubicBezTo>
                  <a:pt x="1025" y="900"/>
                  <a:pt x="1001" y="925"/>
                  <a:pt x="1001" y="950"/>
                </a:cubicBezTo>
                <a:cubicBezTo>
                  <a:pt x="976" y="975"/>
                  <a:pt x="951" y="950"/>
                  <a:pt x="901" y="950"/>
                </a:cubicBezTo>
                <a:cubicBezTo>
                  <a:pt x="851" y="950"/>
                  <a:pt x="876" y="900"/>
                  <a:pt x="851" y="900"/>
                </a:cubicBezTo>
                <a:cubicBezTo>
                  <a:pt x="825" y="900"/>
                  <a:pt x="801" y="900"/>
                  <a:pt x="801" y="875"/>
                </a:cubicBezTo>
                <a:cubicBezTo>
                  <a:pt x="801" y="825"/>
                  <a:pt x="776" y="825"/>
                  <a:pt x="751" y="775"/>
                </a:cubicBezTo>
                <a:cubicBezTo>
                  <a:pt x="751" y="750"/>
                  <a:pt x="725" y="725"/>
                  <a:pt x="725" y="700"/>
                </a:cubicBezTo>
                <a:cubicBezTo>
                  <a:pt x="751" y="675"/>
                  <a:pt x="725" y="675"/>
                  <a:pt x="751" y="650"/>
                </a:cubicBezTo>
                <a:cubicBezTo>
                  <a:pt x="776" y="625"/>
                  <a:pt x="801" y="625"/>
                  <a:pt x="801" y="600"/>
                </a:cubicBezTo>
                <a:cubicBezTo>
                  <a:pt x="776" y="550"/>
                  <a:pt x="825" y="550"/>
                  <a:pt x="825" y="500"/>
                </a:cubicBezTo>
                <a:cubicBezTo>
                  <a:pt x="825" y="474"/>
                  <a:pt x="876" y="474"/>
                  <a:pt x="901" y="450"/>
                </a:cubicBezTo>
                <a:cubicBezTo>
                  <a:pt x="951" y="425"/>
                  <a:pt x="976" y="425"/>
                  <a:pt x="1025" y="400"/>
                </a:cubicBezTo>
                <a:cubicBezTo>
                  <a:pt x="1051" y="374"/>
                  <a:pt x="1076" y="400"/>
                  <a:pt x="1101" y="400"/>
                </a:cubicBezTo>
                <a:cubicBezTo>
                  <a:pt x="1076" y="374"/>
                  <a:pt x="1051" y="374"/>
                  <a:pt x="1025" y="350"/>
                </a:cubicBezTo>
                <a:cubicBezTo>
                  <a:pt x="1025" y="325"/>
                  <a:pt x="1076" y="299"/>
                  <a:pt x="1076" y="274"/>
                </a:cubicBezTo>
                <a:cubicBezTo>
                  <a:pt x="1101" y="250"/>
                  <a:pt x="1025" y="225"/>
                  <a:pt x="1025" y="225"/>
                </a:cubicBezTo>
                <a:cubicBezTo>
                  <a:pt x="1001" y="225"/>
                  <a:pt x="976" y="225"/>
                  <a:pt x="951" y="225"/>
                </a:cubicBezTo>
                <a:cubicBezTo>
                  <a:pt x="951" y="225"/>
                  <a:pt x="925" y="225"/>
                  <a:pt x="901" y="225"/>
                </a:cubicBezTo>
                <a:cubicBezTo>
                  <a:pt x="876" y="250"/>
                  <a:pt x="801" y="250"/>
                  <a:pt x="801" y="225"/>
                </a:cubicBezTo>
                <a:cubicBezTo>
                  <a:pt x="801" y="200"/>
                  <a:pt x="751" y="174"/>
                  <a:pt x="751" y="150"/>
                </a:cubicBezTo>
                <a:cubicBezTo>
                  <a:pt x="751" y="150"/>
                  <a:pt x="725" y="100"/>
                  <a:pt x="701" y="100"/>
                </a:cubicBezTo>
                <a:cubicBezTo>
                  <a:pt x="651" y="100"/>
                  <a:pt x="676" y="25"/>
                  <a:pt x="651" y="25"/>
                </a:cubicBezTo>
                <a:cubicBezTo>
                  <a:pt x="625" y="0"/>
                  <a:pt x="601" y="25"/>
                  <a:pt x="551" y="25"/>
                </a:cubicBezTo>
                <a:cubicBezTo>
                  <a:pt x="601" y="50"/>
                  <a:pt x="601" y="74"/>
                  <a:pt x="576" y="100"/>
                </a:cubicBezTo>
                <a:cubicBezTo>
                  <a:pt x="551" y="100"/>
                  <a:pt x="576" y="125"/>
                  <a:pt x="525" y="174"/>
                </a:cubicBezTo>
                <a:cubicBezTo>
                  <a:pt x="476" y="250"/>
                  <a:pt x="401" y="274"/>
                  <a:pt x="351" y="274"/>
                </a:cubicBezTo>
                <a:cubicBezTo>
                  <a:pt x="300" y="299"/>
                  <a:pt x="276" y="374"/>
                  <a:pt x="251" y="425"/>
                </a:cubicBezTo>
                <a:cubicBezTo>
                  <a:pt x="225" y="500"/>
                  <a:pt x="225" y="474"/>
                  <a:pt x="200" y="450"/>
                </a:cubicBezTo>
                <a:cubicBezTo>
                  <a:pt x="176" y="400"/>
                  <a:pt x="151" y="450"/>
                  <a:pt x="125" y="425"/>
                </a:cubicBezTo>
                <a:cubicBezTo>
                  <a:pt x="100" y="400"/>
                  <a:pt x="100" y="400"/>
                  <a:pt x="125" y="374"/>
                </a:cubicBezTo>
                <a:cubicBezTo>
                  <a:pt x="125" y="350"/>
                  <a:pt x="125" y="350"/>
                  <a:pt x="100" y="325"/>
                </a:cubicBezTo>
                <a:cubicBezTo>
                  <a:pt x="76" y="325"/>
                  <a:pt x="51" y="374"/>
                  <a:pt x="25" y="400"/>
                </a:cubicBezTo>
                <a:cubicBezTo>
                  <a:pt x="0" y="450"/>
                  <a:pt x="51" y="500"/>
                  <a:pt x="51" y="525"/>
                </a:cubicBezTo>
                <a:cubicBezTo>
                  <a:pt x="76" y="550"/>
                  <a:pt x="25" y="550"/>
                  <a:pt x="25" y="550"/>
                </a:cubicBezTo>
                <a:cubicBezTo>
                  <a:pt x="25" y="575"/>
                  <a:pt x="100" y="625"/>
                  <a:pt x="125" y="650"/>
                </a:cubicBezTo>
                <a:cubicBezTo>
                  <a:pt x="176" y="675"/>
                  <a:pt x="200" y="750"/>
                  <a:pt x="225" y="775"/>
                </a:cubicBezTo>
                <a:cubicBezTo>
                  <a:pt x="251" y="800"/>
                  <a:pt x="251" y="825"/>
                  <a:pt x="300" y="925"/>
                </a:cubicBezTo>
                <a:cubicBezTo>
                  <a:pt x="325" y="1000"/>
                  <a:pt x="401" y="1125"/>
                  <a:pt x="451" y="1200"/>
                </a:cubicBezTo>
                <a:cubicBezTo>
                  <a:pt x="476" y="1250"/>
                  <a:pt x="501" y="1300"/>
                  <a:pt x="501" y="1325"/>
                </a:cubicBezTo>
                <a:cubicBezTo>
                  <a:pt x="476" y="1325"/>
                  <a:pt x="501" y="1375"/>
                  <a:pt x="525" y="1400"/>
                </a:cubicBezTo>
                <a:cubicBezTo>
                  <a:pt x="576" y="1425"/>
                  <a:pt x="601" y="1450"/>
                  <a:pt x="676" y="1500"/>
                </a:cubicBezTo>
                <a:cubicBezTo>
                  <a:pt x="776" y="1550"/>
                  <a:pt x="925" y="1625"/>
                  <a:pt x="951" y="1675"/>
                </a:cubicBezTo>
                <a:cubicBezTo>
                  <a:pt x="976" y="1699"/>
                  <a:pt x="1051" y="1750"/>
                  <a:pt x="1076" y="1750"/>
                </a:cubicBezTo>
                <a:lnTo>
                  <a:pt x="1076" y="1775"/>
                </a:lnTo>
                <a:cubicBezTo>
                  <a:pt x="1076" y="1775"/>
                  <a:pt x="1076" y="1750"/>
                  <a:pt x="1101" y="1750"/>
                </a:cubicBezTo>
                <a:cubicBezTo>
                  <a:pt x="1125" y="1750"/>
                  <a:pt x="1125" y="1699"/>
                  <a:pt x="1125" y="16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4" name="Freeform 227">
            <a:extLst>
              <a:ext uri="{FF2B5EF4-FFF2-40B4-BE49-F238E27FC236}">
                <a16:creationId xmlns:a16="http://schemas.microsoft.com/office/drawing/2014/main" id="{877B6B3F-F46B-19C3-2FAB-C0EBBE0250A3}"/>
              </a:ext>
            </a:extLst>
          </p:cNvPr>
          <p:cNvSpPr>
            <a:spLocks noChangeArrowheads="1"/>
          </p:cNvSpPr>
          <p:nvPr/>
        </p:nvSpPr>
        <p:spPr bwMode="auto">
          <a:xfrm>
            <a:off x="6303341" y="4412625"/>
            <a:ext cx="127968" cy="136405"/>
          </a:xfrm>
          <a:custGeom>
            <a:avLst/>
            <a:gdLst>
              <a:gd name="T0" fmla="*/ 100 w 401"/>
              <a:gd name="T1" fmla="*/ 100 h 426"/>
              <a:gd name="T2" fmla="*/ 100 w 401"/>
              <a:gd name="T3" fmla="*/ 100 h 426"/>
              <a:gd name="T4" fmla="*/ 50 w 401"/>
              <a:gd name="T5" fmla="*/ 150 h 426"/>
              <a:gd name="T6" fmla="*/ 25 w 401"/>
              <a:gd name="T7" fmla="*/ 225 h 426"/>
              <a:gd name="T8" fmla="*/ 100 w 401"/>
              <a:gd name="T9" fmla="*/ 325 h 426"/>
              <a:gd name="T10" fmla="*/ 150 w 401"/>
              <a:gd name="T11" fmla="*/ 425 h 426"/>
              <a:gd name="T12" fmla="*/ 200 w 401"/>
              <a:gd name="T13" fmla="*/ 425 h 426"/>
              <a:gd name="T14" fmla="*/ 225 w 401"/>
              <a:gd name="T15" fmla="*/ 374 h 426"/>
              <a:gd name="T16" fmla="*/ 350 w 401"/>
              <a:gd name="T17" fmla="*/ 374 h 426"/>
              <a:gd name="T18" fmla="*/ 350 w 401"/>
              <a:gd name="T19" fmla="*/ 374 h 426"/>
              <a:gd name="T20" fmla="*/ 375 w 401"/>
              <a:gd name="T21" fmla="*/ 325 h 426"/>
              <a:gd name="T22" fmla="*/ 375 w 401"/>
              <a:gd name="T23" fmla="*/ 200 h 426"/>
              <a:gd name="T24" fmla="*/ 375 w 401"/>
              <a:gd name="T25" fmla="*/ 100 h 426"/>
              <a:gd name="T26" fmla="*/ 400 w 401"/>
              <a:gd name="T27" fmla="*/ 50 h 426"/>
              <a:gd name="T28" fmla="*/ 300 w 401"/>
              <a:gd name="T29" fmla="*/ 25 h 426"/>
              <a:gd name="T30" fmla="*/ 175 w 401"/>
              <a:gd name="T31" fmla="*/ 25 h 426"/>
              <a:gd name="T32" fmla="*/ 125 w 401"/>
              <a:gd name="T33" fmla="*/ 25 h 426"/>
              <a:gd name="T34" fmla="*/ 100 w 401"/>
              <a:gd name="T35" fmla="*/ 25 h 426"/>
              <a:gd name="T36" fmla="*/ 100 w 401"/>
              <a:gd name="T37" fmla="*/ 10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26">
                <a:moveTo>
                  <a:pt x="100" y="100"/>
                </a:moveTo>
                <a:lnTo>
                  <a:pt x="100" y="100"/>
                </a:lnTo>
                <a:cubicBezTo>
                  <a:pt x="100" y="125"/>
                  <a:pt x="75" y="125"/>
                  <a:pt x="50" y="150"/>
                </a:cubicBezTo>
                <a:cubicBezTo>
                  <a:pt x="25" y="150"/>
                  <a:pt x="25" y="200"/>
                  <a:pt x="25" y="225"/>
                </a:cubicBezTo>
                <a:cubicBezTo>
                  <a:pt x="0" y="225"/>
                  <a:pt x="75" y="274"/>
                  <a:pt x="100" y="325"/>
                </a:cubicBezTo>
                <a:cubicBezTo>
                  <a:pt x="100" y="350"/>
                  <a:pt x="125" y="374"/>
                  <a:pt x="150" y="425"/>
                </a:cubicBezTo>
                <a:cubicBezTo>
                  <a:pt x="175" y="425"/>
                  <a:pt x="175" y="425"/>
                  <a:pt x="200" y="425"/>
                </a:cubicBezTo>
                <a:cubicBezTo>
                  <a:pt x="225" y="400"/>
                  <a:pt x="200" y="374"/>
                  <a:pt x="225" y="374"/>
                </a:cubicBezTo>
                <a:cubicBezTo>
                  <a:pt x="275" y="374"/>
                  <a:pt x="325" y="350"/>
                  <a:pt x="350" y="374"/>
                </a:cubicBezTo>
                <a:lnTo>
                  <a:pt x="350" y="374"/>
                </a:lnTo>
                <a:cubicBezTo>
                  <a:pt x="350" y="374"/>
                  <a:pt x="375" y="350"/>
                  <a:pt x="375" y="325"/>
                </a:cubicBezTo>
                <a:cubicBezTo>
                  <a:pt x="375" y="325"/>
                  <a:pt x="375" y="250"/>
                  <a:pt x="375" y="200"/>
                </a:cubicBezTo>
                <a:cubicBezTo>
                  <a:pt x="350" y="174"/>
                  <a:pt x="375" y="125"/>
                  <a:pt x="375" y="100"/>
                </a:cubicBezTo>
                <a:cubicBezTo>
                  <a:pt x="375" y="100"/>
                  <a:pt x="400" y="74"/>
                  <a:pt x="400" y="50"/>
                </a:cubicBezTo>
                <a:cubicBezTo>
                  <a:pt x="375" y="50"/>
                  <a:pt x="325" y="25"/>
                  <a:pt x="300" y="25"/>
                </a:cubicBezTo>
                <a:cubicBezTo>
                  <a:pt x="250" y="50"/>
                  <a:pt x="200" y="50"/>
                  <a:pt x="175" y="25"/>
                </a:cubicBezTo>
                <a:cubicBezTo>
                  <a:pt x="175" y="0"/>
                  <a:pt x="150" y="0"/>
                  <a:pt x="125" y="25"/>
                </a:cubicBezTo>
                <a:lnTo>
                  <a:pt x="100" y="25"/>
                </a:lnTo>
                <a:cubicBezTo>
                  <a:pt x="100" y="50"/>
                  <a:pt x="100" y="74"/>
                  <a:pt x="100" y="1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5" name="Freeform 228">
            <a:extLst>
              <a:ext uri="{FF2B5EF4-FFF2-40B4-BE49-F238E27FC236}">
                <a16:creationId xmlns:a16="http://schemas.microsoft.com/office/drawing/2014/main" id="{E6BA42FD-B15B-6D70-A222-4994BD7637A9}"/>
              </a:ext>
            </a:extLst>
          </p:cNvPr>
          <p:cNvSpPr>
            <a:spLocks noChangeArrowheads="1"/>
          </p:cNvSpPr>
          <p:nvPr/>
        </p:nvSpPr>
        <p:spPr bwMode="auto">
          <a:xfrm>
            <a:off x="6414433" y="4429502"/>
            <a:ext cx="95624" cy="119531"/>
          </a:xfrm>
          <a:custGeom>
            <a:avLst/>
            <a:gdLst>
              <a:gd name="T0" fmla="*/ 25 w 301"/>
              <a:gd name="T1" fmla="*/ 150 h 376"/>
              <a:gd name="T2" fmla="*/ 25 w 301"/>
              <a:gd name="T3" fmla="*/ 150 h 376"/>
              <a:gd name="T4" fmla="*/ 25 w 301"/>
              <a:gd name="T5" fmla="*/ 275 h 376"/>
              <a:gd name="T6" fmla="*/ 0 w 301"/>
              <a:gd name="T7" fmla="*/ 324 h 376"/>
              <a:gd name="T8" fmla="*/ 75 w 301"/>
              <a:gd name="T9" fmla="*/ 350 h 376"/>
              <a:gd name="T10" fmla="*/ 175 w 301"/>
              <a:gd name="T11" fmla="*/ 300 h 376"/>
              <a:gd name="T12" fmla="*/ 300 w 301"/>
              <a:gd name="T13" fmla="*/ 150 h 376"/>
              <a:gd name="T14" fmla="*/ 300 w 301"/>
              <a:gd name="T15" fmla="*/ 150 h 376"/>
              <a:gd name="T16" fmla="*/ 125 w 301"/>
              <a:gd name="T17" fmla="*/ 24 h 376"/>
              <a:gd name="T18" fmla="*/ 50 w 301"/>
              <a:gd name="T19" fmla="*/ 0 h 376"/>
              <a:gd name="T20" fmla="*/ 25 w 301"/>
              <a:gd name="T21" fmla="*/ 50 h 376"/>
              <a:gd name="T22" fmla="*/ 25 w 301"/>
              <a:gd name="T23" fmla="*/ 1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376">
                <a:moveTo>
                  <a:pt x="25" y="150"/>
                </a:moveTo>
                <a:lnTo>
                  <a:pt x="25" y="150"/>
                </a:lnTo>
                <a:cubicBezTo>
                  <a:pt x="25" y="200"/>
                  <a:pt x="25" y="275"/>
                  <a:pt x="25" y="275"/>
                </a:cubicBezTo>
                <a:cubicBezTo>
                  <a:pt x="25" y="300"/>
                  <a:pt x="0" y="324"/>
                  <a:pt x="0" y="324"/>
                </a:cubicBezTo>
                <a:cubicBezTo>
                  <a:pt x="25" y="350"/>
                  <a:pt x="50" y="350"/>
                  <a:pt x="75" y="350"/>
                </a:cubicBezTo>
                <a:cubicBezTo>
                  <a:pt x="125" y="324"/>
                  <a:pt x="150" y="375"/>
                  <a:pt x="175" y="300"/>
                </a:cubicBezTo>
                <a:cubicBezTo>
                  <a:pt x="200" y="250"/>
                  <a:pt x="250" y="200"/>
                  <a:pt x="300" y="150"/>
                </a:cubicBezTo>
                <a:lnTo>
                  <a:pt x="300" y="150"/>
                </a:lnTo>
                <a:cubicBezTo>
                  <a:pt x="250" y="150"/>
                  <a:pt x="200" y="50"/>
                  <a:pt x="125" y="24"/>
                </a:cubicBezTo>
                <a:cubicBezTo>
                  <a:pt x="100" y="24"/>
                  <a:pt x="75" y="24"/>
                  <a:pt x="50" y="0"/>
                </a:cubicBezTo>
                <a:cubicBezTo>
                  <a:pt x="50" y="24"/>
                  <a:pt x="25" y="50"/>
                  <a:pt x="25" y="50"/>
                </a:cubicBezTo>
                <a:cubicBezTo>
                  <a:pt x="25" y="75"/>
                  <a:pt x="0" y="124"/>
                  <a:pt x="25" y="15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6" name="Freeform 229">
            <a:extLst>
              <a:ext uri="{FF2B5EF4-FFF2-40B4-BE49-F238E27FC236}">
                <a16:creationId xmlns:a16="http://schemas.microsoft.com/office/drawing/2014/main" id="{0EEFEF71-3FAA-5AA6-12A2-086BE6648F50}"/>
              </a:ext>
            </a:extLst>
          </p:cNvPr>
          <p:cNvSpPr>
            <a:spLocks noChangeArrowheads="1"/>
          </p:cNvSpPr>
          <p:nvPr/>
        </p:nvSpPr>
        <p:spPr bwMode="auto">
          <a:xfrm>
            <a:off x="5497566" y="3878254"/>
            <a:ext cx="319217" cy="119531"/>
          </a:xfrm>
          <a:custGeom>
            <a:avLst/>
            <a:gdLst>
              <a:gd name="T0" fmla="*/ 801 w 1002"/>
              <a:gd name="T1" fmla="*/ 225 h 377"/>
              <a:gd name="T2" fmla="*/ 801 w 1002"/>
              <a:gd name="T3" fmla="*/ 225 h 377"/>
              <a:gd name="T4" fmla="*/ 351 w 1002"/>
              <a:gd name="T5" fmla="*/ 50 h 377"/>
              <a:gd name="T6" fmla="*/ 25 w 1002"/>
              <a:gd name="T7" fmla="*/ 176 h 377"/>
              <a:gd name="T8" fmla="*/ 176 w 1002"/>
              <a:gd name="T9" fmla="*/ 100 h 377"/>
              <a:gd name="T10" fmla="*/ 276 w 1002"/>
              <a:gd name="T11" fmla="*/ 125 h 377"/>
              <a:gd name="T12" fmla="*/ 425 w 1002"/>
              <a:gd name="T13" fmla="*/ 176 h 377"/>
              <a:gd name="T14" fmla="*/ 625 w 1002"/>
              <a:gd name="T15" fmla="*/ 276 h 377"/>
              <a:gd name="T16" fmla="*/ 676 w 1002"/>
              <a:gd name="T17" fmla="*/ 350 h 377"/>
              <a:gd name="T18" fmla="*/ 976 w 1002"/>
              <a:gd name="T19" fmla="*/ 350 h 377"/>
              <a:gd name="T20" fmla="*/ 801 w 1002"/>
              <a:gd name="T21" fmla="*/ 22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2" h="377">
                <a:moveTo>
                  <a:pt x="801" y="225"/>
                </a:moveTo>
                <a:lnTo>
                  <a:pt x="801" y="225"/>
                </a:lnTo>
                <a:cubicBezTo>
                  <a:pt x="751" y="225"/>
                  <a:pt x="551" y="100"/>
                  <a:pt x="351" y="50"/>
                </a:cubicBezTo>
                <a:cubicBezTo>
                  <a:pt x="176" y="0"/>
                  <a:pt x="0" y="150"/>
                  <a:pt x="25" y="176"/>
                </a:cubicBezTo>
                <a:cubicBezTo>
                  <a:pt x="51" y="200"/>
                  <a:pt x="151" y="125"/>
                  <a:pt x="176" y="100"/>
                </a:cubicBezTo>
                <a:cubicBezTo>
                  <a:pt x="225" y="50"/>
                  <a:pt x="276" y="100"/>
                  <a:pt x="276" y="125"/>
                </a:cubicBezTo>
                <a:cubicBezTo>
                  <a:pt x="276" y="150"/>
                  <a:pt x="351" y="176"/>
                  <a:pt x="425" y="176"/>
                </a:cubicBezTo>
                <a:cubicBezTo>
                  <a:pt x="525" y="176"/>
                  <a:pt x="551" y="250"/>
                  <a:pt x="625" y="276"/>
                </a:cubicBezTo>
                <a:cubicBezTo>
                  <a:pt x="725" y="300"/>
                  <a:pt x="625" y="325"/>
                  <a:pt x="676" y="350"/>
                </a:cubicBezTo>
                <a:cubicBezTo>
                  <a:pt x="725" y="376"/>
                  <a:pt x="976" y="350"/>
                  <a:pt x="976" y="350"/>
                </a:cubicBezTo>
                <a:cubicBezTo>
                  <a:pt x="1001" y="325"/>
                  <a:pt x="876" y="225"/>
                  <a:pt x="801" y="22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7" name="Freeform 230">
            <a:extLst>
              <a:ext uri="{FF2B5EF4-FFF2-40B4-BE49-F238E27FC236}">
                <a16:creationId xmlns:a16="http://schemas.microsoft.com/office/drawing/2014/main" id="{B3D67DD9-9875-0B95-F5C8-B7EE52B2C4ED}"/>
              </a:ext>
            </a:extLst>
          </p:cNvPr>
          <p:cNvSpPr>
            <a:spLocks noChangeArrowheads="1"/>
          </p:cNvSpPr>
          <p:nvPr/>
        </p:nvSpPr>
        <p:spPr bwMode="auto">
          <a:xfrm>
            <a:off x="5680378" y="4030129"/>
            <a:ext cx="71719" cy="40781"/>
          </a:xfrm>
          <a:custGeom>
            <a:avLst/>
            <a:gdLst>
              <a:gd name="T0" fmla="*/ 24 w 226"/>
              <a:gd name="T1" fmla="*/ 49 h 126"/>
              <a:gd name="T2" fmla="*/ 24 w 226"/>
              <a:gd name="T3" fmla="*/ 49 h 126"/>
              <a:gd name="T4" fmla="*/ 225 w 226"/>
              <a:gd name="T5" fmla="*/ 74 h 126"/>
              <a:gd name="T6" fmla="*/ 24 w 226"/>
              <a:gd name="T7" fmla="*/ 49 h 126"/>
            </a:gdLst>
            <a:ahLst/>
            <a:cxnLst>
              <a:cxn ang="0">
                <a:pos x="T0" y="T1"/>
              </a:cxn>
              <a:cxn ang="0">
                <a:pos x="T2" y="T3"/>
              </a:cxn>
              <a:cxn ang="0">
                <a:pos x="T4" y="T5"/>
              </a:cxn>
              <a:cxn ang="0">
                <a:pos x="T6" y="T7"/>
              </a:cxn>
            </a:cxnLst>
            <a:rect l="0" t="0" r="r" b="b"/>
            <a:pathLst>
              <a:path w="226" h="126">
                <a:moveTo>
                  <a:pt x="24" y="49"/>
                </a:moveTo>
                <a:lnTo>
                  <a:pt x="24" y="49"/>
                </a:lnTo>
                <a:cubicBezTo>
                  <a:pt x="49" y="74"/>
                  <a:pt x="200" y="125"/>
                  <a:pt x="225" y="74"/>
                </a:cubicBezTo>
                <a:cubicBezTo>
                  <a:pt x="225" y="49"/>
                  <a:pt x="0" y="0"/>
                  <a:pt x="24"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8" name="Freeform 231">
            <a:extLst>
              <a:ext uri="{FF2B5EF4-FFF2-40B4-BE49-F238E27FC236}">
                <a16:creationId xmlns:a16="http://schemas.microsoft.com/office/drawing/2014/main" id="{39F755F4-1A7D-763A-613C-3B9F30D55A28}"/>
              </a:ext>
            </a:extLst>
          </p:cNvPr>
          <p:cNvSpPr>
            <a:spLocks noChangeArrowheads="1"/>
          </p:cNvSpPr>
          <p:nvPr/>
        </p:nvSpPr>
        <p:spPr bwMode="auto">
          <a:xfrm>
            <a:off x="6015063" y="4030129"/>
            <a:ext cx="71719" cy="40781"/>
          </a:xfrm>
          <a:custGeom>
            <a:avLst/>
            <a:gdLst>
              <a:gd name="T0" fmla="*/ 50 w 226"/>
              <a:gd name="T1" fmla="*/ 49 h 126"/>
              <a:gd name="T2" fmla="*/ 50 w 226"/>
              <a:gd name="T3" fmla="*/ 49 h 126"/>
              <a:gd name="T4" fmla="*/ 200 w 226"/>
              <a:gd name="T5" fmla="*/ 49 h 126"/>
              <a:gd name="T6" fmla="*/ 50 w 226"/>
              <a:gd name="T7" fmla="*/ 49 h 126"/>
            </a:gdLst>
            <a:ahLst/>
            <a:cxnLst>
              <a:cxn ang="0">
                <a:pos x="T0" y="T1"/>
              </a:cxn>
              <a:cxn ang="0">
                <a:pos x="T2" y="T3"/>
              </a:cxn>
              <a:cxn ang="0">
                <a:pos x="T4" y="T5"/>
              </a:cxn>
              <a:cxn ang="0">
                <a:pos x="T6" y="T7"/>
              </a:cxn>
            </a:cxnLst>
            <a:rect l="0" t="0" r="r" b="b"/>
            <a:pathLst>
              <a:path w="226" h="126">
                <a:moveTo>
                  <a:pt x="50" y="49"/>
                </a:moveTo>
                <a:lnTo>
                  <a:pt x="50" y="49"/>
                </a:lnTo>
                <a:cubicBezTo>
                  <a:pt x="75" y="125"/>
                  <a:pt x="200" y="74"/>
                  <a:pt x="200" y="49"/>
                </a:cubicBezTo>
                <a:cubicBezTo>
                  <a:pt x="225" y="25"/>
                  <a:pt x="0" y="0"/>
                  <a:pt x="50"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099" name="Freeform 233">
            <a:extLst>
              <a:ext uri="{FF2B5EF4-FFF2-40B4-BE49-F238E27FC236}">
                <a16:creationId xmlns:a16="http://schemas.microsoft.com/office/drawing/2014/main" id="{D5E1FCE5-4096-1F26-21ED-D43FA49CE41D}"/>
              </a:ext>
            </a:extLst>
          </p:cNvPr>
          <p:cNvSpPr>
            <a:spLocks noChangeArrowheads="1"/>
          </p:cNvSpPr>
          <p:nvPr/>
        </p:nvSpPr>
        <p:spPr bwMode="auto">
          <a:xfrm>
            <a:off x="5282410" y="4556064"/>
            <a:ext cx="503435" cy="208124"/>
          </a:xfrm>
          <a:custGeom>
            <a:avLst/>
            <a:gdLst>
              <a:gd name="T0" fmla="*/ 1526 w 1577"/>
              <a:gd name="T1" fmla="*/ 175 h 651"/>
              <a:gd name="T2" fmla="*/ 1526 w 1577"/>
              <a:gd name="T3" fmla="*/ 175 h 651"/>
              <a:gd name="T4" fmla="*/ 1476 w 1577"/>
              <a:gd name="T5" fmla="*/ 124 h 651"/>
              <a:gd name="T6" fmla="*/ 1400 w 1577"/>
              <a:gd name="T7" fmla="*/ 124 h 651"/>
              <a:gd name="T8" fmla="*/ 1326 w 1577"/>
              <a:gd name="T9" fmla="*/ 75 h 651"/>
              <a:gd name="T10" fmla="*/ 1226 w 1577"/>
              <a:gd name="T11" fmla="*/ 0 h 651"/>
              <a:gd name="T12" fmla="*/ 1226 w 1577"/>
              <a:gd name="T13" fmla="*/ 24 h 651"/>
              <a:gd name="T14" fmla="*/ 1151 w 1577"/>
              <a:gd name="T15" fmla="*/ 50 h 651"/>
              <a:gd name="T16" fmla="*/ 1126 w 1577"/>
              <a:gd name="T17" fmla="*/ 124 h 651"/>
              <a:gd name="T18" fmla="*/ 1075 w 1577"/>
              <a:gd name="T19" fmla="*/ 175 h 651"/>
              <a:gd name="T20" fmla="*/ 1051 w 1577"/>
              <a:gd name="T21" fmla="*/ 224 h 651"/>
              <a:gd name="T22" fmla="*/ 1026 w 1577"/>
              <a:gd name="T23" fmla="*/ 300 h 651"/>
              <a:gd name="T24" fmla="*/ 1026 w 1577"/>
              <a:gd name="T25" fmla="*/ 350 h 651"/>
              <a:gd name="T26" fmla="*/ 1075 w 1577"/>
              <a:gd name="T27" fmla="*/ 400 h 651"/>
              <a:gd name="T28" fmla="*/ 1126 w 1577"/>
              <a:gd name="T29" fmla="*/ 424 h 651"/>
              <a:gd name="T30" fmla="*/ 1075 w 1577"/>
              <a:gd name="T31" fmla="*/ 475 h 651"/>
              <a:gd name="T32" fmla="*/ 1075 w 1577"/>
              <a:gd name="T33" fmla="*/ 475 h 651"/>
              <a:gd name="T34" fmla="*/ 1100 w 1577"/>
              <a:gd name="T35" fmla="*/ 524 h 651"/>
              <a:gd name="T36" fmla="*/ 1100 w 1577"/>
              <a:gd name="T37" fmla="*/ 575 h 651"/>
              <a:gd name="T38" fmla="*/ 1175 w 1577"/>
              <a:gd name="T39" fmla="*/ 600 h 651"/>
              <a:gd name="T40" fmla="*/ 1226 w 1577"/>
              <a:gd name="T41" fmla="*/ 575 h 651"/>
              <a:gd name="T42" fmla="*/ 1326 w 1577"/>
              <a:gd name="T43" fmla="*/ 424 h 651"/>
              <a:gd name="T44" fmla="*/ 1500 w 1577"/>
              <a:gd name="T45" fmla="*/ 324 h 651"/>
              <a:gd name="T46" fmla="*/ 1551 w 1577"/>
              <a:gd name="T47" fmla="*/ 250 h 651"/>
              <a:gd name="T48" fmla="*/ 1526 w 1577"/>
              <a:gd name="T49" fmla="*/ 175 h 651"/>
              <a:gd name="T50" fmla="*/ 50 w 1577"/>
              <a:gd name="T51" fmla="*/ 150 h 651"/>
              <a:gd name="T52" fmla="*/ 50 w 1577"/>
              <a:gd name="T53" fmla="*/ 150 h 651"/>
              <a:gd name="T54" fmla="*/ 100 w 1577"/>
              <a:gd name="T55" fmla="*/ 250 h 651"/>
              <a:gd name="T56" fmla="*/ 50 w 1577"/>
              <a:gd name="T57" fmla="*/ 1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7" h="651">
                <a:moveTo>
                  <a:pt x="1526" y="175"/>
                </a:moveTo>
                <a:lnTo>
                  <a:pt x="1526" y="175"/>
                </a:lnTo>
                <a:cubicBezTo>
                  <a:pt x="1500" y="124"/>
                  <a:pt x="1476" y="100"/>
                  <a:pt x="1476" y="124"/>
                </a:cubicBezTo>
                <a:cubicBezTo>
                  <a:pt x="1451" y="124"/>
                  <a:pt x="1426" y="124"/>
                  <a:pt x="1400" y="124"/>
                </a:cubicBezTo>
                <a:cubicBezTo>
                  <a:pt x="1376" y="100"/>
                  <a:pt x="1351" y="75"/>
                  <a:pt x="1326" y="75"/>
                </a:cubicBezTo>
                <a:cubicBezTo>
                  <a:pt x="1326" y="75"/>
                  <a:pt x="1251" y="50"/>
                  <a:pt x="1226" y="0"/>
                </a:cubicBezTo>
                <a:cubicBezTo>
                  <a:pt x="1226" y="24"/>
                  <a:pt x="1226" y="24"/>
                  <a:pt x="1226" y="24"/>
                </a:cubicBezTo>
                <a:cubicBezTo>
                  <a:pt x="1226" y="50"/>
                  <a:pt x="1200" y="50"/>
                  <a:pt x="1151" y="50"/>
                </a:cubicBezTo>
                <a:cubicBezTo>
                  <a:pt x="1126" y="50"/>
                  <a:pt x="1126" y="100"/>
                  <a:pt x="1126" y="124"/>
                </a:cubicBezTo>
                <a:cubicBezTo>
                  <a:pt x="1126" y="150"/>
                  <a:pt x="1100" y="150"/>
                  <a:pt x="1075" y="175"/>
                </a:cubicBezTo>
                <a:cubicBezTo>
                  <a:pt x="1075" y="200"/>
                  <a:pt x="1075" y="224"/>
                  <a:pt x="1051" y="224"/>
                </a:cubicBezTo>
                <a:cubicBezTo>
                  <a:pt x="1026" y="250"/>
                  <a:pt x="1026" y="275"/>
                  <a:pt x="1026" y="300"/>
                </a:cubicBezTo>
                <a:cubicBezTo>
                  <a:pt x="1051" y="324"/>
                  <a:pt x="1026" y="350"/>
                  <a:pt x="1026" y="350"/>
                </a:cubicBezTo>
                <a:cubicBezTo>
                  <a:pt x="1026" y="375"/>
                  <a:pt x="1051" y="375"/>
                  <a:pt x="1075" y="400"/>
                </a:cubicBezTo>
                <a:cubicBezTo>
                  <a:pt x="1100" y="424"/>
                  <a:pt x="1126" y="400"/>
                  <a:pt x="1126" y="424"/>
                </a:cubicBezTo>
                <a:cubicBezTo>
                  <a:pt x="1151" y="424"/>
                  <a:pt x="1126" y="475"/>
                  <a:pt x="1075" y="475"/>
                </a:cubicBezTo>
                <a:lnTo>
                  <a:pt x="1075" y="475"/>
                </a:lnTo>
                <a:cubicBezTo>
                  <a:pt x="1100" y="500"/>
                  <a:pt x="1100" y="500"/>
                  <a:pt x="1100" y="524"/>
                </a:cubicBezTo>
                <a:cubicBezTo>
                  <a:pt x="1075" y="550"/>
                  <a:pt x="1075" y="550"/>
                  <a:pt x="1100" y="575"/>
                </a:cubicBezTo>
                <a:cubicBezTo>
                  <a:pt x="1126" y="600"/>
                  <a:pt x="1151" y="550"/>
                  <a:pt x="1175" y="600"/>
                </a:cubicBezTo>
                <a:cubicBezTo>
                  <a:pt x="1200" y="624"/>
                  <a:pt x="1200" y="650"/>
                  <a:pt x="1226" y="575"/>
                </a:cubicBezTo>
                <a:cubicBezTo>
                  <a:pt x="1251" y="524"/>
                  <a:pt x="1275" y="449"/>
                  <a:pt x="1326" y="424"/>
                </a:cubicBezTo>
                <a:cubicBezTo>
                  <a:pt x="1376" y="424"/>
                  <a:pt x="1451" y="400"/>
                  <a:pt x="1500" y="324"/>
                </a:cubicBezTo>
                <a:cubicBezTo>
                  <a:pt x="1551" y="275"/>
                  <a:pt x="1526" y="250"/>
                  <a:pt x="1551" y="250"/>
                </a:cubicBezTo>
                <a:cubicBezTo>
                  <a:pt x="1576" y="224"/>
                  <a:pt x="1576" y="200"/>
                  <a:pt x="1526" y="175"/>
                </a:cubicBezTo>
                <a:close/>
                <a:moveTo>
                  <a:pt x="50" y="150"/>
                </a:moveTo>
                <a:lnTo>
                  <a:pt x="50" y="150"/>
                </a:lnTo>
                <a:cubicBezTo>
                  <a:pt x="0" y="200"/>
                  <a:pt x="100" y="275"/>
                  <a:pt x="100" y="250"/>
                </a:cubicBezTo>
                <a:cubicBezTo>
                  <a:pt x="126" y="200"/>
                  <a:pt x="100" y="75"/>
                  <a:pt x="50" y="150"/>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0" name="Freeform 235">
            <a:extLst>
              <a:ext uri="{FF2B5EF4-FFF2-40B4-BE49-F238E27FC236}">
                <a16:creationId xmlns:a16="http://schemas.microsoft.com/office/drawing/2014/main" id="{919C95C8-5C1E-D435-4343-C662345782C1}"/>
              </a:ext>
            </a:extLst>
          </p:cNvPr>
          <p:cNvSpPr>
            <a:spLocks noChangeArrowheads="1"/>
          </p:cNvSpPr>
          <p:nvPr/>
        </p:nvSpPr>
        <p:spPr bwMode="auto">
          <a:xfrm>
            <a:off x="6183809" y="4277626"/>
            <a:ext cx="40781" cy="23907"/>
          </a:xfrm>
          <a:custGeom>
            <a:avLst/>
            <a:gdLst>
              <a:gd name="T0" fmla="*/ 25 w 126"/>
              <a:gd name="T1" fmla="*/ 75 h 76"/>
              <a:gd name="T2" fmla="*/ 25 w 126"/>
              <a:gd name="T3" fmla="*/ 75 h 76"/>
              <a:gd name="T4" fmla="*/ 25 w 126"/>
              <a:gd name="T5" fmla="*/ 25 h 76"/>
              <a:gd name="T6" fmla="*/ 100 w 126"/>
              <a:gd name="T7" fmla="*/ 0 h 76"/>
              <a:gd name="T8" fmla="*/ 100 w 126"/>
              <a:gd name="T9" fmla="*/ 51 h 76"/>
              <a:gd name="T10" fmla="*/ 25 w 126"/>
              <a:gd name="T11" fmla="*/ 75 h 76"/>
            </a:gdLst>
            <a:ahLst/>
            <a:cxnLst>
              <a:cxn ang="0">
                <a:pos x="T0" y="T1"/>
              </a:cxn>
              <a:cxn ang="0">
                <a:pos x="T2" y="T3"/>
              </a:cxn>
              <a:cxn ang="0">
                <a:pos x="T4" y="T5"/>
              </a:cxn>
              <a:cxn ang="0">
                <a:pos x="T6" y="T7"/>
              </a:cxn>
              <a:cxn ang="0">
                <a:pos x="T8" y="T9"/>
              </a:cxn>
              <a:cxn ang="0">
                <a:pos x="T10" y="T11"/>
              </a:cxn>
            </a:cxnLst>
            <a:rect l="0" t="0" r="r" b="b"/>
            <a:pathLst>
              <a:path w="126" h="76">
                <a:moveTo>
                  <a:pt x="25" y="75"/>
                </a:moveTo>
                <a:lnTo>
                  <a:pt x="25" y="75"/>
                </a:lnTo>
                <a:cubicBezTo>
                  <a:pt x="25" y="51"/>
                  <a:pt x="50" y="25"/>
                  <a:pt x="25" y="25"/>
                </a:cubicBezTo>
                <a:cubicBezTo>
                  <a:pt x="0" y="25"/>
                  <a:pt x="75" y="0"/>
                  <a:pt x="100" y="0"/>
                </a:cubicBezTo>
                <a:cubicBezTo>
                  <a:pt x="125" y="25"/>
                  <a:pt x="125" y="51"/>
                  <a:pt x="100" y="51"/>
                </a:cubicBezTo>
                <a:cubicBezTo>
                  <a:pt x="75" y="75"/>
                  <a:pt x="50" y="75"/>
                  <a:pt x="2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1" name="Freeform 236">
            <a:extLst>
              <a:ext uri="{FF2B5EF4-FFF2-40B4-BE49-F238E27FC236}">
                <a16:creationId xmlns:a16="http://schemas.microsoft.com/office/drawing/2014/main" id="{9504AC6A-DD97-843C-03C0-C643564C9475}"/>
              </a:ext>
            </a:extLst>
          </p:cNvPr>
          <p:cNvSpPr>
            <a:spLocks noChangeArrowheads="1"/>
          </p:cNvSpPr>
          <p:nvPr/>
        </p:nvSpPr>
        <p:spPr bwMode="auto">
          <a:xfrm>
            <a:off x="5840689" y="4236846"/>
            <a:ext cx="414841" cy="351560"/>
          </a:xfrm>
          <a:custGeom>
            <a:avLst/>
            <a:gdLst>
              <a:gd name="T0" fmla="*/ 125 w 1301"/>
              <a:gd name="T1" fmla="*/ 76 h 1102"/>
              <a:gd name="T2" fmla="*/ 125 w 1301"/>
              <a:gd name="T3" fmla="*/ 76 h 1102"/>
              <a:gd name="T4" fmla="*/ 49 w 1301"/>
              <a:gd name="T5" fmla="*/ 176 h 1102"/>
              <a:gd name="T6" fmla="*/ 25 w 1301"/>
              <a:gd name="T7" fmla="*/ 251 h 1102"/>
              <a:gd name="T8" fmla="*/ 0 w 1301"/>
              <a:gd name="T9" fmla="*/ 276 h 1102"/>
              <a:gd name="T10" fmla="*/ 49 w 1301"/>
              <a:gd name="T11" fmla="*/ 300 h 1102"/>
              <a:gd name="T12" fmla="*/ 100 w 1301"/>
              <a:gd name="T13" fmla="*/ 376 h 1102"/>
              <a:gd name="T14" fmla="*/ 149 w 1301"/>
              <a:gd name="T15" fmla="*/ 501 h 1102"/>
              <a:gd name="T16" fmla="*/ 325 w 1301"/>
              <a:gd name="T17" fmla="*/ 501 h 1102"/>
              <a:gd name="T18" fmla="*/ 450 w 1301"/>
              <a:gd name="T19" fmla="*/ 576 h 1102"/>
              <a:gd name="T20" fmla="*/ 550 w 1301"/>
              <a:gd name="T21" fmla="*/ 601 h 1102"/>
              <a:gd name="T22" fmla="*/ 525 w 1301"/>
              <a:gd name="T23" fmla="*/ 776 h 1102"/>
              <a:gd name="T24" fmla="*/ 575 w 1301"/>
              <a:gd name="T25" fmla="*/ 825 h 1102"/>
              <a:gd name="T26" fmla="*/ 575 w 1301"/>
              <a:gd name="T27" fmla="*/ 901 h 1102"/>
              <a:gd name="T28" fmla="*/ 575 w 1301"/>
              <a:gd name="T29" fmla="*/ 951 h 1102"/>
              <a:gd name="T30" fmla="*/ 575 w 1301"/>
              <a:gd name="T31" fmla="*/ 951 h 1102"/>
              <a:gd name="T32" fmla="*/ 650 w 1301"/>
              <a:gd name="T33" fmla="*/ 1051 h 1102"/>
              <a:gd name="T34" fmla="*/ 700 w 1301"/>
              <a:gd name="T35" fmla="*/ 1076 h 1102"/>
              <a:gd name="T36" fmla="*/ 750 w 1301"/>
              <a:gd name="T37" fmla="*/ 1076 h 1102"/>
              <a:gd name="T38" fmla="*/ 825 w 1301"/>
              <a:gd name="T39" fmla="*/ 1025 h 1102"/>
              <a:gd name="T40" fmla="*/ 875 w 1301"/>
              <a:gd name="T41" fmla="*/ 1001 h 1102"/>
              <a:gd name="T42" fmla="*/ 925 w 1301"/>
              <a:gd name="T43" fmla="*/ 951 h 1102"/>
              <a:gd name="T44" fmla="*/ 950 w 1301"/>
              <a:gd name="T45" fmla="*/ 925 h 1102"/>
              <a:gd name="T46" fmla="*/ 900 w 1301"/>
              <a:gd name="T47" fmla="*/ 901 h 1102"/>
              <a:gd name="T48" fmla="*/ 875 w 1301"/>
              <a:gd name="T49" fmla="*/ 851 h 1102"/>
              <a:gd name="T50" fmla="*/ 825 w 1301"/>
              <a:gd name="T51" fmla="*/ 776 h 1102"/>
              <a:gd name="T52" fmla="*/ 900 w 1301"/>
              <a:gd name="T53" fmla="*/ 776 h 1102"/>
              <a:gd name="T54" fmla="*/ 975 w 1301"/>
              <a:gd name="T55" fmla="*/ 801 h 1102"/>
              <a:gd name="T56" fmla="*/ 1025 w 1301"/>
              <a:gd name="T57" fmla="*/ 801 h 1102"/>
              <a:gd name="T58" fmla="*/ 1075 w 1301"/>
              <a:gd name="T59" fmla="*/ 751 h 1102"/>
              <a:gd name="T60" fmla="*/ 1200 w 1301"/>
              <a:gd name="T61" fmla="*/ 725 h 1102"/>
              <a:gd name="T62" fmla="*/ 1225 w 1301"/>
              <a:gd name="T63" fmla="*/ 676 h 1102"/>
              <a:gd name="T64" fmla="*/ 1150 w 1301"/>
              <a:gd name="T65" fmla="*/ 601 h 1102"/>
              <a:gd name="T66" fmla="*/ 1175 w 1301"/>
              <a:gd name="T67" fmla="*/ 551 h 1102"/>
              <a:gd name="T68" fmla="*/ 1200 w 1301"/>
              <a:gd name="T69" fmla="*/ 501 h 1102"/>
              <a:gd name="T70" fmla="*/ 1225 w 1301"/>
              <a:gd name="T71" fmla="*/ 451 h 1102"/>
              <a:gd name="T72" fmla="*/ 1250 w 1301"/>
              <a:gd name="T73" fmla="*/ 400 h 1102"/>
              <a:gd name="T74" fmla="*/ 1300 w 1301"/>
              <a:gd name="T75" fmla="*/ 351 h 1102"/>
              <a:gd name="T76" fmla="*/ 1150 w 1301"/>
              <a:gd name="T77" fmla="*/ 325 h 1102"/>
              <a:gd name="T78" fmla="*/ 1175 w 1301"/>
              <a:gd name="T79" fmla="*/ 251 h 1102"/>
              <a:gd name="T80" fmla="*/ 1050 w 1301"/>
              <a:gd name="T81" fmla="*/ 200 h 1102"/>
              <a:gd name="T82" fmla="*/ 1050 w 1301"/>
              <a:gd name="T83" fmla="*/ 150 h 1102"/>
              <a:gd name="T84" fmla="*/ 975 w 1301"/>
              <a:gd name="T85" fmla="*/ 125 h 1102"/>
              <a:gd name="T86" fmla="*/ 800 w 1301"/>
              <a:gd name="T87" fmla="*/ 200 h 1102"/>
              <a:gd name="T88" fmla="*/ 625 w 1301"/>
              <a:gd name="T89" fmla="*/ 150 h 1102"/>
              <a:gd name="T90" fmla="*/ 500 w 1301"/>
              <a:gd name="T91" fmla="*/ 125 h 1102"/>
              <a:gd name="T92" fmla="*/ 425 w 1301"/>
              <a:gd name="T93" fmla="*/ 50 h 1102"/>
              <a:gd name="T94" fmla="*/ 349 w 1301"/>
              <a:gd name="T95" fmla="*/ 0 h 1102"/>
              <a:gd name="T96" fmla="*/ 325 w 1301"/>
              <a:gd name="T97" fmla="*/ 50 h 1102"/>
              <a:gd name="T98" fmla="*/ 200 w 1301"/>
              <a:gd name="T99" fmla="*/ 125 h 1102"/>
              <a:gd name="T100" fmla="*/ 225 w 1301"/>
              <a:gd name="T101" fmla="*/ 276 h 1102"/>
              <a:gd name="T102" fmla="*/ 125 w 1301"/>
              <a:gd name="T103" fmla="*/ 225 h 1102"/>
              <a:gd name="T104" fmla="*/ 149 w 1301"/>
              <a:gd name="T105" fmla="*/ 125 h 1102"/>
              <a:gd name="T106" fmla="*/ 149 w 1301"/>
              <a:gd name="T107" fmla="*/ 50 h 1102"/>
              <a:gd name="T108" fmla="*/ 125 w 1301"/>
              <a:gd name="T109" fmla="*/ 76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1" h="1102">
                <a:moveTo>
                  <a:pt x="125" y="76"/>
                </a:moveTo>
                <a:lnTo>
                  <a:pt x="125" y="76"/>
                </a:lnTo>
                <a:cubicBezTo>
                  <a:pt x="100" y="100"/>
                  <a:pt x="49" y="125"/>
                  <a:pt x="49" y="176"/>
                </a:cubicBezTo>
                <a:cubicBezTo>
                  <a:pt x="25" y="200"/>
                  <a:pt x="49" y="225"/>
                  <a:pt x="25" y="251"/>
                </a:cubicBezTo>
                <a:cubicBezTo>
                  <a:pt x="0" y="251"/>
                  <a:pt x="0" y="276"/>
                  <a:pt x="0" y="276"/>
                </a:cubicBezTo>
                <a:cubicBezTo>
                  <a:pt x="25" y="276"/>
                  <a:pt x="49" y="276"/>
                  <a:pt x="49" y="300"/>
                </a:cubicBezTo>
                <a:cubicBezTo>
                  <a:pt x="49" y="325"/>
                  <a:pt x="100" y="325"/>
                  <a:pt x="100" y="376"/>
                </a:cubicBezTo>
                <a:cubicBezTo>
                  <a:pt x="100" y="400"/>
                  <a:pt x="75" y="501"/>
                  <a:pt x="149" y="501"/>
                </a:cubicBezTo>
                <a:cubicBezTo>
                  <a:pt x="225" y="501"/>
                  <a:pt x="275" y="451"/>
                  <a:pt x="325" y="501"/>
                </a:cubicBezTo>
                <a:cubicBezTo>
                  <a:pt x="349" y="551"/>
                  <a:pt x="400" y="576"/>
                  <a:pt x="450" y="576"/>
                </a:cubicBezTo>
                <a:cubicBezTo>
                  <a:pt x="500" y="551"/>
                  <a:pt x="575" y="551"/>
                  <a:pt x="550" y="601"/>
                </a:cubicBezTo>
                <a:cubicBezTo>
                  <a:pt x="525" y="651"/>
                  <a:pt x="500" y="725"/>
                  <a:pt x="525" y="776"/>
                </a:cubicBezTo>
                <a:cubicBezTo>
                  <a:pt x="550" y="801"/>
                  <a:pt x="600" y="825"/>
                  <a:pt x="575" y="825"/>
                </a:cubicBezTo>
                <a:cubicBezTo>
                  <a:pt x="550" y="851"/>
                  <a:pt x="550" y="876"/>
                  <a:pt x="575" y="901"/>
                </a:cubicBezTo>
                <a:cubicBezTo>
                  <a:pt x="600" y="925"/>
                  <a:pt x="575" y="951"/>
                  <a:pt x="575" y="951"/>
                </a:cubicBezTo>
                <a:lnTo>
                  <a:pt x="575" y="951"/>
                </a:lnTo>
                <a:cubicBezTo>
                  <a:pt x="600" y="1001"/>
                  <a:pt x="625" y="1051"/>
                  <a:pt x="650" y="1051"/>
                </a:cubicBezTo>
                <a:cubicBezTo>
                  <a:pt x="675" y="1076"/>
                  <a:pt x="675" y="1101"/>
                  <a:pt x="700" y="1076"/>
                </a:cubicBezTo>
                <a:cubicBezTo>
                  <a:pt x="725" y="1076"/>
                  <a:pt x="725" y="1051"/>
                  <a:pt x="750" y="1076"/>
                </a:cubicBezTo>
                <a:cubicBezTo>
                  <a:pt x="775" y="1076"/>
                  <a:pt x="800" y="1051"/>
                  <a:pt x="825" y="1025"/>
                </a:cubicBezTo>
                <a:cubicBezTo>
                  <a:pt x="850" y="1025"/>
                  <a:pt x="875" y="1025"/>
                  <a:pt x="875" y="1001"/>
                </a:cubicBezTo>
                <a:cubicBezTo>
                  <a:pt x="875" y="976"/>
                  <a:pt x="900" y="951"/>
                  <a:pt x="925" y="951"/>
                </a:cubicBezTo>
                <a:cubicBezTo>
                  <a:pt x="975" y="951"/>
                  <a:pt x="975" y="925"/>
                  <a:pt x="950" y="925"/>
                </a:cubicBezTo>
                <a:cubicBezTo>
                  <a:pt x="925" y="925"/>
                  <a:pt x="900" y="951"/>
                  <a:pt x="900" y="901"/>
                </a:cubicBezTo>
                <a:cubicBezTo>
                  <a:pt x="900" y="876"/>
                  <a:pt x="875" y="876"/>
                  <a:pt x="875" y="851"/>
                </a:cubicBezTo>
                <a:cubicBezTo>
                  <a:pt x="875" y="825"/>
                  <a:pt x="875" y="801"/>
                  <a:pt x="825" y="776"/>
                </a:cubicBezTo>
                <a:cubicBezTo>
                  <a:pt x="800" y="751"/>
                  <a:pt x="875" y="751"/>
                  <a:pt x="900" y="776"/>
                </a:cubicBezTo>
                <a:cubicBezTo>
                  <a:pt x="900" y="776"/>
                  <a:pt x="975" y="776"/>
                  <a:pt x="975" y="801"/>
                </a:cubicBezTo>
                <a:cubicBezTo>
                  <a:pt x="975" y="825"/>
                  <a:pt x="1025" y="825"/>
                  <a:pt x="1025" y="801"/>
                </a:cubicBezTo>
                <a:cubicBezTo>
                  <a:pt x="1025" y="776"/>
                  <a:pt x="1050" y="751"/>
                  <a:pt x="1075" y="751"/>
                </a:cubicBezTo>
                <a:cubicBezTo>
                  <a:pt x="1100" y="776"/>
                  <a:pt x="1175" y="725"/>
                  <a:pt x="1200" y="725"/>
                </a:cubicBezTo>
                <a:cubicBezTo>
                  <a:pt x="1200" y="701"/>
                  <a:pt x="1200" y="701"/>
                  <a:pt x="1225" y="676"/>
                </a:cubicBezTo>
                <a:cubicBezTo>
                  <a:pt x="1200" y="651"/>
                  <a:pt x="1175" y="625"/>
                  <a:pt x="1150" y="601"/>
                </a:cubicBezTo>
                <a:cubicBezTo>
                  <a:pt x="1150" y="576"/>
                  <a:pt x="1175" y="576"/>
                  <a:pt x="1175" y="551"/>
                </a:cubicBezTo>
                <a:cubicBezTo>
                  <a:pt x="1175" y="525"/>
                  <a:pt x="1175" y="525"/>
                  <a:pt x="1200" y="501"/>
                </a:cubicBezTo>
                <a:cubicBezTo>
                  <a:pt x="1250" y="501"/>
                  <a:pt x="1250" y="476"/>
                  <a:pt x="1225" y="451"/>
                </a:cubicBezTo>
                <a:cubicBezTo>
                  <a:pt x="1200" y="451"/>
                  <a:pt x="1225" y="400"/>
                  <a:pt x="1250" y="400"/>
                </a:cubicBezTo>
                <a:cubicBezTo>
                  <a:pt x="1275" y="400"/>
                  <a:pt x="1275" y="376"/>
                  <a:pt x="1300" y="351"/>
                </a:cubicBezTo>
                <a:cubicBezTo>
                  <a:pt x="1250" y="325"/>
                  <a:pt x="1175" y="325"/>
                  <a:pt x="1150" y="325"/>
                </a:cubicBezTo>
                <a:cubicBezTo>
                  <a:pt x="1125" y="351"/>
                  <a:pt x="1175" y="300"/>
                  <a:pt x="1175" y="251"/>
                </a:cubicBezTo>
                <a:cubicBezTo>
                  <a:pt x="1175" y="225"/>
                  <a:pt x="1075" y="225"/>
                  <a:pt x="1050" y="200"/>
                </a:cubicBezTo>
                <a:cubicBezTo>
                  <a:pt x="1000" y="200"/>
                  <a:pt x="1025" y="150"/>
                  <a:pt x="1050" y="150"/>
                </a:cubicBezTo>
                <a:cubicBezTo>
                  <a:pt x="1100" y="150"/>
                  <a:pt x="1025" y="125"/>
                  <a:pt x="975" y="125"/>
                </a:cubicBezTo>
                <a:cubicBezTo>
                  <a:pt x="925" y="150"/>
                  <a:pt x="850" y="176"/>
                  <a:pt x="800" y="200"/>
                </a:cubicBezTo>
                <a:cubicBezTo>
                  <a:pt x="750" y="225"/>
                  <a:pt x="675" y="125"/>
                  <a:pt x="625" y="150"/>
                </a:cubicBezTo>
                <a:cubicBezTo>
                  <a:pt x="575" y="176"/>
                  <a:pt x="500" y="176"/>
                  <a:pt x="500" y="125"/>
                </a:cubicBezTo>
                <a:cubicBezTo>
                  <a:pt x="500" y="76"/>
                  <a:pt x="475" y="50"/>
                  <a:pt x="425" y="50"/>
                </a:cubicBezTo>
                <a:cubicBezTo>
                  <a:pt x="375" y="50"/>
                  <a:pt x="375" y="0"/>
                  <a:pt x="349" y="0"/>
                </a:cubicBezTo>
                <a:cubicBezTo>
                  <a:pt x="300" y="0"/>
                  <a:pt x="349" y="50"/>
                  <a:pt x="325" y="50"/>
                </a:cubicBezTo>
                <a:cubicBezTo>
                  <a:pt x="300" y="76"/>
                  <a:pt x="200" y="100"/>
                  <a:pt x="200" y="125"/>
                </a:cubicBezTo>
                <a:cubicBezTo>
                  <a:pt x="175" y="176"/>
                  <a:pt x="249" y="225"/>
                  <a:pt x="225" y="276"/>
                </a:cubicBezTo>
                <a:cubicBezTo>
                  <a:pt x="200" y="300"/>
                  <a:pt x="149" y="276"/>
                  <a:pt x="125" y="225"/>
                </a:cubicBezTo>
                <a:cubicBezTo>
                  <a:pt x="100" y="200"/>
                  <a:pt x="175" y="125"/>
                  <a:pt x="149" y="125"/>
                </a:cubicBezTo>
                <a:cubicBezTo>
                  <a:pt x="149" y="100"/>
                  <a:pt x="149" y="76"/>
                  <a:pt x="149" y="50"/>
                </a:cubicBezTo>
                <a:cubicBezTo>
                  <a:pt x="149" y="50"/>
                  <a:pt x="125" y="50"/>
                  <a:pt x="125" y="76"/>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2" name="Freeform 237">
            <a:extLst>
              <a:ext uri="{FF2B5EF4-FFF2-40B4-BE49-F238E27FC236}">
                <a16:creationId xmlns:a16="http://schemas.microsoft.com/office/drawing/2014/main" id="{D3CFDD97-C570-F9B2-1EB0-076C408157AB}"/>
              </a:ext>
            </a:extLst>
          </p:cNvPr>
          <p:cNvSpPr>
            <a:spLocks noChangeArrowheads="1"/>
          </p:cNvSpPr>
          <p:nvPr/>
        </p:nvSpPr>
        <p:spPr bwMode="auto">
          <a:xfrm>
            <a:off x="6207716" y="4349345"/>
            <a:ext cx="143436" cy="223592"/>
          </a:xfrm>
          <a:custGeom>
            <a:avLst/>
            <a:gdLst>
              <a:gd name="T0" fmla="*/ 100 w 451"/>
              <a:gd name="T1" fmla="*/ 49 h 701"/>
              <a:gd name="T2" fmla="*/ 100 w 451"/>
              <a:gd name="T3" fmla="*/ 49 h 701"/>
              <a:gd name="T4" fmla="*/ 75 w 451"/>
              <a:gd name="T5" fmla="*/ 100 h 701"/>
              <a:gd name="T6" fmla="*/ 50 w 451"/>
              <a:gd name="T7" fmla="*/ 150 h 701"/>
              <a:gd name="T8" fmla="*/ 25 w 451"/>
              <a:gd name="T9" fmla="*/ 200 h 701"/>
              <a:gd name="T10" fmla="*/ 0 w 451"/>
              <a:gd name="T11" fmla="*/ 250 h 701"/>
              <a:gd name="T12" fmla="*/ 75 w 451"/>
              <a:gd name="T13" fmla="*/ 325 h 701"/>
              <a:gd name="T14" fmla="*/ 100 w 451"/>
              <a:gd name="T15" fmla="*/ 300 h 701"/>
              <a:gd name="T16" fmla="*/ 150 w 451"/>
              <a:gd name="T17" fmla="*/ 400 h 701"/>
              <a:gd name="T18" fmla="*/ 150 w 451"/>
              <a:gd name="T19" fmla="*/ 474 h 701"/>
              <a:gd name="T20" fmla="*/ 175 w 451"/>
              <a:gd name="T21" fmla="*/ 625 h 701"/>
              <a:gd name="T22" fmla="*/ 275 w 451"/>
              <a:gd name="T23" fmla="*/ 674 h 701"/>
              <a:gd name="T24" fmla="*/ 325 w 451"/>
              <a:gd name="T25" fmla="*/ 650 h 701"/>
              <a:gd name="T26" fmla="*/ 375 w 451"/>
              <a:gd name="T27" fmla="*/ 625 h 701"/>
              <a:gd name="T28" fmla="*/ 450 w 451"/>
              <a:gd name="T29" fmla="*/ 625 h 701"/>
              <a:gd name="T30" fmla="*/ 400 w 451"/>
              <a:gd name="T31" fmla="*/ 525 h 701"/>
              <a:gd name="T32" fmla="*/ 325 w 451"/>
              <a:gd name="T33" fmla="*/ 425 h 701"/>
              <a:gd name="T34" fmla="*/ 350 w 451"/>
              <a:gd name="T35" fmla="*/ 350 h 701"/>
              <a:gd name="T36" fmla="*/ 400 w 451"/>
              <a:gd name="T37" fmla="*/ 300 h 701"/>
              <a:gd name="T38" fmla="*/ 400 w 451"/>
              <a:gd name="T39" fmla="*/ 225 h 701"/>
              <a:gd name="T40" fmla="*/ 325 w 451"/>
              <a:gd name="T41" fmla="*/ 150 h 701"/>
              <a:gd name="T42" fmla="*/ 275 w 451"/>
              <a:gd name="T43" fmla="*/ 100 h 701"/>
              <a:gd name="T44" fmla="*/ 175 w 451"/>
              <a:gd name="T45" fmla="*/ 25 h 701"/>
              <a:gd name="T46" fmla="*/ 150 w 451"/>
              <a:gd name="T47" fmla="*/ 0 h 701"/>
              <a:gd name="T48" fmla="*/ 100 w 451"/>
              <a:gd name="T49" fmla="*/ 4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1" h="701">
                <a:moveTo>
                  <a:pt x="100" y="49"/>
                </a:moveTo>
                <a:lnTo>
                  <a:pt x="100" y="49"/>
                </a:lnTo>
                <a:cubicBezTo>
                  <a:pt x="75" y="49"/>
                  <a:pt x="50" y="100"/>
                  <a:pt x="75" y="100"/>
                </a:cubicBezTo>
                <a:cubicBezTo>
                  <a:pt x="100" y="125"/>
                  <a:pt x="100" y="150"/>
                  <a:pt x="50" y="150"/>
                </a:cubicBezTo>
                <a:cubicBezTo>
                  <a:pt x="25" y="174"/>
                  <a:pt x="25" y="174"/>
                  <a:pt x="25" y="200"/>
                </a:cubicBezTo>
                <a:cubicBezTo>
                  <a:pt x="25" y="225"/>
                  <a:pt x="0" y="225"/>
                  <a:pt x="0" y="250"/>
                </a:cubicBezTo>
                <a:cubicBezTo>
                  <a:pt x="25" y="274"/>
                  <a:pt x="50" y="300"/>
                  <a:pt x="75" y="325"/>
                </a:cubicBezTo>
                <a:cubicBezTo>
                  <a:pt x="75" y="325"/>
                  <a:pt x="75" y="300"/>
                  <a:pt x="100" y="300"/>
                </a:cubicBezTo>
                <a:cubicBezTo>
                  <a:pt x="150" y="325"/>
                  <a:pt x="100" y="374"/>
                  <a:pt x="150" y="400"/>
                </a:cubicBezTo>
                <a:cubicBezTo>
                  <a:pt x="175" y="400"/>
                  <a:pt x="175" y="450"/>
                  <a:pt x="150" y="474"/>
                </a:cubicBezTo>
                <a:cubicBezTo>
                  <a:pt x="125" y="474"/>
                  <a:pt x="125" y="574"/>
                  <a:pt x="175" y="625"/>
                </a:cubicBezTo>
                <a:cubicBezTo>
                  <a:pt x="225" y="700"/>
                  <a:pt x="250" y="674"/>
                  <a:pt x="275" y="674"/>
                </a:cubicBezTo>
                <a:cubicBezTo>
                  <a:pt x="275" y="650"/>
                  <a:pt x="325" y="674"/>
                  <a:pt x="325" y="650"/>
                </a:cubicBezTo>
                <a:cubicBezTo>
                  <a:pt x="350" y="625"/>
                  <a:pt x="350" y="650"/>
                  <a:pt x="375" y="625"/>
                </a:cubicBezTo>
                <a:cubicBezTo>
                  <a:pt x="400" y="600"/>
                  <a:pt x="425" y="625"/>
                  <a:pt x="450" y="625"/>
                </a:cubicBezTo>
                <a:cubicBezTo>
                  <a:pt x="425" y="574"/>
                  <a:pt x="400" y="550"/>
                  <a:pt x="400" y="525"/>
                </a:cubicBezTo>
                <a:cubicBezTo>
                  <a:pt x="375" y="474"/>
                  <a:pt x="300" y="425"/>
                  <a:pt x="325" y="425"/>
                </a:cubicBezTo>
                <a:cubicBezTo>
                  <a:pt x="325" y="400"/>
                  <a:pt x="325" y="350"/>
                  <a:pt x="350" y="350"/>
                </a:cubicBezTo>
                <a:cubicBezTo>
                  <a:pt x="375" y="325"/>
                  <a:pt x="400" y="325"/>
                  <a:pt x="400" y="300"/>
                </a:cubicBezTo>
                <a:cubicBezTo>
                  <a:pt x="400" y="274"/>
                  <a:pt x="400" y="250"/>
                  <a:pt x="400" y="225"/>
                </a:cubicBezTo>
                <a:cubicBezTo>
                  <a:pt x="375" y="225"/>
                  <a:pt x="350" y="150"/>
                  <a:pt x="325" y="150"/>
                </a:cubicBezTo>
                <a:cubicBezTo>
                  <a:pt x="300" y="150"/>
                  <a:pt x="275" y="125"/>
                  <a:pt x="275" y="100"/>
                </a:cubicBezTo>
                <a:cubicBezTo>
                  <a:pt x="275" y="74"/>
                  <a:pt x="225" y="49"/>
                  <a:pt x="175" y="25"/>
                </a:cubicBezTo>
                <a:cubicBezTo>
                  <a:pt x="175" y="0"/>
                  <a:pt x="150" y="0"/>
                  <a:pt x="150" y="0"/>
                </a:cubicBezTo>
                <a:cubicBezTo>
                  <a:pt x="125" y="25"/>
                  <a:pt x="125" y="49"/>
                  <a:pt x="100" y="49"/>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3" name="Freeform 238">
            <a:extLst>
              <a:ext uri="{FF2B5EF4-FFF2-40B4-BE49-F238E27FC236}">
                <a16:creationId xmlns:a16="http://schemas.microsoft.com/office/drawing/2014/main" id="{295D2FD8-1F76-A3B2-1637-6E9EA6C569CD}"/>
              </a:ext>
            </a:extLst>
          </p:cNvPr>
          <p:cNvSpPr>
            <a:spLocks noChangeArrowheads="1"/>
          </p:cNvSpPr>
          <p:nvPr/>
        </p:nvSpPr>
        <p:spPr bwMode="auto">
          <a:xfrm>
            <a:off x="5458189" y="4269191"/>
            <a:ext cx="104061" cy="80156"/>
          </a:xfrm>
          <a:custGeom>
            <a:avLst/>
            <a:gdLst>
              <a:gd name="T0" fmla="*/ 300 w 325"/>
              <a:gd name="T1" fmla="*/ 200 h 252"/>
              <a:gd name="T2" fmla="*/ 300 w 325"/>
              <a:gd name="T3" fmla="*/ 200 h 252"/>
              <a:gd name="T4" fmla="*/ 324 w 325"/>
              <a:gd name="T5" fmla="*/ 151 h 252"/>
              <a:gd name="T6" fmla="*/ 224 w 325"/>
              <a:gd name="T7" fmla="*/ 25 h 252"/>
              <a:gd name="T8" fmla="*/ 175 w 325"/>
              <a:gd name="T9" fmla="*/ 25 h 252"/>
              <a:gd name="T10" fmla="*/ 100 w 325"/>
              <a:gd name="T11" fmla="*/ 0 h 252"/>
              <a:gd name="T12" fmla="*/ 49 w 325"/>
              <a:gd name="T13" fmla="*/ 0 h 252"/>
              <a:gd name="T14" fmla="*/ 24 w 325"/>
              <a:gd name="T15" fmla="*/ 50 h 252"/>
              <a:gd name="T16" fmla="*/ 49 w 325"/>
              <a:gd name="T17" fmla="*/ 125 h 252"/>
              <a:gd name="T18" fmla="*/ 100 w 325"/>
              <a:gd name="T19" fmla="*/ 100 h 252"/>
              <a:gd name="T20" fmla="*/ 149 w 325"/>
              <a:gd name="T21" fmla="*/ 151 h 252"/>
              <a:gd name="T22" fmla="*/ 224 w 325"/>
              <a:gd name="T23" fmla="*/ 200 h 252"/>
              <a:gd name="T24" fmla="*/ 275 w 325"/>
              <a:gd name="T25" fmla="*/ 251 h 252"/>
              <a:gd name="T26" fmla="*/ 300 w 325"/>
              <a:gd name="T27" fmla="*/ 251 h 252"/>
              <a:gd name="T28" fmla="*/ 300 w 325"/>
              <a:gd name="T29" fmla="*/ 20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 h="252">
                <a:moveTo>
                  <a:pt x="300" y="200"/>
                </a:moveTo>
                <a:lnTo>
                  <a:pt x="300" y="200"/>
                </a:lnTo>
                <a:cubicBezTo>
                  <a:pt x="300" y="200"/>
                  <a:pt x="300" y="151"/>
                  <a:pt x="324" y="151"/>
                </a:cubicBezTo>
                <a:cubicBezTo>
                  <a:pt x="300" y="100"/>
                  <a:pt x="249" y="50"/>
                  <a:pt x="224" y="25"/>
                </a:cubicBezTo>
                <a:cubicBezTo>
                  <a:pt x="200" y="25"/>
                  <a:pt x="200" y="25"/>
                  <a:pt x="175" y="25"/>
                </a:cubicBezTo>
                <a:cubicBezTo>
                  <a:pt x="149" y="0"/>
                  <a:pt x="100" y="25"/>
                  <a:pt x="100" y="0"/>
                </a:cubicBezTo>
                <a:cubicBezTo>
                  <a:pt x="75" y="0"/>
                  <a:pt x="49" y="0"/>
                  <a:pt x="49" y="0"/>
                </a:cubicBezTo>
                <a:cubicBezTo>
                  <a:pt x="49" y="25"/>
                  <a:pt x="49" y="25"/>
                  <a:pt x="24" y="50"/>
                </a:cubicBezTo>
                <a:cubicBezTo>
                  <a:pt x="0" y="50"/>
                  <a:pt x="0" y="100"/>
                  <a:pt x="49" y="125"/>
                </a:cubicBezTo>
                <a:cubicBezTo>
                  <a:pt x="100" y="151"/>
                  <a:pt x="75" y="100"/>
                  <a:pt x="100" y="100"/>
                </a:cubicBezTo>
                <a:cubicBezTo>
                  <a:pt x="124" y="100"/>
                  <a:pt x="124" y="151"/>
                  <a:pt x="149" y="151"/>
                </a:cubicBezTo>
                <a:cubicBezTo>
                  <a:pt x="175" y="151"/>
                  <a:pt x="224" y="176"/>
                  <a:pt x="224" y="200"/>
                </a:cubicBezTo>
                <a:cubicBezTo>
                  <a:pt x="224" y="225"/>
                  <a:pt x="224" y="251"/>
                  <a:pt x="275" y="251"/>
                </a:cubicBezTo>
                <a:cubicBezTo>
                  <a:pt x="275" y="251"/>
                  <a:pt x="275" y="251"/>
                  <a:pt x="300" y="251"/>
                </a:cubicBezTo>
                <a:cubicBezTo>
                  <a:pt x="300" y="225"/>
                  <a:pt x="300" y="200"/>
                  <a:pt x="300" y="200"/>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4" name="Freeform 239">
            <a:extLst>
              <a:ext uri="{FF2B5EF4-FFF2-40B4-BE49-F238E27FC236}">
                <a16:creationId xmlns:a16="http://schemas.microsoft.com/office/drawing/2014/main" id="{1FC15529-F9C2-3F4B-9A14-1A4AD3FA44FD}"/>
              </a:ext>
            </a:extLst>
          </p:cNvPr>
          <p:cNvSpPr>
            <a:spLocks noChangeArrowheads="1"/>
          </p:cNvSpPr>
          <p:nvPr/>
        </p:nvSpPr>
        <p:spPr bwMode="auto">
          <a:xfrm>
            <a:off x="5553815" y="4308564"/>
            <a:ext cx="175780" cy="80156"/>
          </a:xfrm>
          <a:custGeom>
            <a:avLst/>
            <a:gdLst>
              <a:gd name="T0" fmla="*/ 475 w 550"/>
              <a:gd name="T1" fmla="*/ 75 h 252"/>
              <a:gd name="T2" fmla="*/ 475 w 550"/>
              <a:gd name="T3" fmla="*/ 75 h 252"/>
              <a:gd name="T4" fmla="*/ 349 w 550"/>
              <a:gd name="T5" fmla="*/ 26 h 252"/>
              <a:gd name="T6" fmla="*/ 224 w 550"/>
              <a:gd name="T7" fmla="*/ 75 h 252"/>
              <a:gd name="T8" fmla="*/ 75 w 550"/>
              <a:gd name="T9" fmla="*/ 51 h 252"/>
              <a:gd name="T10" fmla="*/ 24 w 550"/>
              <a:gd name="T11" fmla="*/ 26 h 252"/>
              <a:gd name="T12" fmla="*/ 0 w 550"/>
              <a:gd name="T13" fmla="*/ 75 h 252"/>
              <a:gd name="T14" fmla="*/ 0 w 550"/>
              <a:gd name="T15" fmla="*/ 126 h 252"/>
              <a:gd name="T16" fmla="*/ 124 w 550"/>
              <a:gd name="T17" fmla="*/ 175 h 252"/>
              <a:gd name="T18" fmla="*/ 175 w 550"/>
              <a:gd name="T19" fmla="*/ 226 h 252"/>
              <a:gd name="T20" fmla="*/ 249 w 550"/>
              <a:gd name="T21" fmla="*/ 200 h 252"/>
              <a:gd name="T22" fmla="*/ 224 w 550"/>
              <a:gd name="T23" fmla="*/ 151 h 252"/>
              <a:gd name="T24" fmla="*/ 275 w 550"/>
              <a:gd name="T25" fmla="*/ 100 h 252"/>
              <a:gd name="T26" fmla="*/ 375 w 550"/>
              <a:gd name="T27" fmla="*/ 75 h 252"/>
              <a:gd name="T28" fmla="*/ 400 w 550"/>
              <a:gd name="T29" fmla="*/ 151 h 252"/>
              <a:gd name="T30" fmla="*/ 475 w 550"/>
              <a:gd name="T31" fmla="*/ 251 h 252"/>
              <a:gd name="T32" fmla="*/ 525 w 550"/>
              <a:gd name="T33" fmla="*/ 175 h 252"/>
              <a:gd name="T34" fmla="*/ 549 w 550"/>
              <a:gd name="T35" fmla="*/ 151 h 252"/>
              <a:gd name="T36" fmla="*/ 475 w 550"/>
              <a:gd name="T37" fmla="*/ 7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0" h="252">
                <a:moveTo>
                  <a:pt x="475" y="75"/>
                </a:moveTo>
                <a:lnTo>
                  <a:pt x="475" y="75"/>
                </a:lnTo>
                <a:cubicBezTo>
                  <a:pt x="449" y="26"/>
                  <a:pt x="400" y="26"/>
                  <a:pt x="349" y="26"/>
                </a:cubicBezTo>
                <a:cubicBezTo>
                  <a:pt x="324" y="0"/>
                  <a:pt x="275" y="26"/>
                  <a:pt x="224" y="75"/>
                </a:cubicBezTo>
                <a:cubicBezTo>
                  <a:pt x="175" y="100"/>
                  <a:pt x="100" y="75"/>
                  <a:pt x="75" y="51"/>
                </a:cubicBezTo>
                <a:cubicBezTo>
                  <a:pt x="49" y="51"/>
                  <a:pt x="49" y="26"/>
                  <a:pt x="24" y="26"/>
                </a:cubicBezTo>
                <a:cubicBezTo>
                  <a:pt x="0" y="26"/>
                  <a:pt x="0" y="75"/>
                  <a:pt x="0" y="75"/>
                </a:cubicBezTo>
                <a:cubicBezTo>
                  <a:pt x="0" y="75"/>
                  <a:pt x="0" y="100"/>
                  <a:pt x="0" y="126"/>
                </a:cubicBezTo>
                <a:cubicBezTo>
                  <a:pt x="24" y="126"/>
                  <a:pt x="100" y="151"/>
                  <a:pt x="124" y="175"/>
                </a:cubicBezTo>
                <a:cubicBezTo>
                  <a:pt x="149" y="226"/>
                  <a:pt x="175" y="200"/>
                  <a:pt x="175" y="226"/>
                </a:cubicBezTo>
                <a:cubicBezTo>
                  <a:pt x="200" y="251"/>
                  <a:pt x="249" y="226"/>
                  <a:pt x="249" y="200"/>
                </a:cubicBezTo>
                <a:cubicBezTo>
                  <a:pt x="275" y="200"/>
                  <a:pt x="224" y="175"/>
                  <a:pt x="224" y="151"/>
                </a:cubicBezTo>
                <a:cubicBezTo>
                  <a:pt x="224" y="126"/>
                  <a:pt x="275" y="151"/>
                  <a:pt x="275" y="100"/>
                </a:cubicBezTo>
                <a:cubicBezTo>
                  <a:pt x="300" y="75"/>
                  <a:pt x="349" y="75"/>
                  <a:pt x="375" y="75"/>
                </a:cubicBezTo>
                <a:cubicBezTo>
                  <a:pt x="424" y="100"/>
                  <a:pt x="449" y="100"/>
                  <a:pt x="400" y="151"/>
                </a:cubicBezTo>
                <a:cubicBezTo>
                  <a:pt x="400" y="175"/>
                  <a:pt x="424" y="200"/>
                  <a:pt x="475" y="251"/>
                </a:cubicBezTo>
                <a:cubicBezTo>
                  <a:pt x="500" y="226"/>
                  <a:pt x="525" y="175"/>
                  <a:pt x="525" y="175"/>
                </a:cubicBezTo>
                <a:lnTo>
                  <a:pt x="549" y="151"/>
                </a:lnTo>
                <a:cubicBezTo>
                  <a:pt x="525" y="151"/>
                  <a:pt x="500" y="100"/>
                  <a:pt x="475" y="75"/>
                </a:cubicBezTo>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5" name="Freeform 241">
            <a:extLst>
              <a:ext uri="{FF2B5EF4-FFF2-40B4-BE49-F238E27FC236}">
                <a16:creationId xmlns:a16="http://schemas.microsoft.com/office/drawing/2014/main" id="{D8A9F7CF-9561-DEA0-6EBB-F384ED11D5AF}"/>
              </a:ext>
            </a:extLst>
          </p:cNvPr>
          <p:cNvSpPr>
            <a:spLocks noChangeArrowheads="1"/>
          </p:cNvSpPr>
          <p:nvPr/>
        </p:nvSpPr>
        <p:spPr bwMode="auto">
          <a:xfrm>
            <a:off x="3798827" y="1192334"/>
            <a:ext cx="2671857" cy="2057331"/>
          </a:xfrm>
          <a:custGeom>
            <a:avLst/>
            <a:gdLst>
              <a:gd name="T0" fmla="*/ 1701 w 8378"/>
              <a:gd name="T1" fmla="*/ 5726 h 6452"/>
              <a:gd name="T2" fmla="*/ 2076 w 8378"/>
              <a:gd name="T3" fmla="*/ 1901 h 6452"/>
              <a:gd name="T4" fmla="*/ 3426 w 8378"/>
              <a:gd name="T5" fmla="*/ 2001 h 6452"/>
              <a:gd name="T6" fmla="*/ 2551 w 8378"/>
              <a:gd name="T7" fmla="*/ 2175 h 6452"/>
              <a:gd name="T8" fmla="*/ 2601 w 8378"/>
              <a:gd name="T9" fmla="*/ 2800 h 6452"/>
              <a:gd name="T10" fmla="*/ 1750 w 8378"/>
              <a:gd name="T11" fmla="*/ 1525 h 6452"/>
              <a:gd name="T12" fmla="*/ 2350 w 8378"/>
              <a:gd name="T13" fmla="*/ 1275 h 6452"/>
              <a:gd name="T14" fmla="*/ 2501 w 8378"/>
              <a:gd name="T15" fmla="*/ 1725 h 6452"/>
              <a:gd name="T16" fmla="*/ 3026 w 8378"/>
              <a:gd name="T17" fmla="*/ 1650 h 6452"/>
              <a:gd name="T18" fmla="*/ 2926 w 8378"/>
              <a:gd name="T19" fmla="*/ 1225 h 6452"/>
              <a:gd name="T20" fmla="*/ 3801 w 8378"/>
              <a:gd name="T21" fmla="*/ 1150 h 6452"/>
              <a:gd name="T22" fmla="*/ 3901 w 8378"/>
              <a:gd name="T23" fmla="*/ 750 h 6452"/>
              <a:gd name="T24" fmla="*/ 3501 w 8378"/>
              <a:gd name="T25" fmla="*/ 1525 h 6452"/>
              <a:gd name="T26" fmla="*/ 4201 w 8378"/>
              <a:gd name="T27" fmla="*/ 1200 h 6452"/>
              <a:gd name="T28" fmla="*/ 4177 w 8378"/>
              <a:gd name="T29" fmla="*/ 2125 h 6452"/>
              <a:gd name="T30" fmla="*/ 4751 w 8378"/>
              <a:gd name="T31" fmla="*/ 1801 h 6452"/>
              <a:gd name="T32" fmla="*/ 4501 w 8378"/>
              <a:gd name="T33" fmla="*/ 1500 h 6452"/>
              <a:gd name="T34" fmla="*/ 4926 w 8378"/>
              <a:gd name="T35" fmla="*/ 1125 h 6452"/>
              <a:gd name="T36" fmla="*/ 4326 w 8378"/>
              <a:gd name="T37" fmla="*/ 700 h 6452"/>
              <a:gd name="T38" fmla="*/ 5826 w 8378"/>
              <a:gd name="T39" fmla="*/ 600 h 6452"/>
              <a:gd name="T40" fmla="*/ 5077 w 8378"/>
              <a:gd name="T41" fmla="*/ 1200 h 6452"/>
              <a:gd name="T42" fmla="*/ 5926 w 8378"/>
              <a:gd name="T43" fmla="*/ 1275 h 6452"/>
              <a:gd name="T44" fmla="*/ 7502 w 8378"/>
              <a:gd name="T45" fmla="*/ 175 h 6452"/>
              <a:gd name="T46" fmla="*/ 5526 w 8378"/>
              <a:gd name="T47" fmla="*/ 175 h 6452"/>
              <a:gd name="T48" fmla="*/ 5426 w 8378"/>
              <a:gd name="T49" fmla="*/ 3875 h 6452"/>
              <a:gd name="T50" fmla="*/ 5551 w 8378"/>
              <a:gd name="T51" fmla="*/ 3650 h 6452"/>
              <a:gd name="T52" fmla="*/ 6927 w 8378"/>
              <a:gd name="T53" fmla="*/ 2750 h 6452"/>
              <a:gd name="T54" fmla="*/ 5926 w 8378"/>
              <a:gd name="T55" fmla="*/ 2250 h 6452"/>
              <a:gd name="T56" fmla="*/ 4926 w 8378"/>
              <a:gd name="T57" fmla="*/ 2075 h 6452"/>
              <a:gd name="T58" fmla="*/ 6051 w 8378"/>
              <a:gd name="T59" fmla="*/ 2675 h 6452"/>
              <a:gd name="T60" fmla="*/ 5977 w 8378"/>
              <a:gd name="T61" fmla="*/ 3550 h 6452"/>
              <a:gd name="T62" fmla="*/ 6952 w 8378"/>
              <a:gd name="T63" fmla="*/ 3226 h 6452"/>
              <a:gd name="T64" fmla="*/ 5702 w 8378"/>
              <a:gd name="T65" fmla="*/ 2001 h 6452"/>
              <a:gd name="T66" fmla="*/ 8002 w 8378"/>
              <a:gd name="T67" fmla="*/ 5476 h 6452"/>
              <a:gd name="T68" fmla="*/ 8327 w 8378"/>
              <a:gd name="T69" fmla="*/ 5801 h 6452"/>
              <a:gd name="T70" fmla="*/ 7227 w 8378"/>
              <a:gd name="T71" fmla="*/ 5826 h 6452"/>
              <a:gd name="T72" fmla="*/ 8077 w 8378"/>
              <a:gd name="T73" fmla="*/ 5251 h 6452"/>
              <a:gd name="T74" fmla="*/ 7752 w 8378"/>
              <a:gd name="T75" fmla="*/ 4851 h 6452"/>
              <a:gd name="T76" fmla="*/ 7177 w 8378"/>
              <a:gd name="T77" fmla="*/ 4226 h 6452"/>
              <a:gd name="T78" fmla="*/ 6577 w 8378"/>
              <a:gd name="T79" fmla="*/ 4001 h 6452"/>
              <a:gd name="T80" fmla="*/ 6027 w 8378"/>
              <a:gd name="T81" fmla="*/ 4200 h 6452"/>
              <a:gd name="T82" fmla="*/ 5802 w 8378"/>
              <a:gd name="T83" fmla="*/ 5376 h 6452"/>
              <a:gd name="T84" fmla="*/ 4726 w 8378"/>
              <a:gd name="T85" fmla="*/ 4575 h 6452"/>
              <a:gd name="T86" fmla="*/ 4626 w 8378"/>
              <a:gd name="T87" fmla="*/ 3675 h 6452"/>
              <a:gd name="T88" fmla="*/ 5277 w 8378"/>
              <a:gd name="T89" fmla="*/ 3250 h 6452"/>
              <a:gd name="T90" fmla="*/ 5526 w 8378"/>
              <a:gd name="T91" fmla="*/ 2725 h 6452"/>
              <a:gd name="T92" fmla="*/ 5026 w 8378"/>
              <a:gd name="T93" fmla="*/ 2926 h 6452"/>
              <a:gd name="T94" fmla="*/ 4551 w 8378"/>
              <a:gd name="T95" fmla="*/ 2501 h 6452"/>
              <a:gd name="T96" fmla="*/ 4301 w 8378"/>
              <a:gd name="T97" fmla="*/ 2101 h 6452"/>
              <a:gd name="T98" fmla="*/ 4426 w 8378"/>
              <a:gd name="T99" fmla="*/ 2926 h 6452"/>
              <a:gd name="T100" fmla="*/ 4151 w 8378"/>
              <a:gd name="T101" fmla="*/ 2701 h 6452"/>
              <a:gd name="T102" fmla="*/ 3226 w 8378"/>
              <a:gd name="T103" fmla="*/ 2850 h 6452"/>
              <a:gd name="T104" fmla="*/ 2451 w 8378"/>
              <a:gd name="T105" fmla="*/ 3026 h 6452"/>
              <a:gd name="T106" fmla="*/ 1201 w 8378"/>
              <a:gd name="T107" fmla="*/ 2650 h 6452"/>
              <a:gd name="T108" fmla="*/ 625 w 8378"/>
              <a:gd name="T109" fmla="*/ 2725 h 6452"/>
              <a:gd name="T110" fmla="*/ 601 w 8378"/>
              <a:gd name="T111" fmla="*/ 4275 h 6452"/>
              <a:gd name="T112" fmla="*/ 1250 w 8378"/>
              <a:gd name="T113" fmla="*/ 5326 h 6452"/>
              <a:gd name="T114" fmla="*/ 4651 w 8378"/>
              <a:gd name="T115" fmla="*/ 5726 h 6452"/>
              <a:gd name="T116" fmla="*/ 5551 w 8378"/>
              <a:gd name="T117" fmla="*/ 6376 h 6452"/>
              <a:gd name="T118" fmla="*/ 6802 w 8378"/>
              <a:gd name="T119" fmla="*/ 5826 h 6452"/>
              <a:gd name="T120" fmla="*/ 7677 w 8378"/>
              <a:gd name="T121" fmla="*/ 6026 h 6452"/>
              <a:gd name="T122" fmla="*/ 1876 w 8378"/>
              <a:gd name="T123" fmla="*/ 3301 h 6452"/>
              <a:gd name="T124" fmla="*/ 2476 w 8378"/>
              <a:gd name="T125" fmla="*/ 3926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8" h="6452">
                <a:moveTo>
                  <a:pt x="1650" y="5651"/>
                </a:moveTo>
                <a:lnTo>
                  <a:pt x="1650" y="5651"/>
                </a:lnTo>
                <a:cubicBezTo>
                  <a:pt x="1626" y="5626"/>
                  <a:pt x="1576" y="5626"/>
                  <a:pt x="1550" y="5600"/>
                </a:cubicBezTo>
                <a:cubicBezTo>
                  <a:pt x="1550" y="5576"/>
                  <a:pt x="1476" y="5476"/>
                  <a:pt x="1450" y="5476"/>
                </a:cubicBezTo>
                <a:cubicBezTo>
                  <a:pt x="1401" y="5476"/>
                  <a:pt x="1350" y="5476"/>
                  <a:pt x="1325" y="5451"/>
                </a:cubicBezTo>
                <a:cubicBezTo>
                  <a:pt x="1276" y="5426"/>
                  <a:pt x="1250" y="5401"/>
                  <a:pt x="1225" y="5426"/>
                </a:cubicBezTo>
                <a:cubicBezTo>
                  <a:pt x="1201" y="5451"/>
                  <a:pt x="1250" y="5451"/>
                  <a:pt x="1250" y="5476"/>
                </a:cubicBezTo>
                <a:cubicBezTo>
                  <a:pt x="1250" y="5500"/>
                  <a:pt x="1276" y="5500"/>
                  <a:pt x="1301" y="5500"/>
                </a:cubicBezTo>
                <a:cubicBezTo>
                  <a:pt x="1325" y="5500"/>
                  <a:pt x="1325" y="5551"/>
                  <a:pt x="1350" y="5551"/>
                </a:cubicBezTo>
                <a:cubicBezTo>
                  <a:pt x="1376" y="5551"/>
                  <a:pt x="1401" y="5600"/>
                  <a:pt x="1425" y="5600"/>
                </a:cubicBezTo>
                <a:cubicBezTo>
                  <a:pt x="1450" y="5600"/>
                  <a:pt x="1450" y="5626"/>
                  <a:pt x="1476" y="5651"/>
                </a:cubicBezTo>
                <a:cubicBezTo>
                  <a:pt x="1476" y="5676"/>
                  <a:pt x="1526" y="5651"/>
                  <a:pt x="1526" y="5676"/>
                </a:cubicBezTo>
                <a:cubicBezTo>
                  <a:pt x="1526" y="5676"/>
                  <a:pt x="1550" y="5701"/>
                  <a:pt x="1550" y="5726"/>
                </a:cubicBezTo>
                <a:cubicBezTo>
                  <a:pt x="1626" y="5726"/>
                  <a:pt x="1676" y="5726"/>
                  <a:pt x="1701" y="5726"/>
                </a:cubicBezTo>
                <a:cubicBezTo>
                  <a:pt x="1701" y="5701"/>
                  <a:pt x="1726" y="5701"/>
                  <a:pt x="1726" y="5676"/>
                </a:cubicBezTo>
                <a:cubicBezTo>
                  <a:pt x="1726" y="5651"/>
                  <a:pt x="1701" y="5676"/>
                  <a:pt x="1650" y="5651"/>
                </a:cubicBezTo>
                <a:close/>
                <a:moveTo>
                  <a:pt x="1601" y="2325"/>
                </a:moveTo>
                <a:lnTo>
                  <a:pt x="1601" y="2325"/>
                </a:lnTo>
                <a:cubicBezTo>
                  <a:pt x="1676" y="2350"/>
                  <a:pt x="1676" y="2475"/>
                  <a:pt x="1726" y="2475"/>
                </a:cubicBezTo>
                <a:cubicBezTo>
                  <a:pt x="1750" y="2475"/>
                  <a:pt x="1726" y="2450"/>
                  <a:pt x="1776" y="2450"/>
                </a:cubicBezTo>
                <a:cubicBezTo>
                  <a:pt x="1850" y="2450"/>
                  <a:pt x="1826" y="2425"/>
                  <a:pt x="1876" y="2425"/>
                </a:cubicBezTo>
                <a:cubicBezTo>
                  <a:pt x="1926" y="2425"/>
                  <a:pt x="1976" y="2401"/>
                  <a:pt x="1976" y="2350"/>
                </a:cubicBezTo>
                <a:cubicBezTo>
                  <a:pt x="1976" y="2301"/>
                  <a:pt x="2001" y="2275"/>
                  <a:pt x="2050" y="2250"/>
                </a:cubicBezTo>
                <a:cubicBezTo>
                  <a:pt x="2101" y="2250"/>
                  <a:pt x="2050" y="2175"/>
                  <a:pt x="2126" y="2175"/>
                </a:cubicBezTo>
                <a:cubicBezTo>
                  <a:pt x="2201" y="2150"/>
                  <a:pt x="2401" y="2075"/>
                  <a:pt x="2426" y="2050"/>
                </a:cubicBezTo>
                <a:cubicBezTo>
                  <a:pt x="2476" y="2025"/>
                  <a:pt x="2401" y="1975"/>
                  <a:pt x="2326" y="1925"/>
                </a:cubicBezTo>
                <a:cubicBezTo>
                  <a:pt x="2250" y="1901"/>
                  <a:pt x="2176" y="1875"/>
                  <a:pt x="2126" y="1925"/>
                </a:cubicBezTo>
                <a:cubicBezTo>
                  <a:pt x="2076" y="1950"/>
                  <a:pt x="2101" y="1875"/>
                  <a:pt x="2076" y="1901"/>
                </a:cubicBezTo>
                <a:cubicBezTo>
                  <a:pt x="2026" y="1925"/>
                  <a:pt x="1901" y="1850"/>
                  <a:pt x="1876" y="1850"/>
                </a:cubicBezTo>
                <a:cubicBezTo>
                  <a:pt x="1850" y="1825"/>
                  <a:pt x="1626" y="1875"/>
                  <a:pt x="1576" y="1875"/>
                </a:cubicBezTo>
                <a:cubicBezTo>
                  <a:pt x="1526" y="1875"/>
                  <a:pt x="1576" y="1950"/>
                  <a:pt x="1626" y="1975"/>
                </a:cubicBezTo>
                <a:cubicBezTo>
                  <a:pt x="1650" y="2001"/>
                  <a:pt x="1526" y="2101"/>
                  <a:pt x="1550" y="2125"/>
                </a:cubicBezTo>
                <a:cubicBezTo>
                  <a:pt x="1576" y="2125"/>
                  <a:pt x="1526" y="2201"/>
                  <a:pt x="1476" y="2250"/>
                </a:cubicBezTo>
                <a:cubicBezTo>
                  <a:pt x="1425" y="2325"/>
                  <a:pt x="1526" y="2325"/>
                  <a:pt x="1601" y="2325"/>
                </a:cubicBezTo>
                <a:close/>
                <a:moveTo>
                  <a:pt x="3676" y="2675"/>
                </a:moveTo>
                <a:lnTo>
                  <a:pt x="3676" y="2675"/>
                </a:lnTo>
                <a:cubicBezTo>
                  <a:pt x="3701" y="2650"/>
                  <a:pt x="3801" y="2725"/>
                  <a:pt x="3801" y="2675"/>
                </a:cubicBezTo>
                <a:cubicBezTo>
                  <a:pt x="3801" y="2601"/>
                  <a:pt x="3701" y="2575"/>
                  <a:pt x="3651" y="2550"/>
                </a:cubicBezTo>
                <a:cubicBezTo>
                  <a:pt x="3601" y="2525"/>
                  <a:pt x="3576" y="2525"/>
                  <a:pt x="3501" y="2475"/>
                </a:cubicBezTo>
                <a:cubicBezTo>
                  <a:pt x="3401" y="2425"/>
                  <a:pt x="3501" y="2375"/>
                  <a:pt x="3451" y="2350"/>
                </a:cubicBezTo>
                <a:cubicBezTo>
                  <a:pt x="3401" y="2301"/>
                  <a:pt x="3376" y="2175"/>
                  <a:pt x="3426" y="2125"/>
                </a:cubicBezTo>
                <a:cubicBezTo>
                  <a:pt x="3451" y="2075"/>
                  <a:pt x="3501" y="2025"/>
                  <a:pt x="3426" y="2001"/>
                </a:cubicBezTo>
                <a:cubicBezTo>
                  <a:pt x="3351" y="1975"/>
                  <a:pt x="3226" y="2025"/>
                  <a:pt x="3251" y="2025"/>
                </a:cubicBezTo>
                <a:cubicBezTo>
                  <a:pt x="3251" y="2050"/>
                  <a:pt x="3351" y="2101"/>
                  <a:pt x="3351" y="2125"/>
                </a:cubicBezTo>
                <a:cubicBezTo>
                  <a:pt x="3351" y="2150"/>
                  <a:pt x="3276" y="2075"/>
                  <a:pt x="3226" y="2075"/>
                </a:cubicBezTo>
                <a:cubicBezTo>
                  <a:pt x="3201" y="2101"/>
                  <a:pt x="3151" y="2050"/>
                  <a:pt x="3126" y="2075"/>
                </a:cubicBezTo>
                <a:cubicBezTo>
                  <a:pt x="3101" y="2125"/>
                  <a:pt x="3176" y="2275"/>
                  <a:pt x="3201" y="2325"/>
                </a:cubicBezTo>
                <a:cubicBezTo>
                  <a:pt x="3226" y="2350"/>
                  <a:pt x="3176" y="2350"/>
                  <a:pt x="3126" y="2375"/>
                </a:cubicBezTo>
                <a:cubicBezTo>
                  <a:pt x="3101" y="2375"/>
                  <a:pt x="3101" y="2250"/>
                  <a:pt x="3076" y="2201"/>
                </a:cubicBezTo>
                <a:cubicBezTo>
                  <a:pt x="3026" y="2150"/>
                  <a:pt x="2901" y="2101"/>
                  <a:pt x="2901" y="2125"/>
                </a:cubicBezTo>
                <a:cubicBezTo>
                  <a:pt x="2876" y="2175"/>
                  <a:pt x="2976" y="2175"/>
                  <a:pt x="2951" y="2225"/>
                </a:cubicBezTo>
                <a:cubicBezTo>
                  <a:pt x="2951" y="2250"/>
                  <a:pt x="2901" y="2175"/>
                  <a:pt x="2851" y="2225"/>
                </a:cubicBezTo>
                <a:cubicBezTo>
                  <a:pt x="2801" y="2250"/>
                  <a:pt x="2826" y="2225"/>
                  <a:pt x="2826" y="2201"/>
                </a:cubicBezTo>
                <a:cubicBezTo>
                  <a:pt x="2826" y="2150"/>
                  <a:pt x="2751" y="2125"/>
                  <a:pt x="2676" y="2125"/>
                </a:cubicBezTo>
                <a:cubicBezTo>
                  <a:pt x="2601" y="2125"/>
                  <a:pt x="2626" y="2201"/>
                  <a:pt x="2601" y="2225"/>
                </a:cubicBezTo>
                <a:cubicBezTo>
                  <a:pt x="2576" y="2225"/>
                  <a:pt x="2451" y="2201"/>
                  <a:pt x="2551" y="2175"/>
                </a:cubicBezTo>
                <a:cubicBezTo>
                  <a:pt x="2626" y="2175"/>
                  <a:pt x="2576" y="2125"/>
                  <a:pt x="2551" y="2075"/>
                </a:cubicBezTo>
                <a:cubicBezTo>
                  <a:pt x="2526" y="2025"/>
                  <a:pt x="2451" y="2075"/>
                  <a:pt x="2326" y="2125"/>
                </a:cubicBezTo>
                <a:cubicBezTo>
                  <a:pt x="2201" y="2175"/>
                  <a:pt x="2126" y="2225"/>
                  <a:pt x="2150" y="2225"/>
                </a:cubicBezTo>
                <a:cubicBezTo>
                  <a:pt x="2176" y="2225"/>
                  <a:pt x="2176" y="2250"/>
                  <a:pt x="2126" y="2301"/>
                </a:cubicBezTo>
                <a:cubicBezTo>
                  <a:pt x="2076" y="2350"/>
                  <a:pt x="2126" y="2375"/>
                  <a:pt x="2176" y="2375"/>
                </a:cubicBezTo>
                <a:cubicBezTo>
                  <a:pt x="2201" y="2375"/>
                  <a:pt x="2176" y="2401"/>
                  <a:pt x="2201" y="2425"/>
                </a:cubicBezTo>
                <a:cubicBezTo>
                  <a:pt x="2226" y="2425"/>
                  <a:pt x="2376" y="2375"/>
                  <a:pt x="2426" y="2401"/>
                </a:cubicBezTo>
                <a:cubicBezTo>
                  <a:pt x="2476" y="2425"/>
                  <a:pt x="2176" y="2450"/>
                  <a:pt x="2176" y="2501"/>
                </a:cubicBezTo>
                <a:cubicBezTo>
                  <a:pt x="2176" y="2550"/>
                  <a:pt x="2326" y="2575"/>
                  <a:pt x="2451" y="2550"/>
                </a:cubicBezTo>
                <a:cubicBezTo>
                  <a:pt x="2576" y="2525"/>
                  <a:pt x="2776" y="2575"/>
                  <a:pt x="2776" y="2601"/>
                </a:cubicBezTo>
                <a:cubicBezTo>
                  <a:pt x="2776" y="2625"/>
                  <a:pt x="2626" y="2625"/>
                  <a:pt x="2526" y="2601"/>
                </a:cubicBezTo>
                <a:cubicBezTo>
                  <a:pt x="2426" y="2601"/>
                  <a:pt x="2250" y="2650"/>
                  <a:pt x="2250" y="2675"/>
                </a:cubicBezTo>
                <a:cubicBezTo>
                  <a:pt x="2276" y="2701"/>
                  <a:pt x="2276" y="2701"/>
                  <a:pt x="2376" y="2750"/>
                </a:cubicBezTo>
                <a:cubicBezTo>
                  <a:pt x="2501" y="2800"/>
                  <a:pt x="2601" y="2725"/>
                  <a:pt x="2601" y="2800"/>
                </a:cubicBezTo>
                <a:cubicBezTo>
                  <a:pt x="2601" y="2875"/>
                  <a:pt x="2651" y="2900"/>
                  <a:pt x="2801" y="2900"/>
                </a:cubicBezTo>
                <a:cubicBezTo>
                  <a:pt x="2951" y="2900"/>
                  <a:pt x="3026" y="2825"/>
                  <a:pt x="3101" y="2825"/>
                </a:cubicBezTo>
                <a:cubicBezTo>
                  <a:pt x="3151" y="2850"/>
                  <a:pt x="3201" y="2825"/>
                  <a:pt x="3226" y="2775"/>
                </a:cubicBezTo>
                <a:cubicBezTo>
                  <a:pt x="3251" y="2725"/>
                  <a:pt x="3301" y="2750"/>
                  <a:pt x="3301" y="2775"/>
                </a:cubicBezTo>
                <a:cubicBezTo>
                  <a:pt x="3301" y="2800"/>
                  <a:pt x="3401" y="2800"/>
                  <a:pt x="3426" y="2825"/>
                </a:cubicBezTo>
                <a:cubicBezTo>
                  <a:pt x="3476" y="2875"/>
                  <a:pt x="3651" y="2850"/>
                  <a:pt x="3726" y="2825"/>
                </a:cubicBezTo>
                <a:cubicBezTo>
                  <a:pt x="3776" y="2800"/>
                  <a:pt x="3676" y="2701"/>
                  <a:pt x="3651" y="2750"/>
                </a:cubicBezTo>
                <a:cubicBezTo>
                  <a:pt x="3626" y="2775"/>
                  <a:pt x="3601" y="2750"/>
                  <a:pt x="3576" y="2750"/>
                </a:cubicBezTo>
                <a:cubicBezTo>
                  <a:pt x="3576" y="2725"/>
                  <a:pt x="3651" y="2701"/>
                  <a:pt x="3676" y="2675"/>
                </a:cubicBezTo>
                <a:close/>
                <a:moveTo>
                  <a:pt x="2101" y="1650"/>
                </a:moveTo>
                <a:lnTo>
                  <a:pt x="2101" y="1650"/>
                </a:lnTo>
                <a:cubicBezTo>
                  <a:pt x="2176" y="1650"/>
                  <a:pt x="2250" y="1600"/>
                  <a:pt x="2226" y="1550"/>
                </a:cubicBezTo>
                <a:cubicBezTo>
                  <a:pt x="2226" y="1525"/>
                  <a:pt x="2050" y="1650"/>
                  <a:pt x="2101" y="1650"/>
                </a:cubicBezTo>
                <a:close/>
                <a:moveTo>
                  <a:pt x="1750" y="1525"/>
                </a:moveTo>
                <a:lnTo>
                  <a:pt x="1750" y="1525"/>
                </a:lnTo>
                <a:cubicBezTo>
                  <a:pt x="1776" y="1550"/>
                  <a:pt x="1750" y="1600"/>
                  <a:pt x="1776" y="1600"/>
                </a:cubicBezTo>
                <a:cubicBezTo>
                  <a:pt x="1801" y="1575"/>
                  <a:pt x="1826" y="1575"/>
                  <a:pt x="1850" y="1575"/>
                </a:cubicBezTo>
                <a:cubicBezTo>
                  <a:pt x="1901" y="1600"/>
                  <a:pt x="1901" y="1550"/>
                  <a:pt x="1926" y="1525"/>
                </a:cubicBezTo>
                <a:cubicBezTo>
                  <a:pt x="1950" y="1500"/>
                  <a:pt x="1926" y="1600"/>
                  <a:pt x="1976" y="1600"/>
                </a:cubicBezTo>
                <a:cubicBezTo>
                  <a:pt x="2026" y="1600"/>
                  <a:pt x="2026" y="1500"/>
                  <a:pt x="2076" y="1525"/>
                </a:cubicBezTo>
                <a:cubicBezTo>
                  <a:pt x="2101" y="1575"/>
                  <a:pt x="2126" y="1525"/>
                  <a:pt x="2126" y="1500"/>
                </a:cubicBezTo>
                <a:cubicBezTo>
                  <a:pt x="2126" y="1475"/>
                  <a:pt x="2126" y="1425"/>
                  <a:pt x="2176" y="1400"/>
                </a:cubicBezTo>
                <a:cubicBezTo>
                  <a:pt x="2226" y="1400"/>
                  <a:pt x="2201" y="1450"/>
                  <a:pt x="2201" y="1500"/>
                </a:cubicBezTo>
                <a:cubicBezTo>
                  <a:pt x="2250" y="1550"/>
                  <a:pt x="2301" y="1500"/>
                  <a:pt x="2301" y="1475"/>
                </a:cubicBezTo>
                <a:cubicBezTo>
                  <a:pt x="2301" y="1450"/>
                  <a:pt x="2376" y="1450"/>
                  <a:pt x="2376" y="1425"/>
                </a:cubicBezTo>
                <a:cubicBezTo>
                  <a:pt x="2376" y="1400"/>
                  <a:pt x="2401" y="1400"/>
                  <a:pt x="2376" y="1350"/>
                </a:cubicBezTo>
                <a:cubicBezTo>
                  <a:pt x="2350" y="1325"/>
                  <a:pt x="2401" y="1325"/>
                  <a:pt x="2426" y="1300"/>
                </a:cubicBezTo>
                <a:cubicBezTo>
                  <a:pt x="2451" y="1275"/>
                  <a:pt x="2401" y="1300"/>
                  <a:pt x="2350" y="1275"/>
                </a:cubicBezTo>
                <a:cubicBezTo>
                  <a:pt x="2326" y="1225"/>
                  <a:pt x="2301" y="1275"/>
                  <a:pt x="2301" y="1300"/>
                </a:cubicBezTo>
                <a:cubicBezTo>
                  <a:pt x="2301" y="1325"/>
                  <a:pt x="2226" y="1300"/>
                  <a:pt x="2176" y="1300"/>
                </a:cubicBezTo>
                <a:cubicBezTo>
                  <a:pt x="2126" y="1275"/>
                  <a:pt x="2076" y="1350"/>
                  <a:pt x="2001" y="1375"/>
                </a:cubicBezTo>
                <a:cubicBezTo>
                  <a:pt x="1926" y="1425"/>
                  <a:pt x="1926" y="1475"/>
                  <a:pt x="1876" y="1475"/>
                </a:cubicBezTo>
                <a:cubicBezTo>
                  <a:pt x="1801" y="1475"/>
                  <a:pt x="1726" y="1525"/>
                  <a:pt x="1750" y="1525"/>
                </a:cubicBezTo>
                <a:close/>
                <a:moveTo>
                  <a:pt x="2401" y="1525"/>
                </a:moveTo>
                <a:lnTo>
                  <a:pt x="2401" y="1525"/>
                </a:lnTo>
                <a:cubicBezTo>
                  <a:pt x="2326" y="1525"/>
                  <a:pt x="2350" y="1575"/>
                  <a:pt x="2401" y="1575"/>
                </a:cubicBezTo>
                <a:cubicBezTo>
                  <a:pt x="2476" y="1575"/>
                  <a:pt x="2501" y="1600"/>
                  <a:pt x="2401" y="1600"/>
                </a:cubicBezTo>
                <a:cubicBezTo>
                  <a:pt x="2301" y="1600"/>
                  <a:pt x="2250" y="1675"/>
                  <a:pt x="2326" y="1650"/>
                </a:cubicBezTo>
                <a:cubicBezTo>
                  <a:pt x="2401" y="1650"/>
                  <a:pt x="2476" y="1650"/>
                  <a:pt x="2426" y="1650"/>
                </a:cubicBezTo>
                <a:cubicBezTo>
                  <a:pt x="2376" y="1675"/>
                  <a:pt x="2250" y="1675"/>
                  <a:pt x="2250" y="1700"/>
                </a:cubicBezTo>
                <a:cubicBezTo>
                  <a:pt x="2276" y="1725"/>
                  <a:pt x="2326" y="1725"/>
                  <a:pt x="2376" y="1750"/>
                </a:cubicBezTo>
                <a:cubicBezTo>
                  <a:pt x="2426" y="1775"/>
                  <a:pt x="2476" y="1775"/>
                  <a:pt x="2501" y="1725"/>
                </a:cubicBezTo>
                <a:cubicBezTo>
                  <a:pt x="2551" y="1675"/>
                  <a:pt x="2601" y="1650"/>
                  <a:pt x="2576" y="1700"/>
                </a:cubicBezTo>
                <a:cubicBezTo>
                  <a:pt x="2551" y="1775"/>
                  <a:pt x="2651" y="1725"/>
                  <a:pt x="2751" y="1725"/>
                </a:cubicBezTo>
                <a:cubicBezTo>
                  <a:pt x="2876" y="1700"/>
                  <a:pt x="2751" y="1775"/>
                  <a:pt x="2626" y="1801"/>
                </a:cubicBezTo>
                <a:cubicBezTo>
                  <a:pt x="2501" y="1801"/>
                  <a:pt x="2526" y="1850"/>
                  <a:pt x="2626" y="1875"/>
                </a:cubicBezTo>
                <a:cubicBezTo>
                  <a:pt x="2701" y="1901"/>
                  <a:pt x="2901" y="1825"/>
                  <a:pt x="2951" y="1775"/>
                </a:cubicBezTo>
                <a:cubicBezTo>
                  <a:pt x="3001" y="1725"/>
                  <a:pt x="3051" y="1801"/>
                  <a:pt x="3076" y="1775"/>
                </a:cubicBezTo>
                <a:cubicBezTo>
                  <a:pt x="3126" y="1725"/>
                  <a:pt x="3226" y="1775"/>
                  <a:pt x="3301" y="1750"/>
                </a:cubicBezTo>
                <a:cubicBezTo>
                  <a:pt x="3376" y="1725"/>
                  <a:pt x="3401" y="1575"/>
                  <a:pt x="3326" y="1550"/>
                </a:cubicBezTo>
                <a:cubicBezTo>
                  <a:pt x="3276" y="1525"/>
                  <a:pt x="3276" y="1600"/>
                  <a:pt x="3226" y="1600"/>
                </a:cubicBezTo>
                <a:cubicBezTo>
                  <a:pt x="3176" y="1600"/>
                  <a:pt x="3151" y="1550"/>
                  <a:pt x="3126" y="1500"/>
                </a:cubicBezTo>
                <a:cubicBezTo>
                  <a:pt x="3076" y="1475"/>
                  <a:pt x="3101" y="1400"/>
                  <a:pt x="3051" y="1400"/>
                </a:cubicBezTo>
                <a:cubicBezTo>
                  <a:pt x="3001" y="1425"/>
                  <a:pt x="2876" y="1500"/>
                  <a:pt x="2951" y="1525"/>
                </a:cubicBezTo>
                <a:cubicBezTo>
                  <a:pt x="3026" y="1525"/>
                  <a:pt x="3001" y="1550"/>
                  <a:pt x="2951" y="1575"/>
                </a:cubicBezTo>
                <a:cubicBezTo>
                  <a:pt x="2926" y="1600"/>
                  <a:pt x="3051" y="1625"/>
                  <a:pt x="3026" y="1650"/>
                </a:cubicBezTo>
                <a:cubicBezTo>
                  <a:pt x="3026" y="1675"/>
                  <a:pt x="2826" y="1650"/>
                  <a:pt x="2826" y="1600"/>
                </a:cubicBezTo>
                <a:cubicBezTo>
                  <a:pt x="2801" y="1575"/>
                  <a:pt x="2651" y="1500"/>
                  <a:pt x="2601" y="1500"/>
                </a:cubicBezTo>
                <a:cubicBezTo>
                  <a:pt x="2526" y="1525"/>
                  <a:pt x="2551" y="1450"/>
                  <a:pt x="2501" y="1450"/>
                </a:cubicBezTo>
                <a:cubicBezTo>
                  <a:pt x="2426" y="1450"/>
                  <a:pt x="2451" y="1500"/>
                  <a:pt x="2401" y="1525"/>
                </a:cubicBezTo>
                <a:close/>
                <a:moveTo>
                  <a:pt x="2601" y="1225"/>
                </a:moveTo>
                <a:lnTo>
                  <a:pt x="2601" y="1225"/>
                </a:lnTo>
                <a:cubicBezTo>
                  <a:pt x="2626" y="1175"/>
                  <a:pt x="2476" y="1175"/>
                  <a:pt x="2476" y="1200"/>
                </a:cubicBezTo>
                <a:cubicBezTo>
                  <a:pt x="2526" y="1225"/>
                  <a:pt x="2601" y="1275"/>
                  <a:pt x="2601" y="1225"/>
                </a:cubicBezTo>
                <a:close/>
                <a:moveTo>
                  <a:pt x="2951" y="1200"/>
                </a:moveTo>
                <a:lnTo>
                  <a:pt x="2951" y="1200"/>
                </a:lnTo>
                <a:cubicBezTo>
                  <a:pt x="3001" y="1175"/>
                  <a:pt x="2976" y="1150"/>
                  <a:pt x="2901" y="1150"/>
                </a:cubicBezTo>
                <a:cubicBezTo>
                  <a:pt x="2801" y="1175"/>
                  <a:pt x="2651" y="1175"/>
                  <a:pt x="2651" y="1225"/>
                </a:cubicBezTo>
                <a:cubicBezTo>
                  <a:pt x="2651" y="1275"/>
                  <a:pt x="2701" y="1300"/>
                  <a:pt x="2776" y="1325"/>
                </a:cubicBezTo>
                <a:cubicBezTo>
                  <a:pt x="2876" y="1325"/>
                  <a:pt x="2976" y="1225"/>
                  <a:pt x="2926" y="1225"/>
                </a:cubicBezTo>
                <a:cubicBezTo>
                  <a:pt x="2876" y="1225"/>
                  <a:pt x="2901" y="1200"/>
                  <a:pt x="2951" y="1200"/>
                </a:cubicBezTo>
                <a:close/>
                <a:moveTo>
                  <a:pt x="2751" y="1125"/>
                </a:moveTo>
                <a:lnTo>
                  <a:pt x="2751" y="1125"/>
                </a:lnTo>
                <a:cubicBezTo>
                  <a:pt x="2801" y="1125"/>
                  <a:pt x="2826" y="1075"/>
                  <a:pt x="2876" y="1100"/>
                </a:cubicBezTo>
                <a:cubicBezTo>
                  <a:pt x="2901" y="1125"/>
                  <a:pt x="3026" y="1150"/>
                  <a:pt x="3026" y="1075"/>
                </a:cubicBezTo>
                <a:cubicBezTo>
                  <a:pt x="3026" y="1025"/>
                  <a:pt x="2851" y="1000"/>
                  <a:pt x="2826" y="1025"/>
                </a:cubicBezTo>
                <a:cubicBezTo>
                  <a:pt x="2776" y="1050"/>
                  <a:pt x="2576" y="1075"/>
                  <a:pt x="2651" y="1100"/>
                </a:cubicBezTo>
                <a:cubicBezTo>
                  <a:pt x="2676" y="1125"/>
                  <a:pt x="2701" y="1100"/>
                  <a:pt x="2751" y="1125"/>
                </a:cubicBezTo>
                <a:close/>
                <a:moveTo>
                  <a:pt x="3451" y="975"/>
                </a:moveTo>
                <a:lnTo>
                  <a:pt x="3451" y="975"/>
                </a:lnTo>
                <a:cubicBezTo>
                  <a:pt x="3501" y="950"/>
                  <a:pt x="3601" y="1000"/>
                  <a:pt x="3576" y="1050"/>
                </a:cubicBezTo>
                <a:cubicBezTo>
                  <a:pt x="3551" y="1075"/>
                  <a:pt x="3426" y="1025"/>
                  <a:pt x="3426" y="1075"/>
                </a:cubicBezTo>
                <a:cubicBezTo>
                  <a:pt x="3426" y="1075"/>
                  <a:pt x="3451" y="1125"/>
                  <a:pt x="3551" y="1100"/>
                </a:cubicBezTo>
                <a:cubicBezTo>
                  <a:pt x="3651" y="1075"/>
                  <a:pt x="3726" y="1100"/>
                  <a:pt x="3801" y="1150"/>
                </a:cubicBezTo>
                <a:cubicBezTo>
                  <a:pt x="3851" y="1200"/>
                  <a:pt x="3926" y="1225"/>
                  <a:pt x="3976" y="1175"/>
                </a:cubicBezTo>
                <a:cubicBezTo>
                  <a:pt x="4026" y="1125"/>
                  <a:pt x="3901" y="1100"/>
                  <a:pt x="3926" y="1075"/>
                </a:cubicBezTo>
                <a:cubicBezTo>
                  <a:pt x="3951" y="1025"/>
                  <a:pt x="3876" y="1000"/>
                  <a:pt x="3826" y="1000"/>
                </a:cubicBezTo>
                <a:cubicBezTo>
                  <a:pt x="3776" y="1000"/>
                  <a:pt x="3751" y="925"/>
                  <a:pt x="3726" y="925"/>
                </a:cubicBezTo>
                <a:cubicBezTo>
                  <a:pt x="3676" y="950"/>
                  <a:pt x="3651" y="975"/>
                  <a:pt x="3651" y="925"/>
                </a:cubicBezTo>
                <a:cubicBezTo>
                  <a:pt x="3651" y="875"/>
                  <a:pt x="3451" y="875"/>
                  <a:pt x="3376" y="875"/>
                </a:cubicBezTo>
                <a:cubicBezTo>
                  <a:pt x="3326" y="900"/>
                  <a:pt x="3401" y="1025"/>
                  <a:pt x="3451" y="975"/>
                </a:cubicBezTo>
                <a:close/>
                <a:moveTo>
                  <a:pt x="3476" y="1325"/>
                </a:moveTo>
                <a:lnTo>
                  <a:pt x="3476" y="1325"/>
                </a:lnTo>
                <a:cubicBezTo>
                  <a:pt x="3501" y="1300"/>
                  <a:pt x="3351" y="1150"/>
                  <a:pt x="3326" y="1225"/>
                </a:cubicBezTo>
                <a:cubicBezTo>
                  <a:pt x="3326" y="1275"/>
                  <a:pt x="3451" y="1375"/>
                  <a:pt x="3476" y="1325"/>
                </a:cubicBezTo>
                <a:close/>
                <a:moveTo>
                  <a:pt x="4026" y="800"/>
                </a:moveTo>
                <a:lnTo>
                  <a:pt x="4026" y="800"/>
                </a:lnTo>
                <a:cubicBezTo>
                  <a:pt x="4051" y="750"/>
                  <a:pt x="3851" y="700"/>
                  <a:pt x="3901" y="750"/>
                </a:cubicBezTo>
                <a:cubicBezTo>
                  <a:pt x="3926" y="775"/>
                  <a:pt x="4001" y="850"/>
                  <a:pt x="4026" y="800"/>
                </a:cubicBezTo>
                <a:close/>
                <a:moveTo>
                  <a:pt x="3551" y="1725"/>
                </a:moveTo>
                <a:lnTo>
                  <a:pt x="3551" y="1725"/>
                </a:lnTo>
                <a:cubicBezTo>
                  <a:pt x="3576" y="1700"/>
                  <a:pt x="3476" y="1625"/>
                  <a:pt x="3451" y="1700"/>
                </a:cubicBezTo>
                <a:cubicBezTo>
                  <a:pt x="3426" y="1750"/>
                  <a:pt x="3526" y="1775"/>
                  <a:pt x="3551" y="1725"/>
                </a:cubicBezTo>
                <a:close/>
                <a:moveTo>
                  <a:pt x="4026" y="1450"/>
                </a:moveTo>
                <a:lnTo>
                  <a:pt x="4026" y="1450"/>
                </a:lnTo>
                <a:cubicBezTo>
                  <a:pt x="4026" y="1475"/>
                  <a:pt x="3926" y="1425"/>
                  <a:pt x="3851" y="1400"/>
                </a:cubicBezTo>
                <a:cubicBezTo>
                  <a:pt x="3776" y="1375"/>
                  <a:pt x="3826" y="1475"/>
                  <a:pt x="3876" y="1525"/>
                </a:cubicBezTo>
                <a:cubicBezTo>
                  <a:pt x="3926" y="1575"/>
                  <a:pt x="3851" y="1550"/>
                  <a:pt x="3776" y="1475"/>
                </a:cubicBezTo>
                <a:cubicBezTo>
                  <a:pt x="3676" y="1425"/>
                  <a:pt x="3701" y="1525"/>
                  <a:pt x="3726" y="1550"/>
                </a:cubicBezTo>
                <a:cubicBezTo>
                  <a:pt x="3776" y="1575"/>
                  <a:pt x="3726" y="1625"/>
                  <a:pt x="3676" y="1550"/>
                </a:cubicBezTo>
                <a:cubicBezTo>
                  <a:pt x="3626" y="1500"/>
                  <a:pt x="3601" y="1425"/>
                  <a:pt x="3526" y="1425"/>
                </a:cubicBezTo>
                <a:cubicBezTo>
                  <a:pt x="3451" y="1400"/>
                  <a:pt x="3476" y="1500"/>
                  <a:pt x="3501" y="1525"/>
                </a:cubicBezTo>
                <a:cubicBezTo>
                  <a:pt x="3551" y="1575"/>
                  <a:pt x="3601" y="1600"/>
                  <a:pt x="3651" y="1625"/>
                </a:cubicBezTo>
                <a:cubicBezTo>
                  <a:pt x="3726" y="1675"/>
                  <a:pt x="3826" y="1625"/>
                  <a:pt x="3876" y="1625"/>
                </a:cubicBezTo>
                <a:cubicBezTo>
                  <a:pt x="3926" y="1650"/>
                  <a:pt x="3826" y="1700"/>
                  <a:pt x="3851" y="1750"/>
                </a:cubicBezTo>
                <a:cubicBezTo>
                  <a:pt x="3901" y="1801"/>
                  <a:pt x="3976" y="1750"/>
                  <a:pt x="4051" y="1750"/>
                </a:cubicBezTo>
                <a:cubicBezTo>
                  <a:pt x="4126" y="1750"/>
                  <a:pt x="4101" y="1700"/>
                  <a:pt x="4126" y="1675"/>
                </a:cubicBezTo>
                <a:cubicBezTo>
                  <a:pt x="4177" y="1650"/>
                  <a:pt x="4101" y="1650"/>
                  <a:pt x="4126" y="1575"/>
                </a:cubicBezTo>
                <a:cubicBezTo>
                  <a:pt x="4151" y="1525"/>
                  <a:pt x="4026" y="1400"/>
                  <a:pt x="4026" y="1450"/>
                </a:cubicBezTo>
                <a:close/>
                <a:moveTo>
                  <a:pt x="4201" y="1200"/>
                </a:moveTo>
                <a:lnTo>
                  <a:pt x="4201" y="1200"/>
                </a:lnTo>
                <a:cubicBezTo>
                  <a:pt x="4251" y="1200"/>
                  <a:pt x="4301" y="1200"/>
                  <a:pt x="4351" y="1175"/>
                </a:cubicBezTo>
                <a:cubicBezTo>
                  <a:pt x="4426" y="1150"/>
                  <a:pt x="4326" y="1150"/>
                  <a:pt x="4377" y="1100"/>
                </a:cubicBezTo>
                <a:cubicBezTo>
                  <a:pt x="4401" y="1050"/>
                  <a:pt x="4277" y="1050"/>
                  <a:pt x="4277" y="1050"/>
                </a:cubicBezTo>
                <a:cubicBezTo>
                  <a:pt x="4251" y="1075"/>
                  <a:pt x="4101" y="950"/>
                  <a:pt x="4076" y="1000"/>
                </a:cubicBezTo>
                <a:cubicBezTo>
                  <a:pt x="4051" y="1025"/>
                  <a:pt x="4126" y="1200"/>
                  <a:pt x="4201" y="1200"/>
                </a:cubicBezTo>
                <a:close/>
                <a:moveTo>
                  <a:pt x="4526" y="1225"/>
                </a:moveTo>
                <a:lnTo>
                  <a:pt x="4526" y="1225"/>
                </a:lnTo>
                <a:cubicBezTo>
                  <a:pt x="4526" y="1200"/>
                  <a:pt x="4201" y="1225"/>
                  <a:pt x="4251" y="1275"/>
                </a:cubicBezTo>
                <a:cubicBezTo>
                  <a:pt x="4351" y="1325"/>
                  <a:pt x="4551" y="1250"/>
                  <a:pt x="4526" y="1225"/>
                </a:cubicBezTo>
                <a:close/>
                <a:moveTo>
                  <a:pt x="4477" y="1825"/>
                </a:moveTo>
                <a:lnTo>
                  <a:pt x="4477" y="1825"/>
                </a:lnTo>
                <a:cubicBezTo>
                  <a:pt x="4551" y="1825"/>
                  <a:pt x="4526" y="1725"/>
                  <a:pt x="4451" y="1675"/>
                </a:cubicBezTo>
                <a:cubicBezTo>
                  <a:pt x="4351" y="1600"/>
                  <a:pt x="4177" y="1725"/>
                  <a:pt x="4201" y="1750"/>
                </a:cubicBezTo>
                <a:cubicBezTo>
                  <a:pt x="4251" y="1801"/>
                  <a:pt x="4401" y="1825"/>
                  <a:pt x="4477" y="1825"/>
                </a:cubicBezTo>
                <a:close/>
                <a:moveTo>
                  <a:pt x="3951" y="2401"/>
                </a:moveTo>
                <a:lnTo>
                  <a:pt x="3951" y="2401"/>
                </a:lnTo>
                <a:cubicBezTo>
                  <a:pt x="4051" y="2475"/>
                  <a:pt x="4026" y="2350"/>
                  <a:pt x="4126" y="2375"/>
                </a:cubicBezTo>
                <a:cubicBezTo>
                  <a:pt x="4226" y="2375"/>
                  <a:pt x="4226" y="2201"/>
                  <a:pt x="4251" y="2125"/>
                </a:cubicBezTo>
                <a:cubicBezTo>
                  <a:pt x="4251" y="2075"/>
                  <a:pt x="4151" y="2075"/>
                  <a:pt x="4177" y="2125"/>
                </a:cubicBezTo>
                <a:cubicBezTo>
                  <a:pt x="4201" y="2175"/>
                  <a:pt x="4177" y="2225"/>
                  <a:pt x="4177" y="2150"/>
                </a:cubicBezTo>
                <a:cubicBezTo>
                  <a:pt x="4177" y="2101"/>
                  <a:pt x="4076" y="2150"/>
                  <a:pt x="4051" y="2125"/>
                </a:cubicBezTo>
                <a:cubicBezTo>
                  <a:pt x="4026" y="2075"/>
                  <a:pt x="4151" y="2075"/>
                  <a:pt x="4177" y="2025"/>
                </a:cubicBezTo>
                <a:cubicBezTo>
                  <a:pt x="4201" y="1950"/>
                  <a:pt x="4076" y="1975"/>
                  <a:pt x="4101" y="1925"/>
                </a:cubicBezTo>
                <a:cubicBezTo>
                  <a:pt x="4151" y="1875"/>
                  <a:pt x="3926" y="1925"/>
                  <a:pt x="4001" y="1950"/>
                </a:cubicBezTo>
                <a:cubicBezTo>
                  <a:pt x="4051" y="1975"/>
                  <a:pt x="4001" y="2025"/>
                  <a:pt x="3926" y="1975"/>
                </a:cubicBezTo>
                <a:cubicBezTo>
                  <a:pt x="3876" y="1925"/>
                  <a:pt x="3726" y="2001"/>
                  <a:pt x="3776" y="2050"/>
                </a:cubicBezTo>
                <a:cubicBezTo>
                  <a:pt x="3826" y="2075"/>
                  <a:pt x="3951" y="2025"/>
                  <a:pt x="3876" y="2125"/>
                </a:cubicBezTo>
                <a:cubicBezTo>
                  <a:pt x="3801" y="2250"/>
                  <a:pt x="3776" y="2101"/>
                  <a:pt x="3701" y="2125"/>
                </a:cubicBezTo>
                <a:cubicBezTo>
                  <a:pt x="3626" y="2125"/>
                  <a:pt x="3651" y="2225"/>
                  <a:pt x="3751" y="2250"/>
                </a:cubicBezTo>
                <a:cubicBezTo>
                  <a:pt x="3876" y="2275"/>
                  <a:pt x="3851" y="2350"/>
                  <a:pt x="3951" y="2401"/>
                </a:cubicBezTo>
                <a:close/>
                <a:moveTo>
                  <a:pt x="4626" y="1750"/>
                </a:moveTo>
                <a:lnTo>
                  <a:pt x="4626" y="1750"/>
                </a:lnTo>
                <a:cubicBezTo>
                  <a:pt x="4651" y="1825"/>
                  <a:pt x="4701" y="1775"/>
                  <a:pt x="4751" y="1801"/>
                </a:cubicBezTo>
                <a:cubicBezTo>
                  <a:pt x="4777" y="1825"/>
                  <a:pt x="4851" y="1850"/>
                  <a:pt x="4901" y="1825"/>
                </a:cubicBezTo>
                <a:cubicBezTo>
                  <a:pt x="4926" y="1801"/>
                  <a:pt x="4951" y="1775"/>
                  <a:pt x="4951" y="1801"/>
                </a:cubicBezTo>
                <a:cubicBezTo>
                  <a:pt x="4977" y="1850"/>
                  <a:pt x="5077" y="1850"/>
                  <a:pt x="5277" y="1850"/>
                </a:cubicBezTo>
                <a:cubicBezTo>
                  <a:pt x="5477" y="1850"/>
                  <a:pt x="5426" y="1775"/>
                  <a:pt x="5477" y="1801"/>
                </a:cubicBezTo>
                <a:cubicBezTo>
                  <a:pt x="5551" y="1825"/>
                  <a:pt x="5677" y="1825"/>
                  <a:pt x="5726" y="1825"/>
                </a:cubicBezTo>
                <a:cubicBezTo>
                  <a:pt x="5802" y="1801"/>
                  <a:pt x="5826" y="1725"/>
                  <a:pt x="5826" y="1675"/>
                </a:cubicBezTo>
                <a:cubicBezTo>
                  <a:pt x="5802" y="1625"/>
                  <a:pt x="5377" y="1600"/>
                  <a:pt x="5277" y="1625"/>
                </a:cubicBezTo>
                <a:cubicBezTo>
                  <a:pt x="5202" y="1675"/>
                  <a:pt x="5077" y="1625"/>
                  <a:pt x="5026" y="1650"/>
                </a:cubicBezTo>
                <a:cubicBezTo>
                  <a:pt x="4951" y="1675"/>
                  <a:pt x="4977" y="1600"/>
                  <a:pt x="4877" y="1600"/>
                </a:cubicBezTo>
                <a:cubicBezTo>
                  <a:pt x="4751" y="1600"/>
                  <a:pt x="4877" y="1550"/>
                  <a:pt x="4901" y="1525"/>
                </a:cubicBezTo>
                <a:cubicBezTo>
                  <a:pt x="4926" y="1500"/>
                  <a:pt x="4726" y="1425"/>
                  <a:pt x="4651" y="1450"/>
                </a:cubicBezTo>
                <a:cubicBezTo>
                  <a:pt x="4577" y="1450"/>
                  <a:pt x="4526" y="1425"/>
                  <a:pt x="4451" y="1375"/>
                </a:cubicBezTo>
                <a:cubicBezTo>
                  <a:pt x="4377" y="1350"/>
                  <a:pt x="4177" y="1350"/>
                  <a:pt x="4201" y="1425"/>
                </a:cubicBezTo>
                <a:cubicBezTo>
                  <a:pt x="4226" y="1450"/>
                  <a:pt x="4477" y="1550"/>
                  <a:pt x="4501" y="1500"/>
                </a:cubicBezTo>
                <a:cubicBezTo>
                  <a:pt x="4526" y="1450"/>
                  <a:pt x="4601" y="1550"/>
                  <a:pt x="4626" y="1600"/>
                </a:cubicBezTo>
                <a:cubicBezTo>
                  <a:pt x="4677" y="1650"/>
                  <a:pt x="4601" y="1650"/>
                  <a:pt x="4626" y="1750"/>
                </a:cubicBezTo>
                <a:close/>
                <a:moveTo>
                  <a:pt x="4851" y="1250"/>
                </a:moveTo>
                <a:lnTo>
                  <a:pt x="4851" y="1250"/>
                </a:lnTo>
                <a:cubicBezTo>
                  <a:pt x="4777" y="1225"/>
                  <a:pt x="4677" y="1300"/>
                  <a:pt x="4751" y="1325"/>
                </a:cubicBezTo>
                <a:cubicBezTo>
                  <a:pt x="4826" y="1350"/>
                  <a:pt x="4926" y="1300"/>
                  <a:pt x="4851" y="1250"/>
                </a:cubicBezTo>
                <a:close/>
                <a:moveTo>
                  <a:pt x="4251" y="775"/>
                </a:moveTo>
                <a:lnTo>
                  <a:pt x="4251" y="775"/>
                </a:lnTo>
                <a:cubicBezTo>
                  <a:pt x="4301" y="825"/>
                  <a:pt x="4277" y="850"/>
                  <a:pt x="4326" y="875"/>
                </a:cubicBezTo>
                <a:cubicBezTo>
                  <a:pt x="4401" y="925"/>
                  <a:pt x="4601" y="850"/>
                  <a:pt x="4601" y="900"/>
                </a:cubicBezTo>
                <a:cubicBezTo>
                  <a:pt x="4626" y="950"/>
                  <a:pt x="4426" y="950"/>
                  <a:pt x="4451" y="975"/>
                </a:cubicBezTo>
                <a:cubicBezTo>
                  <a:pt x="4477" y="1000"/>
                  <a:pt x="4601" y="1050"/>
                  <a:pt x="4577" y="1075"/>
                </a:cubicBezTo>
                <a:cubicBezTo>
                  <a:pt x="4551" y="1100"/>
                  <a:pt x="4777" y="1175"/>
                  <a:pt x="4801" y="1125"/>
                </a:cubicBezTo>
                <a:cubicBezTo>
                  <a:pt x="4826" y="1100"/>
                  <a:pt x="4877" y="1100"/>
                  <a:pt x="4926" y="1125"/>
                </a:cubicBezTo>
                <a:cubicBezTo>
                  <a:pt x="4977" y="1150"/>
                  <a:pt x="5001" y="1000"/>
                  <a:pt x="5026" y="1025"/>
                </a:cubicBezTo>
                <a:cubicBezTo>
                  <a:pt x="5077" y="1050"/>
                  <a:pt x="5051" y="975"/>
                  <a:pt x="5126" y="950"/>
                </a:cubicBezTo>
                <a:cubicBezTo>
                  <a:pt x="5177" y="925"/>
                  <a:pt x="5277" y="925"/>
                  <a:pt x="5277" y="900"/>
                </a:cubicBezTo>
                <a:cubicBezTo>
                  <a:pt x="5277" y="875"/>
                  <a:pt x="5277" y="850"/>
                  <a:pt x="5202" y="850"/>
                </a:cubicBezTo>
                <a:cubicBezTo>
                  <a:pt x="5126" y="850"/>
                  <a:pt x="5077" y="825"/>
                  <a:pt x="5102" y="800"/>
                </a:cubicBezTo>
                <a:cubicBezTo>
                  <a:pt x="5126" y="750"/>
                  <a:pt x="5026" y="725"/>
                  <a:pt x="5051" y="700"/>
                </a:cubicBezTo>
                <a:cubicBezTo>
                  <a:pt x="5102" y="675"/>
                  <a:pt x="4977" y="625"/>
                  <a:pt x="5001" y="675"/>
                </a:cubicBezTo>
                <a:cubicBezTo>
                  <a:pt x="5001" y="725"/>
                  <a:pt x="4926" y="700"/>
                  <a:pt x="4901" y="650"/>
                </a:cubicBezTo>
                <a:cubicBezTo>
                  <a:pt x="4901" y="600"/>
                  <a:pt x="4726" y="575"/>
                  <a:pt x="4601" y="475"/>
                </a:cubicBezTo>
                <a:cubicBezTo>
                  <a:pt x="4501" y="375"/>
                  <a:pt x="4377" y="450"/>
                  <a:pt x="4451" y="450"/>
                </a:cubicBezTo>
                <a:cubicBezTo>
                  <a:pt x="4501" y="475"/>
                  <a:pt x="4501" y="500"/>
                  <a:pt x="4451" y="500"/>
                </a:cubicBezTo>
                <a:cubicBezTo>
                  <a:pt x="4401" y="500"/>
                  <a:pt x="4301" y="500"/>
                  <a:pt x="4401" y="550"/>
                </a:cubicBezTo>
                <a:cubicBezTo>
                  <a:pt x="4477" y="575"/>
                  <a:pt x="4377" y="575"/>
                  <a:pt x="4301" y="575"/>
                </a:cubicBezTo>
                <a:cubicBezTo>
                  <a:pt x="4251" y="575"/>
                  <a:pt x="4226" y="675"/>
                  <a:pt x="4326" y="700"/>
                </a:cubicBezTo>
                <a:cubicBezTo>
                  <a:pt x="4426" y="700"/>
                  <a:pt x="4351" y="750"/>
                  <a:pt x="4277" y="725"/>
                </a:cubicBezTo>
                <a:cubicBezTo>
                  <a:pt x="4201" y="725"/>
                  <a:pt x="4177" y="750"/>
                  <a:pt x="4251" y="775"/>
                </a:cubicBezTo>
                <a:close/>
                <a:moveTo>
                  <a:pt x="4751" y="375"/>
                </a:moveTo>
                <a:lnTo>
                  <a:pt x="4751" y="375"/>
                </a:lnTo>
                <a:cubicBezTo>
                  <a:pt x="4801" y="325"/>
                  <a:pt x="4851" y="350"/>
                  <a:pt x="4801" y="375"/>
                </a:cubicBezTo>
                <a:cubicBezTo>
                  <a:pt x="4751" y="400"/>
                  <a:pt x="4777" y="425"/>
                  <a:pt x="4851" y="425"/>
                </a:cubicBezTo>
                <a:cubicBezTo>
                  <a:pt x="4901" y="425"/>
                  <a:pt x="4801" y="450"/>
                  <a:pt x="4801" y="475"/>
                </a:cubicBezTo>
                <a:cubicBezTo>
                  <a:pt x="4801" y="525"/>
                  <a:pt x="4901" y="500"/>
                  <a:pt x="4901" y="550"/>
                </a:cubicBezTo>
                <a:cubicBezTo>
                  <a:pt x="4901" y="575"/>
                  <a:pt x="5077" y="600"/>
                  <a:pt x="5126" y="550"/>
                </a:cubicBezTo>
                <a:cubicBezTo>
                  <a:pt x="5202" y="500"/>
                  <a:pt x="5177" y="575"/>
                  <a:pt x="5177" y="600"/>
                </a:cubicBezTo>
                <a:cubicBezTo>
                  <a:pt x="5151" y="625"/>
                  <a:pt x="5426" y="650"/>
                  <a:pt x="5426" y="625"/>
                </a:cubicBezTo>
                <a:cubicBezTo>
                  <a:pt x="5451" y="575"/>
                  <a:pt x="5477" y="600"/>
                  <a:pt x="5526" y="600"/>
                </a:cubicBezTo>
                <a:cubicBezTo>
                  <a:pt x="5577" y="625"/>
                  <a:pt x="5826" y="550"/>
                  <a:pt x="5826" y="500"/>
                </a:cubicBezTo>
                <a:cubicBezTo>
                  <a:pt x="5826" y="450"/>
                  <a:pt x="5902" y="525"/>
                  <a:pt x="5826" y="600"/>
                </a:cubicBezTo>
                <a:cubicBezTo>
                  <a:pt x="5751" y="650"/>
                  <a:pt x="5602" y="625"/>
                  <a:pt x="5526" y="650"/>
                </a:cubicBezTo>
                <a:cubicBezTo>
                  <a:pt x="5451" y="675"/>
                  <a:pt x="5577" y="725"/>
                  <a:pt x="5651" y="775"/>
                </a:cubicBezTo>
                <a:cubicBezTo>
                  <a:pt x="5702" y="825"/>
                  <a:pt x="5551" y="800"/>
                  <a:pt x="5477" y="725"/>
                </a:cubicBezTo>
                <a:cubicBezTo>
                  <a:pt x="5426" y="675"/>
                  <a:pt x="5277" y="675"/>
                  <a:pt x="5177" y="675"/>
                </a:cubicBezTo>
                <a:cubicBezTo>
                  <a:pt x="5102" y="675"/>
                  <a:pt x="5126" y="825"/>
                  <a:pt x="5202" y="825"/>
                </a:cubicBezTo>
                <a:cubicBezTo>
                  <a:pt x="5251" y="825"/>
                  <a:pt x="5302" y="850"/>
                  <a:pt x="5377" y="925"/>
                </a:cubicBezTo>
                <a:cubicBezTo>
                  <a:pt x="5426" y="1025"/>
                  <a:pt x="5551" y="1000"/>
                  <a:pt x="5551" y="1050"/>
                </a:cubicBezTo>
                <a:cubicBezTo>
                  <a:pt x="5551" y="1075"/>
                  <a:pt x="5377" y="1000"/>
                  <a:pt x="5302" y="1000"/>
                </a:cubicBezTo>
                <a:cubicBezTo>
                  <a:pt x="5202" y="975"/>
                  <a:pt x="5051" y="1025"/>
                  <a:pt x="5051" y="1100"/>
                </a:cubicBezTo>
                <a:cubicBezTo>
                  <a:pt x="5051" y="1175"/>
                  <a:pt x="5177" y="1150"/>
                  <a:pt x="5277" y="1100"/>
                </a:cubicBezTo>
                <a:cubicBezTo>
                  <a:pt x="5377" y="1050"/>
                  <a:pt x="5302" y="1125"/>
                  <a:pt x="5251" y="1175"/>
                </a:cubicBezTo>
                <a:cubicBezTo>
                  <a:pt x="5202" y="1200"/>
                  <a:pt x="5377" y="1250"/>
                  <a:pt x="5377" y="1300"/>
                </a:cubicBezTo>
                <a:cubicBezTo>
                  <a:pt x="5377" y="1350"/>
                  <a:pt x="5251" y="1325"/>
                  <a:pt x="5251" y="1275"/>
                </a:cubicBezTo>
                <a:cubicBezTo>
                  <a:pt x="5226" y="1225"/>
                  <a:pt x="5177" y="1175"/>
                  <a:pt x="5077" y="1200"/>
                </a:cubicBezTo>
                <a:cubicBezTo>
                  <a:pt x="4977" y="1200"/>
                  <a:pt x="5001" y="1275"/>
                  <a:pt x="5077" y="1275"/>
                </a:cubicBezTo>
                <a:cubicBezTo>
                  <a:pt x="5126" y="1300"/>
                  <a:pt x="5126" y="1350"/>
                  <a:pt x="5051" y="1350"/>
                </a:cubicBezTo>
                <a:cubicBezTo>
                  <a:pt x="4977" y="1350"/>
                  <a:pt x="4826" y="1400"/>
                  <a:pt x="4877" y="1450"/>
                </a:cubicBezTo>
                <a:cubicBezTo>
                  <a:pt x="4926" y="1500"/>
                  <a:pt x="5151" y="1450"/>
                  <a:pt x="5177" y="1475"/>
                </a:cubicBezTo>
                <a:cubicBezTo>
                  <a:pt x="5226" y="1500"/>
                  <a:pt x="5326" y="1525"/>
                  <a:pt x="5351" y="1475"/>
                </a:cubicBezTo>
                <a:cubicBezTo>
                  <a:pt x="5377" y="1450"/>
                  <a:pt x="5451" y="1450"/>
                  <a:pt x="5526" y="1450"/>
                </a:cubicBezTo>
                <a:cubicBezTo>
                  <a:pt x="5626" y="1450"/>
                  <a:pt x="5651" y="1475"/>
                  <a:pt x="5677" y="1500"/>
                </a:cubicBezTo>
                <a:cubicBezTo>
                  <a:pt x="5726" y="1550"/>
                  <a:pt x="5777" y="1525"/>
                  <a:pt x="5826" y="1500"/>
                </a:cubicBezTo>
                <a:cubicBezTo>
                  <a:pt x="5877" y="1450"/>
                  <a:pt x="5877" y="1450"/>
                  <a:pt x="5926" y="1450"/>
                </a:cubicBezTo>
                <a:cubicBezTo>
                  <a:pt x="6002" y="1450"/>
                  <a:pt x="6002" y="1425"/>
                  <a:pt x="5977" y="1375"/>
                </a:cubicBezTo>
                <a:cubicBezTo>
                  <a:pt x="5951" y="1325"/>
                  <a:pt x="5877" y="1400"/>
                  <a:pt x="5851" y="1375"/>
                </a:cubicBezTo>
                <a:cubicBezTo>
                  <a:pt x="5851" y="1325"/>
                  <a:pt x="5777" y="1325"/>
                  <a:pt x="5677" y="1350"/>
                </a:cubicBezTo>
                <a:cubicBezTo>
                  <a:pt x="5551" y="1350"/>
                  <a:pt x="5602" y="1275"/>
                  <a:pt x="5677" y="1275"/>
                </a:cubicBezTo>
                <a:cubicBezTo>
                  <a:pt x="5751" y="1300"/>
                  <a:pt x="5826" y="1300"/>
                  <a:pt x="5926" y="1275"/>
                </a:cubicBezTo>
                <a:cubicBezTo>
                  <a:pt x="6002" y="1250"/>
                  <a:pt x="5926" y="1225"/>
                  <a:pt x="5926" y="1175"/>
                </a:cubicBezTo>
                <a:cubicBezTo>
                  <a:pt x="5926" y="1150"/>
                  <a:pt x="6027" y="1175"/>
                  <a:pt x="6102" y="1175"/>
                </a:cubicBezTo>
                <a:cubicBezTo>
                  <a:pt x="6177" y="1175"/>
                  <a:pt x="6302" y="1050"/>
                  <a:pt x="6302" y="975"/>
                </a:cubicBezTo>
                <a:cubicBezTo>
                  <a:pt x="6302" y="900"/>
                  <a:pt x="6127" y="925"/>
                  <a:pt x="6051" y="925"/>
                </a:cubicBezTo>
                <a:cubicBezTo>
                  <a:pt x="5951" y="925"/>
                  <a:pt x="6102" y="875"/>
                  <a:pt x="6251" y="875"/>
                </a:cubicBezTo>
                <a:cubicBezTo>
                  <a:pt x="6427" y="875"/>
                  <a:pt x="6351" y="800"/>
                  <a:pt x="6377" y="775"/>
                </a:cubicBezTo>
                <a:cubicBezTo>
                  <a:pt x="6402" y="750"/>
                  <a:pt x="6477" y="825"/>
                  <a:pt x="6551" y="800"/>
                </a:cubicBezTo>
                <a:cubicBezTo>
                  <a:pt x="6627" y="775"/>
                  <a:pt x="6577" y="725"/>
                  <a:pt x="6627" y="725"/>
                </a:cubicBezTo>
                <a:cubicBezTo>
                  <a:pt x="6677" y="725"/>
                  <a:pt x="6751" y="650"/>
                  <a:pt x="6927" y="550"/>
                </a:cubicBezTo>
                <a:cubicBezTo>
                  <a:pt x="7102" y="475"/>
                  <a:pt x="7227" y="475"/>
                  <a:pt x="7252" y="425"/>
                </a:cubicBezTo>
                <a:cubicBezTo>
                  <a:pt x="7252" y="375"/>
                  <a:pt x="7002" y="425"/>
                  <a:pt x="6977" y="400"/>
                </a:cubicBezTo>
                <a:cubicBezTo>
                  <a:pt x="6927" y="400"/>
                  <a:pt x="7127" y="350"/>
                  <a:pt x="7177" y="350"/>
                </a:cubicBezTo>
                <a:cubicBezTo>
                  <a:pt x="7227" y="375"/>
                  <a:pt x="7302" y="350"/>
                  <a:pt x="7477" y="275"/>
                </a:cubicBezTo>
                <a:cubicBezTo>
                  <a:pt x="7652" y="200"/>
                  <a:pt x="7577" y="175"/>
                  <a:pt x="7502" y="175"/>
                </a:cubicBezTo>
                <a:cubicBezTo>
                  <a:pt x="7427" y="200"/>
                  <a:pt x="7352" y="175"/>
                  <a:pt x="7352" y="125"/>
                </a:cubicBezTo>
                <a:cubicBezTo>
                  <a:pt x="7352" y="75"/>
                  <a:pt x="7252" y="125"/>
                  <a:pt x="7252" y="99"/>
                </a:cubicBezTo>
                <a:cubicBezTo>
                  <a:pt x="7252" y="75"/>
                  <a:pt x="7152" y="75"/>
                  <a:pt x="7027" y="125"/>
                </a:cubicBezTo>
                <a:cubicBezTo>
                  <a:pt x="6927" y="175"/>
                  <a:pt x="7027" y="75"/>
                  <a:pt x="7077" y="75"/>
                </a:cubicBezTo>
                <a:cubicBezTo>
                  <a:pt x="7127" y="50"/>
                  <a:pt x="6802" y="75"/>
                  <a:pt x="6751" y="25"/>
                </a:cubicBezTo>
                <a:cubicBezTo>
                  <a:pt x="6677" y="0"/>
                  <a:pt x="6627" y="99"/>
                  <a:pt x="6577" y="50"/>
                </a:cubicBezTo>
                <a:cubicBezTo>
                  <a:pt x="6527" y="0"/>
                  <a:pt x="6402" y="25"/>
                  <a:pt x="6402" y="75"/>
                </a:cubicBezTo>
                <a:cubicBezTo>
                  <a:pt x="6427" y="99"/>
                  <a:pt x="6402" y="99"/>
                  <a:pt x="6351" y="75"/>
                </a:cubicBezTo>
                <a:cubicBezTo>
                  <a:pt x="6302" y="25"/>
                  <a:pt x="6202" y="75"/>
                  <a:pt x="6102" y="50"/>
                </a:cubicBezTo>
                <a:cubicBezTo>
                  <a:pt x="6027" y="50"/>
                  <a:pt x="6051" y="125"/>
                  <a:pt x="5951" y="99"/>
                </a:cubicBezTo>
                <a:cubicBezTo>
                  <a:pt x="5877" y="50"/>
                  <a:pt x="5751" y="75"/>
                  <a:pt x="5802" y="75"/>
                </a:cubicBezTo>
                <a:cubicBezTo>
                  <a:pt x="5826" y="99"/>
                  <a:pt x="5777" y="125"/>
                  <a:pt x="5751" y="99"/>
                </a:cubicBezTo>
                <a:cubicBezTo>
                  <a:pt x="5702" y="99"/>
                  <a:pt x="5651" y="99"/>
                  <a:pt x="5677" y="150"/>
                </a:cubicBezTo>
                <a:cubicBezTo>
                  <a:pt x="5702" y="200"/>
                  <a:pt x="5526" y="150"/>
                  <a:pt x="5526" y="175"/>
                </a:cubicBezTo>
                <a:cubicBezTo>
                  <a:pt x="5526" y="225"/>
                  <a:pt x="5477" y="250"/>
                  <a:pt x="5426" y="225"/>
                </a:cubicBezTo>
                <a:cubicBezTo>
                  <a:pt x="5377" y="175"/>
                  <a:pt x="5202" y="150"/>
                  <a:pt x="5251" y="200"/>
                </a:cubicBezTo>
                <a:cubicBezTo>
                  <a:pt x="5302" y="225"/>
                  <a:pt x="5102" y="225"/>
                  <a:pt x="5151" y="250"/>
                </a:cubicBezTo>
                <a:cubicBezTo>
                  <a:pt x="5202" y="300"/>
                  <a:pt x="5102" y="325"/>
                  <a:pt x="5102" y="300"/>
                </a:cubicBezTo>
                <a:cubicBezTo>
                  <a:pt x="5102" y="275"/>
                  <a:pt x="5001" y="250"/>
                  <a:pt x="4951" y="275"/>
                </a:cubicBezTo>
                <a:cubicBezTo>
                  <a:pt x="4901" y="325"/>
                  <a:pt x="4901" y="350"/>
                  <a:pt x="4877" y="325"/>
                </a:cubicBezTo>
                <a:cubicBezTo>
                  <a:pt x="4851" y="300"/>
                  <a:pt x="4777" y="325"/>
                  <a:pt x="4677" y="350"/>
                </a:cubicBezTo>
                <a:cubicBezTo>
                  <a:pt x="4601" y="375"/>
                  <a:pt x="4701" y="400"/>
                  <a:pt x="4751" y="375"/>
                </a:cubicBezTo>
                <a:close/>
                <a:moveTo>
                  <a:pt x="5802" y="3975"/>
                </a:moveTo>
                <a:lnTo>
                  <a:pt x="5802" y="3975"/>
                </a:lnTo>
                <a:cubicBezTo>
                  <a:pt x="5826" y="3975"/>
                  <a:pt x="5877" y="3850"/>
                  <a:pt x="5802" y="3875"/>
                </a:cubicBezTo>
                <a:cubicBezTo>
                  <a:pt x="5726" y="3875"/>
                  <a:pt x="5751" y="3975"/>
                  <a:pt x="5802" y="3975"/>
                </a:cubicBezTo>
                <a:close/>
                <a:moveTo>
                  <a:pt x="5426" y="3875"/>
                </a:moveTo>
                <a:lnTo>
                  <a:pt x="5426" y="3875"/>
                </a:lnTo>
                <a:cubicBezTo>
                  <a:pt x="5502" y="3926"/>
                  <a:pt x="5602" y="3801"/>
                  <a:pt x="5602" y="3775"/>
                </a:cubicBezTo>
                <a:cubicBezTo>
                  <a:pt x="5577" y="3750"/>
                  <a:pt x="5351" y="3826"/>
                  <a:pt x="5426" y="3875"/>
                </a:cubicBezTo>
                <a:close/>
                <a:moveTo>
                  <a:pt x="5726" y="3650"/>
                </a:moveTo>
                <a:lnTo>
                  <a:pt x="5726" y="3650"/>
                </a:lnTo>
                <a:cubicBezTo>
                  <a:pt x="5751" y="3601"/>
                  <a:pt x="5602" y="3601"/>
                  <a:pt x="5602" y="3550"/>
                </a:cubicBezTo>
                <a:cubicBezTo>
                  <a:pt x="5602" y="3501"/>
                  <a:pt x="5477" y="3450"/>
                  <a:pt x="5426" y="3426"/>
                </a:cubicBezTo>
                <a:cubicBezTo>
                  <a:pt x="5377" y="3401"/>
                  <a:pt x="5302" y="3401"/>
                  <a:pt x="5302" y="3350"/>
                </a:cubicBezTo>
                <a:cubicBezTo>
                  <a:pt x="5302" y="3301"/>
                  <a:pt x="5202" y="3326"/>
                  <a:pt x="5202" y="3401"/>
                </a:cubicBezTo>
                <a:cubicBezTo>
                  <a:pt x="5202" y="3475"/>
                  <a:pt x="5151" y="3475"/>
                  <a:pt x="5177" y="3550"/>
                </a:cubicBezTo>
                <a:cubicBezTo>
                  <a:pt x="5202" y="3601"/>
                  <a:pt x="5077" y="3626"/>
                  <a:pt x="5102" y="3675"/>
                </a:cubicBezTo>
                <a:cubicBezTo>
                  <a:pt x="5102" y="3701"/>
                  <a:pt x="5151" y="3650"/>
                  <a:pt x="5202" y="3650"/>
                </a:cubicBezTo>
                <a:cubicBezTo>
                  <a:pt x="5251" y="3650"/>
                  <a:pt x="5202" y="3726"/>
                  <a:pt x="5251" y="3726"/>
                </a:cubicBezTo>
                <a:cubicBezTo>
                  <a:pt x="5302" y="3750"/>
                  <a:pt x="5402" y="3675"/>
                  <a:pt x="5426" y="3650"/>
                </a:cubicBezTo>
                <a:cubicBezTo>
                  <a:pt x="5451" y="3626"/>
                  <a:pt x="5477" y="3601"/>
                  <a:pt x="5551" y="3650"/>
                </a:cubicBezTo>
                <a:cubicBezTo>
                  <a:pt x="5602" y="3675"/>
                  <a:pt x="5726" y="3701"/>
                  <a:pt x="5726" y="3650"/>
                </a:cubicBezTo>
                <a:close/>
                <a:moveTo>
                  <a:pt x="7102" y="3275"/>
                </a:moveTo>
                <a:lnTo>
                  <a:pt x="7102" y="3275"/>
                </a:lnTo>
                <a:cubicBezTo>
                  <a:pt x="7152" y="3275"/>
                  <a:pt x="7152" y="3350"/>
                  <a:pt x="7227" y="3426"/>
                </a:cubicBezTo>
                <a:cubicBezTo>
                  <a:pt x="7302" y="3475"/>
                  <a:pt x="7327" y="3426"/>
                  <a:pt x="7327" y="3401"/>
                </a:cubicBezTo>
                <a:cubicBezTo>
                  <a:pt x="7352" y="3350"/>
                  <a:pt x="7427" y="3375"/>
                  <a:pt x="7427" y="3326"/>
                </a:cubicBezTo>
                <a:cubicBezTo>
                  <a:pt x="7427" y="3301"/>
                  <a:pt x="7502" y="3226"/>
                  <a:pt x="7552" y="3226"/>
                </a:cubicBezTo>
                <a:cubicBezTo>
                  <a:pt x="7602" y="3201"/>
                  <a:pt x="7502" y="3150"/>
                  <a:pt x="7452" y="3150"/>
                </a:cubicBezTo>
                <a:cubicBezTo>
                  <a:pt x="7377" y="3150"/>
                  <a:pt x="7352" y="3101"/>
                  <a:pt x="7352" y="3075"/>
                </a:cubicBezTo>
                <a:cubicBezTo>
                  <a:pt x="7352" y="3050"/>
                  <a:pt x="7227" y="2975"/>
                  <a:pt x="7202" y="3001"/>
                </a:cubicBezTo>
                <a:cubicBezTo>
                  <a:pt x="7152" y="3001"/>
                  <a:pt x="7077" y="2926"/>
                  <a:pt x="7027" y="2926"/>
                </a:cubicBezTo>
                <a:cubicBezTo>
                  <a:pt x="6977" y="2926"/>
                  <a:pt x="6902" y="2875"/>
                  <a:pt x="6902" y="2825"/>
                </a:cubicBezTo>
                <a:cubicBezTo>
                  <a:pt x="6902" y="2775"/>
                  <a:pt x="7002" y="2850"/>
                  <a:pt x="7027" y="2800"/>
                </a:cubicBezTo>
                <a:cubicBezTo>
                  <a:pt x="7052" y="2750"/>
                  <a:pt x="6927" y="2775"/>
                  <a:pt x="6927" y="2750"/>
                </a:cubicBezTo>
                <a:cubicBezTo>
                  <a:pt x="6927" y="2701"/>
                  <a:pt x="6952" y="2725"/>
                  <a:pt x="6977" y="2701"/>
                </a:cubicBezTo>
                <a:cubicBezTo>
                  <a:pt x="7002" y="2675"/>
                  <a:pt x="6952" y="2650"/>
                  <a:pt x="6927" y="2625"/>
                </a:cubicBezTo>
                <a:cubicBezTo>
                  <a:pt x="6902" y="2601"/>
                  <a:pt x="6902" y="2650"/>
                  <a:pt x="6852" y="2650"/>
                </a:cubicBezTo>
                <a:cubicBezTo>
                  <a:pt x="6827" y="2650"/>
                  <a:pt x="6852" y="2601"/>
                  <a:pt x="6877" y="2575"/>
                </a:cubicBezTo>
                <a:cubicBezTo>
                  <a:pt x="6902" y="2550"/>
                  <a:pt x="6777" y="2525"/>
                  <a:pt x="6727" y="2525"/>
                </a:cubicBezTo>
                <a:cubicBezTo>
                  <a:pt x="6677" y="2550"/>
                  <a:pt x="6677" y="2525"/>
                  <a:pt x="6677" y="2501"/>
                </a:cubicBezTo>
                <a:cubicBezTo>
                  <a:pt x="6677" y="2450"/>
                  <a:pt x="6577" y="2501"/>
                  <a:pt x="6551" y="2525"/>
                </a:cubicBezTo>
                <a:cubicBezTo>
                  <a:pt x="6502" y="2550"/>
                  <a:pt x="6477" y="2501"/>
                  <a:pt x="6502" y="2475"/>
                </a:cubicBezTo>
                <a:cubicBezTo>
                  <a:pt x="6551" y="2475"/>
                  <a:pt x="6602" y="2450"/>
                  <a:pt x="6602" y="2401"/>
                </a:cubicBezTo>
                <a:cubicBezTo>
                  <a:pt x="6577" y="2375"/>
                  <a:pt x="6477" y="2375"/>
                  <a:pt x="6451" y="2425"/>
                </a:cubicBezTo>
                <a:cubicBezTo>
                  <a:pt x="6427" y="2450"/>
                  <a:pt x="6351" y="2375"/>
                  <a:pt x="6351" y="2325"/>
                </a:cubicBezTo>
                <a:cubicBezTo>
                  <a:pt x="6351" y="2301"/>
                  <a:pt x="6202" y="2325"/>
                  <a:pt x="6227" y="2250"/>
                </a:cubicBezTo>
                <a:cubicBezTo>
                  <a:pt x="6251" y="2201"/>
                  <a:pt x="6077" y="2175"/>
                  <a:pt x="6027" y="2175"/>
                </a:cubicBezTo>
                <a:cubicBezTo>
                  <a:pt x="5977" y="2175"/>
                  <a:pt x="5902" y="2225"/>
                  <a:pt x="5926" y="2250"/>
                </a:cubicBezTo>
                <a:cubicBezTo>
                  <a:pt x="5926" y="2301"/>
                  <a:pt x="5877" y="2275"/>
                  <a:pt x="5851" y="2250"/>
                </a:cubicBezTo>
                <a:cubicBezTo>
                  <a:pt x="5851" y="2201"/>
                  <a:pt x="5751" y="2301"/>
                  <a:pt x="5702" y="2301"/>
                </a:cubicBezTo>
                <a:cubicBezTo>
                  <a:pt x="5677" y="2301"/>
                  <a:pt x="5726" y="2175"/>
                  <a:pt x="5702" y="2125"/>
                </a:cubicBezTo>
                <a:cubicBezTo>
                  <a:pt x="5702" y="2101"/>
                  <a:pt x="5677" y="2075"/>
                  <a:pt x="5651" y="2025"/>
                </a:cubicBezTo>
                <a:cubicBezTo>
                  <a:pt x="5626" y="1950"/>
                  <a:pt x="5502" y="1975"/>
                  <a:pt x="5451" y="2025"/>
                </a:cubicBezTo>
                <a:cubicBezTo>
                  <a:pt x="5426" y="2050"/>
                  <a:pt x="5326" y="2050"/>
                  <a:pt x="5251" y="2101"/>
                </a:cubicBezTo>
                <a:cubicBezTo>
                  <a:pt x="5202" y="2150"/>
                  <a:pt x="5277" y="2225"/>
                  <a:pt x="5302" y="2225"/>
                </a:cubicBezTo>
                <a:cubicBezTo>
                  <a:pt x="5326" y="2250"/>
                  <a:pt x="5202" y="2301"/>
                  <a:pt x="5251" y="2325"/>
                </a:cubicBezTo>
                <a:cubicBezTo>
                  <a:pt x="5277" y="2350"/>
                  <a:pt x="5326" y="2350"/>
                  <a:pt x="5351" y="2401"/>
                </a:cubicBezTo>
                <a:cubicBezTo>
                  <a:pt x="5351" y="2450"/>
                  <a:pt x="5202" y="2375"/>
                  <a:pt x="5177" y="2325"/>
                </a:cubicBezTo>
                <a:cubicBezTo>
                  <a:pt x="5151" y="2275"/>
                  <a:pt x="5202" y="2250"/>
                  <a:pt x="5151" y="2201"/>
                </a:cubicBezTo>
                <a:cubicBezTo>
                  <a:pt x="5126" y="2175"/>
                  <a:pt x="5151" y="2125"/>
                  <a:pt x="5202" y="2075"/>
                </a:cubicBezTo>
                <a:cubicBezTo>
                  <a:pt x="5277" y="2025"/>
                  <a:pt x="5302" y="2025"/>
                  <a:pt x="5302" y="2001"/>
                </a:cubicBezTo>
                <a:cubicBezTo>
                  <a:pt x="5302" y="1950"/>
                  <a:pt x="5077" y="1950"/>
                  <a:pt x="4926" y="2075"/>
                </a:cubicBezTo>
                <a:cubicBezTo>
                  <a:pt x="4801" y="2201"/>
                  <a:pt x="4851" y="2375"/>
                  <a:pt x="4851" y="2401"/>
                </a:cubicBezTo>
                <a:cubicBezTo>
                  <a:pt x="4851" y="2450"/>
                  <a:pt x="4977" y="2425"/>
                  <a:pt x="5051" y="2450"/>
                </a:cubicBezTo>
                <a:cubicBezTo>
                  <a:pt x="5126" y="2475"/>
                  <a:pt x="5077" y="2501"/>
                  <a:pt x="5026" y="2501"/>
                </a:cubicBezTo>
                <a:cubicBezTo>
                  <a:pt x="4977" y="2475"/>
                  <a:pt x="4877" y="2475"/>
                  <a:pt x="4877" y="2501"/>
                </a:cubicBezTo>
                <a:cubicBezTo>
                  <a:pt x="4901" y="2550"/>
                  <a:pt x="5001" y="2601"/>
                  <a:pt x="5077" y="2601"/>
                </a:cubicBezTo>
                <a:cubicBezTo>
                  <a:pt x="5126" y="2575"/>
                  <a:pt x="5126" y="2575"/>
                  <a:pt x="5177" y="2625"/>
                </a:cubicBezTo>
                <a:cubicBezTo>
                  <a:pt x="5202" y="2650"/>
                  <a:pt x="5277" y="2650"/>
                  <a:pt x="5351" y="2650"/>
                </a:cubicBezTo>
                <a:cubicBezTo>
                  <a:pt x="5426" y="2650"/>
                  <a:pt x="5526" y="2675"/>
                  <a:pt x="5551" y="2675"/>
                </a:cubicBezTo>
                <a:cubicBezTo>
                  <a:pt x="5602" y="2675"/>
                  <a:pt x="5651" y="2650"/>
                  <a:pt x="5651" y="2650"/>
                </a:cubicBezTo>
                <a:cubicBezTo>
                  <a:pt x="5677" y="2625"/>
                  <a:pt x="5826" y="2675"/>
                  <a:pt x="5877" y="2675"/>
                </a:cubicBezTo>
                <a:cubicBezTo>
                  <a:pt x="5926" y="2675"/>
                  <a:pt x="5877" y="2625"/>
                  <a:pt x="5851" y="2601"/>
                </a:cubicBezTo>
                <a:cubicBezTo>
                  <a:pt x="5826" y="2601"/>
                  <a:pt x="5851" y="2550"/>
                  <a:pt x="5877" y="2575"/>
                </a:cubicBezTo>
                <a:cubicBezTo>
                  <a:pt x="5926" y="2575"/>
                  <a:pt x="5977" y="2601"/>
                  <a:pt x="6002" y="2625"/>
                </a:cubicBezTo>
                <a:cubicBezTo>
                  <a:pt x="6002" y="2675"/>
                  <a:pt x="6027" y="2650"/>
                  <a:pt x="6051" y="2675"/>
                </a:cubicBezTo>
                <a:cubicBezTo>
                  <a:pt x="6051" y="2701"/>
                  <a:pt x="6177" y="2750"/>
                  <a:pt x="6177" y="2775"/>
                </a:cubicBezTo>
                <a:cubicBezTo>
                  <a:pt x="6177" y="2800"/>
                  <a:pt x="6051" y="2825"/>
                  <a:pt x="6102" y="2850"/>
                </a:cubicBezTo>
                <a:cubicBezTo>
                  <a:pt x="6127" y="2875"/>
                  <a:pt x="6177" y="2825"/>
                  <a:pt x="6227" y="2825"/>
                </a:cubicBezTo>
                <a:cubicBezTo>
                  <a:pt x="6277" y="2800"/>
                  <a:pt x="6277" y="2926"/>
                  <a:pt x="6327" y="2900"/>
                </a:cubicBezTo>
                <a:cubicBezTo>
                  <a:pt x="6377" y="2875"/>
                  <a:pt x="6427" y="2926"/>
                  <a:pt x="6477" y="3001"/>
                </a:cubicBezTo>
                <a:cubicBezTo>
                  <a:pt x="6527" y="3075"/>
                  <a:pt x="6451" y="3126"/>
                  <a:pt x="6477" y="3150"/>
                </a:cubicBezTo>
                <a:cubicBezTo>
                  <a:pt x="6477" y="3175"/>
                  <a:pt x="6577" y="3175"/>
                  <a:pt x="6627" y="3150"/>
                </a:cubicBezTo>
                <a:cubicBezTo>
                  <a:pt x="6677" y="3126"/>
                  <a:pt x="6727" y="3175"/>
                  <a:pt x="6777" y="3226"/>
                </a:cubicBezTo>
                <a:cubicBezTo>
                  <a:pt x="6802" y="3250"/>
                  <a:pt x="6602" y="3326"/>
                  <a:pt x="6627" y="3275"/>
                </a:cubicBezTo>
                <a:cubicBezTo>
                  <a:pt x="6651" y="3250"/>
                  <a:pt x="6502" y="3150"/>
                  <a:pt x="6402" y="3201"/>
                </a:cubicBezTo>
                <a:cubicBezTo>
                  <a:pt x="6277" y="3250"/>
                  <a:pt x="6351" y="3326"/>
                  <a:pt x="6377" y="3350"/>
                </a:cubicBezTo>
                <a:cubicBezTo>
                  <a:pt x="6377" y="3401"/>
                  <a:pt x="6251" y="3450"/>
                  <a:pt x="6151" y="3401"/>
                </a:cubicBezTo>
                <a:cubicBezTo>
                  <a:pt x="6027" y="3375"/>
                  <a:pt x="6077" y="3426"/>
                  <a:pt x="6027" y="3426"/>
                </a:cubicBezTo>
                <a:cubicBezTo>
                  <a:pt x="5977" y="3426"/>
                  <a:pt x="5926" y="3501"/>
                  <a:pt x="5977" y="3550"/>
                </a:cubicBezTo>
                <a:cubicBezTo>
                  <a:pt x="6002" y="3601"/>
                  <a:pt x="6102" y="3550"/>
                  <a:pt x="6177" y="3550"/>
                </a:cubicBezTo>
                <a:cubicBezTo>
                  <a:pt x="6251" y="3550"/>
                  <a:pt x="6251" y="3575"/>
                  <a:pt x="6277" y="3526"/>
                </a:cubicBezTo>
                <a:cubicBezTo>
                  <a:pt x="6277" y="3501"/>
                  <a:pt x="6351" y="3526"/>
                  <a:pt x="6402" y="3526"/>
                </a:cubicBezTo>
                <a:cubicBezTo>
                  <a:pt x="6451" y="3550"/>
                  <a:pt x="6451" y="3626"/>
                  <a:pt x="6527" y="3626"/>
                </a:cubicBezTo>
                <a:cubicBezTo>
                  <a:pt x="6577" y="3626"/>
                  <a:pt x="6527" y="3701"/>
                  <a:pt x="6577" y="3750"/>
                </a:cubicBezTo>
                <a:cubicBezTo>
                  <a:pt x="6602" y="3801"/>
                  <a:pt x="6751" y="3775"/>
                  <a:pt x="6802" y="3826"/>
                </a:cubicBezTo>
                <a:cubicBezTo>
                  <a:pt x="6852" y="3875"/>
                  <a:pt x="7052" y="3950"/>
                  <a:pt x="7077" y="3926"/>
                </a:cubicBezTo>
                <a:cubicBezTo>
                  <a:pt x="7127" y="3875"/>
                  <a:pt x="6902" y="3701"/>
                  <a:pt x="6852" y="3675"/>
                </a:cubicBezTo>
                <a:cubicBezTo>
                  <a:pt x="6777" y="3650"/>
                  <a:pt x="6902" y="3650"/>
                  <a:pt x="6977" y="3701"/>
                </a:cubicBezTo>
                <a:cubicBezTo>
                  <a:pt x="7052" y="3775"/>
                  <a:pt x="7177" y="3801"/>
                  <a:pt x="7227" y="3726"/>
                </a:cubicBezTo>
                <a:cubicBezTo>
                  <a:pt x="7302" y="3650"/>
                  <a:pt x="7177" y="3675"/>
                  <a:pt x="7177" y="3601"/>
                </a:cubicBezTo>
                <a:cubicBezTo>
                  <a:pt x="7177" y="3550"/>
                  <a:pt x="7152" y="3475"/>
                  <a:pt x="7102" y="3475"/>
                </a:cubicBezTo>
                <a:cubicBezTo>
                  <a:pt x="7027" y="3475"/>
                  <a:pt x="6877" y="3375"/>
                  <a:pt x="6927" y="3350"/>
                </a:cubicBezTo>
                <a:cubicBezTo>
                  <a:pt x="7002" y="3326"/>
                  <a:pt x="6927" y="3275"/>
                  <a:pt x="6952" y="3226"/>
                </a:cubicBezTo>
                <a:cubicBezTo>
                  <a:pt x="7002" y="3201"/>
                  <a:pt x="7052" y="3275"/>
                  <a:pt x="7102" y="3275"/>
                </a:cubicBezTo>
                <a:close/>
                <a:moveTo>
                  <a:pt x="6227" y="3075"/>
                </a:moveTo>
                <a:lnTo>
                  <a:pt x="6227" y="3075"/>
                </a:lnTo>
                <a:cubicBezTo>
                  <a:pt x="6277" y="3075"/>
                  <a:pt x="6251" y="3001"/>
                  <a:pt x="6227" y="2950"/>
                </a:cubicBezTo>
                <a:cubicBezTo>
                  <a:pt x="6202" y="2926"/>
                  <a:pt x="6151" y="2926"/>
                  <a:pt x="6102" y="2926"/>
                </a:cubicBezTo>
                <a:cubicBezTo>
                  <a:pt x="6051" y="2926"/>
                  <a:pt x="5977" y="3001"/>
                  <a:pt x="6027" y="3075"/>
                </a:cubicBezTo>
                <a:cubicBezTo>
                  <a:pt x="6077" y="3150"/>
                  <a:pt x="6177" y="3101"/>
                  <a:pt x="6227" y="3075"/>
                </a:cubicBezTo>
                <a:close/>
                <a:moveTo>
                  <a:pt x="5702" y="2001"/>
                </a:moveTo>
                <a:lnTo>
                  <a:pt x="5702" y="2001"/>
                </a:lnTo>
                <a:cubicBezTo>
                  <a:pt x="5677" y="2050"/>
                  <a:pt x="5751" y="2050"/>
                  <a:pt x="5751" y="2125"/>
                </a:cubicBezTo>
                <a:cubicBezTo>
                  <a:pt x="5751" y="2175"/>
                  <a:pt x="5826" y="2201"/>
                  <a:pt x="5902" y="2150"/>
                </a:cubicBezTo>
                <a:cubicBezTo>
                  <a:pt x="5951" y="2125"/>
                  <a:pt x="6127" y="2175"/>
                  <a:pt x="6127" y="2125"/>
                </a:cubicBezTo>
                <a:cubicBezTo>
                  <a:pt x="6127" y="2075"/>
                  <a:pt x="5951" y="2001"/>
                  <a:pt x="5877" y="2001"/>
                </a:cubicBezTo>
                <a:cubicBezTo>
                  <a:pt x="5826" y="2025"/>
                  <a:pt x="5726" y="1950"/>
                  <a:pt x="5702" y="2001"/>
                </a:cubicBezTo>
                <a:close/>
                <a:moveTo>
                  <a:pt x="7252" y="5551"/>
                </a:moveTo>
                <a:lnTo>
                  <a:pt x="7252" y="5551"/>
                </a:lnTo>
                <a:cubicBezTo>
                  <a:pt x="7277" y="5576"/>
                  <a:pt x="7502" y="5676"/>
                  <a:pt x="7527" y="5626"/>
                </a:cubicBezTo>
                <a:cubicBezTo>
                  <a:pt x="7527" y="5576"/>
                  <a:pt x="7252" y="5526"/>
                  <a:pt x="7252" y="5551"/>
                </a:cubicBezTo>
                <a:close/>
                <a:moveTo>
                  <a:pt x="8327" y="5801"/>
                </a:moveTo>
                <a:lnTo>
                  <a:pt x="8327" y="5801"/>
                </a:lnTo>
                <a:cubicBezTo>
                  <a:pt x="8302" y="5826"/>
                  <a:pt x="8277" y="5776"/>
                  <a:pt x="8302" y="5751"/>
                </a:cubicBezTo>
                <a:cubicBezTo>
                  <a:pt x="8352" y="5726"/>
                  <a:pt x="8302" y="5701"/>
                  <a:pt x="8277" y="5726"/>
                </a:cubicBezTo>
                <a:cubicBezTo>
                  <a:pt x="8227" y="5726"/>
                  <a:pt x="8252" y="5651"/>
                  <a:pt x="8277" y="5626"/>
                </a:cubicBezTo>
                <a:cubicBezTo>
                  <a:pt x="8302" y="5600"/>
                  <a:pt x="8202" y="5576"/>
                  <a:pt x="8202" y="5600"/>
                </a:cubicBezTo>
                <a:cubicBezTo>
                  <a:pt x="8202" y="5651"/>
                  <a:pt x="8127" y="5626"/>
                  <a:pt x="8127" y="5600"/>
                </a:cubicBezTo>
                <a:cubicBezTo>
                  <a:pt x="8102" y="5576"/>
                  <a:pt x="8052" y="5551"/>
                  <a:pt x="8077" y="5526"/>
                </a:cubicBezTo>
                <a:cubicBezTo>
                  <a:pt x="8102" y="5526"/>
                  <a:pt x="8002" y="5500"/>
                  <a:pt x="8002" y="5551"/>
                </a:cubicBezTo>
                <a:cubicBezTo>
                  <a:pt x="8002" y="5576"/>
                  <a:pt x="7977" y="5526"/>
                  <a:pt x="8002" y="5476"/>
                </a:cubicBezTo>
                <a:cubicBezTo>
                  <a:pt x="8052" y="5426"/>
                  <a:pt x="8052" y="5401"/>
                  <a:pt x="8077" y="5376"/>
                </a:cubicBezTo>
                <a:cubicBezTo>
                  <a:pt x="8127" y="5351"/>
                  <a:pt x="8077" y="5326"/>
                  <a:pt x="8027" y="5326"/>
                </a:cubicBezTo>
                <a:cubicBezTo>
                  <a:pt x="8002" y="5351"/>
                  <a:pt x="7877" y="5500"/>
                  <a:pt x="7877" y="5551"/>
                </a:cubicBezTo>
                <a:cubicBezTo>
                  <a:pt x="7877" y="5600"/>
                  <a:pt x="7877" y="5651"/>
                  <a:pt x="7852" y="5626"/>
                </a:cubicBezTo>
                <a:cubicBezTo>
                  <a:pt x="7802" y="5626"/>
                  <a:pt x="7752" y="5676"/>
                  <a:pt x="7777" y="5701"/>
                </a:cubicBezTo>
                <a:cubicBezTo>
                  <a:pt x="7827" y="5726"/>
                  <a:pt x="7702" y="5776"/>
                  <a:pt x="7752" y="5801"/>
                </a:cubicBezTo>
                <a:cubicBezTo>
                  <a:pt x="7802" y="5826"/>
                  <a:pt x="7852" y="5801"/>
                  <a:pt x="7902" y="5801"/>
                </a:cubicBezTo>
                <a:cubicBezTo>
                  <a:pt x="7952" y="5801"/>
                  <a:pt x="8002" y="5801"/>
                  <a:pt x="8027" y="5776"/>
                </a:cubicBezTo>
                <a:cubicBezTo>
                  <a:pt x="8077" y="5751"/>
                  <a:pt x="8077" y="5801"/>
                  <a:pt x="8127" y="5801"/>
                </a:cubicBezTo>
                <a:cubicBezTo>
                  <a:pt x="8177" y="5801"/>
                  <a:pt x="8102" y="5851"/>
                  <a:pt x="8102" y="5876"/>
                </a:cubicBezTo>
                <a:cubicBezTo>
                  <a:pt x="8102" y="5901"/>
                  <a:pt x="8152" y="5851"/>
                  <a:pt x="8177" y="5826"/>
                </a:cubicBezTo>
                <a:cubicBezTo>
                  <a:pt x="8227" y="5826"/>
                  <a:pt x="8252" y="5826"/>
                  <a:pt x="8252" y="5876"/>
                </a:cubicBezTo>
                <a:cubicBezTo>
                  <a:pt x="8227" y="5901"/>
                  <a:pt x="8327" y="5926"/>
                  <a:pt x="8352" y="5876"/>
                </a:cubicBezTo>
                <a:cubicBezTo>
                  <a:pt x="8377" y="5826"/>
                  <a:pt x="8327" y="5751"/>
                  <a:pt x="8327" y="5801"/>
                </a:cubicBezTo>
                <a:close/>
                <a:moveTo>
                  <a:pt x="776" y="5026"/>
                </a:moveTo>
                <a:lnTo>
                  <a:pt x="776" y="5026"/>
                </a:lnTo>
                <a:cubicBezTo>
                  <a:pt x="701" y="5075"/>
                  <a:pt x="901" y="5251"/>
                  <a:pt x="925" y="5226"/>
                </a:cubicBezTo>
                <a:cubicBezTo>
                  <a:pt x="950" y="5226"/>
                  <a:pt x="876" y="5126"/>
                  <a:pt x="876" y="5075"/>
                </a:cubicBezTo>
                <a:cubicBezTo>
                  <a:pt x="876" y="5026"/>
                  <a:pt x="850" y="4975"/>
                  <a:pt x="776" y="5026"/>
                </a:cubicBezTo>
                <a:close/>
                <a:moveTo>
                  <a:pt x="7652" y="5976"/>
                </a:moveTo>
                <a:lnTo>
                  <a:pt x="7652" y="5976"/>
                </a:lnTo>
                <a:cubicBezTo>
                  <a:pt x="7627" y="5976"/>
                  <a:pt x="7652" y="5926"/>
                  <a:pt x="7652" y="5901"/>
                </a:cubicBezTo>
                <a:cubicBezTo>
                  <a:pt x="7652" y="5901"/>
                  <a:pt x="7577" y="5926"/>
                  <a:pt x="7577" y="5951"/>
                </a:cubicBezTo>
                <a:cubicBezTo>
                  <a:pt x="7577" y="5976"/>
                  <a:pt x="7527" y="5976"/>
                  <a:pt x="7527" y="6001"/>
                </a:cubicBezTo>
                <a:cubicBezTo>
                  <a:pt x="7527" y="6051"/>
                  <a:pt x="7527" y="6026"/>
                  <a:pt x="7502" y="6051"/>
                </a:cubicBezTo>
                <a:cubicBezTo>
                  <a:pt x="7452" y="6051"/>
                  <a:pt x="7327" y="6051"/>
                  <a:pt x="7327" y="6026"/>
                </a:cubicBezTo>
                <a:cubicBezTo>
                  <a:pt x="7327" y="5976"/>
                  <a:pt x="7227" y="5976"/>
                  <a:pt x="7227" y="5926"/>
                </a:cubicBezTo>
                <a:cubicBezTo>
                  <a:pt x="7227" y="5901"/>
                  <a:pt x="7177" y="5876"/>
                  <a:pt x="7227" y="5826"/>
                </a:cubicBezTo>
                <a:cubicBezTo>
                  <a:pt x="7252" y="5801"/>
                  <a:pt x="7202" y="5776"/>
                  <a:pt x="7177" y="5801"/>
                </a:cubicBezTo>
                <a:cubicBezTo>
                  <a:pt x="7127" y="5826"/>
                  <a:pt x="7127" y="5776"/>
                  <a:pt x="7177" y="5776"/>
                </a:cubicBezTo>
                <a:cubicBezTo>
                  <a:pt x="7202" y="5751"/>
                  <a:pt x="7302" y="5726"/>
                  <a:pt x="7252" y="5651"/>
                </a:cubicBezTo>
                <a:cubicBezTo>
                  <a:pt x="7202" y="5551"/>
                  <a:pt x="6927" y="5676"/>
                  <a:pt x="6852" y="5701"/>
                </a:cubicBezTo>
                <a:cubicBezTo>
                  <a:pt x="6777" y="5751"/>
                  <a:pt x="6677" y="5876"/>
                  <a:pt x="6651" y="5876"/>
                </a:cubicBezTo>
                <a:cubicBezTo>
                  <a:pt x="6602" y="5876"/>
                  <a:pt x="6727" y="5826"/>
                  <a:pt x="6727" y="5801"/>
                </a:cubicBezTo>
                <a:cubicBezTo>
                  <a:pt x="6751" y="5751"/>
                  <a:pt x="6727" y="5726"/>
                  <a:pt x="6751" y="5751"/>
                </a:cubicBezTo>
                <a:cubicBezTo>
                  <a:pt x="6777" y="5751"/>
                  <a:pt x="6827" y="5651"/>
                  <a:pt x="6877" y="5626"/>
                </a:cubicBezTo>
                <a:cubicBezTo>
                  <a:pt x="6927" y="5600"/>
                  <a:pt x="6977" y="5626"/>
                  <a:pt x="6977" y="5600"/>
                </a:cubicBezTo>
                <a:cubicBezTo>
                  <a:pt x="6977" y="5576"/>
                  <a:pt x="7002" y="5551"/>
                  <a:pt x="7052" y="5500"/>
                </a:cubicBezTo>
                <a:cubicBezTo>
                  <a:pt x="7102" y="5476"/>
                  <a:pt x="7577" y="5476"/>
                  <a:pt x="7627" y="5476"/>
                </a:cubicBezTo>
                <a:cubicBezTo>
                  <a:pt x="7677" y="5476"/>
                  <a:pt x="7777" y="5426"/>
                  <a:pt x="7802" y="5376"/>
                </a:cubicBezTo>
                <a:cubicBezTo>
                  <a:pt x="7827" y="5326"/>
                  <a:pt x="7877" y="5326"/>
                  <a:pt x="7927" y="5351"/>
                </a:cubicBezTo>
                <a:cubicBezTo>
                  <a:pt x="8002" y="5351"/>
                  <a:pt x="8027" y="5275"/>
                  <a:pt x="8077" y="5251"/>
                </a:cubicBezTo>
                <a:cubicBezTo>
                  <a:pt x="8102" y="5226"/>
                  <a:pt x="8077" y="5226"/>
                  <a:pt x="8052" y="5226"/>
                </a:cubicBezTo>
                <a:cubicBezTo>
                  <a:pt x="8027" y="5226"/>
                  <a:pt x="8002" y="5201"/>
                  <a:pt x="8027" y="5201"/>
                </a:cubicBezTo>
                <a:cubicBezTo>
                  <a:pt x="8052" y="5201"/>
                  <a:pt x="8077" y="5175"/>
                  <a:pt x="8077" y="5126"/>
                </a:cubicBezTo>
                <a:cubicBezTo>
                  <a:pt x="8102" y="5101"/>
                  <a:pt x="8077" y="5126"/>
                  <a:pt x="8027" y="5075"/>
                </a:cubicBezTo>
                <a:cubicBezTo>
                  <a:pt x="8002" y="5001"/>
                  <a:pt x="7977" y="5075"/>
                  <a:pt x="7927" y="5075"/>
                </a:cubicBezTo>
                <a:cubicBezTo>
                  <a:pt x="7902" y="5075"/>
                  <a:pt x="7952" y="5026"/>
                  <a:pt x="7927" y="5001"/>
                </a:cubicBezTo>
                <a:cubicBezTo>
                  <a:pt x="7902" y="4975"/>
                  <a:pt x="7827" y="5001"/>
                  <a:pt x="7777" y="5026"/>
                </a:cubicBezTo>
                <a:cubicBezTo>
                  <a:pt x="7727" y="5075"/>
                  <a:pt x="7727" y="5026"/>
                  <a:pt x="7702" y="5075"/>
                </a:cubicBezTo>
                <a:cubicBezTo>
                  <a:pt x="7652" y="5126"/>
                  <a:pt x="7652" y="5051"/>
                  <a:pt x="7677" y="5051"/>
                </a:cubicBezTo>
                <a:cubicBezTo>
                  <a:pt x="7702" y="5026"/>
                  <a:pt x="7702" y="5051"/>
                  <a:pt x="7727" y="5026"/>
                </a:cubicBezTo>
                <a:cubicBezTo>
                  <a:pt x="7752" y="5001"/>
                  <a:pt x="7752" y="5026"/>
                  <a:pt x="7802" y="4975"/>
                </a:cubicBezTo>
                <a:cubicBezTo>
                  <a:pt x="7852" y="4951"/>
                  <a:pt x="7902" y="4975"/>
                  <a:pt x="7927" y="4951"/>
                </a:cubicBezTo>
                <a:cubicBezTo>
                  <a:pt x="7927" y="4926"/>
                  <a:pt x="7902" y="4901"/>
                  <a:pt x="7852" y="4901"/>
                </a:cubicBezTo>
                <a:cubicBezTo>
                  <a:pt x="7802" y="4901"/>
                  <a:pt x="7777" y="4851"/>
                  <a:pt x="7752" y="4851"/>
                </a:cubicBezTo>
                <a:cubicBezTo>
                  <a:pt x="7702" y="4875"/>
                  <a:pt x="7727" y="4826"/>
                  <a:pt x="7677" y="4851"/>
                </a:cubicBezTo>
                <a:cubicBezTo>
                  <a:pt x="7652" y="4875"/>
                  <a:pt x="7627" y="4851"/>
                  <a:pt x="7627" y="4801"/>
                </a:cubicBezTo>
                <a:cubicBezTo>
                  <a:pt x="7602" y="4775"/>
                  <a:pt x="7502" y="4701"/>
                  <a:pt x="7452" y="4675"/>
                </a:cubicBezTo>
                <a:cubicBezTo>
                  <a:pt x="7402" y="4675"/>
                  <a:pt x="7452" y="4626"/>
                  <a:pt x="7477" y="4651"/>
                </a:cubicBezTo>
                <a:cubicBezTo>
                  <a:pt x="7502" y="4675"/>
                  <a:pt x="7527" y="4626"/>
                  <a:pt x="7552" y="4626"/>
                </a:cubicBezTo>
                <a:cubicBezTo>
                  <a:pt x="7552" y="4601"/>
                  <a:pt x="7527" y="4575"/>
                  <a:pt x="7502" y="4575"/>
                </a:cubicBezTo>
                <a:cubicBezTo>
                  <a:pt x="7502" y="4575"/>
                  <a:pt x="7502" y="4551"/>
                  <a:pt x="7502" y="4526"/>
                </a:cubicBezTo>
                <a:cubicBezTo>
                  <a:pt x="7502" y="4501"/>
                  <a:pt x="7427" y="4475"/>
                  <a:pt x="7427" y="4451"/>
                </a:cubicBezTo>
                <a:cubicBezTo>
                  <a:pt x="7427" y="4426"/>
                  <a:pt x="7402" y="4426"/>
                  <a:pt x="7402" y="4401"/>
                </a:cubicBezTo>
                <a:cubicBezTo>
                  <a:pt x="7402" y="4375"/>
                  <a:pt x="7352" y="4351"/>
                  <a:pt x="7352" y="4326"/>
                </a:cubicBezTo>
                <a:cubicBezTo>
                  <a:pt x="7352" y="4301"/>
                  <a:pt x="7302" y="4251"/>
                  <a:pt x="7302" y="4226"/>
                </a:cubicBezTo>
                <a:cubicBezTo>
                  <a:pt x="7302" y="4200"/>
                  <a:pt x="7252" y="4175"/>
                  <a:pt x="7252" y="4151"/>
                </a:cubicBezTo>
                <a:cubicBezTo>
                  <a:pt x="7227" y="4101"/>
                  <a:pt x="7227" y="4126"/>
                  <a:pt x="7202" y="4175"/>
                </a:cubicBezTo>
                <a:cubicBezTo>
                  <a:pt x="7202" y="4226"/>
                  <a:pt x="7152" y="4226"/>
                  <a:pt x="7177" y="4226"/>
                </a:cubicBezTo>
                <a:cubicBezTo>
                  <a:pt x="7202" y="4275"/>
                  <a:pt x="7177" y="4275"/>
                  <a:pt x="7152" y="4301"/>
                </a:cubicBezTo>
                <a:cubicBezTo>
                  <a:pt x="7127" y="4326"/>
                  <a:pt x="7177" y="4351"/>
                  <a:pt x="7127" y="4351"/>
                </a:cubicBezTo>
                <a:cubicBezTo>
                  <a:pt x="7102" y="4351"/>
                  <a:pt x="7127" y="4401"/>
                  <a:pt x="7102" y="4375"/>
                </a:cubicBezTo>
                <a:cubicBezTo>
                  <a:pt x="7077" y="4351"/>
                  <a:pt x="7052" y="4351"/>
                  <a:pt x="7052" y="4401"/>
                </a:cubicBezTo>
                <a:cubicBezTo>
                  <a:pt x="7052" y="4426"/>
                  <a:pt x="6977" y="4451"/>
                  <a:pt x="6952" y="4451"/>
                </a:cubicBezTo>
                <a:cubicBezTo>
                  <a:pt x="6927" y="4451"/>
                  <a:pt x="6927" y="4375"/>
                  <a:pt x="6902" y="4401"/>
                </a:cubicBezTo>
                <a:cubicBezTo>
                  <a:pt x="6877" y="4426"/>
                  <a:pt x="6877" y="4351"/>
                  <a:pt x="6852" y="4351"/>
                </a:cubicBezTo>
                <a:cubicBezTo>
                  <a:pt x="6802" y="4351"/>
                  <a:pt x="6777" y="4351"/>
                  <a:pt x="6802" y="4326"/>
                </a:cubicBezTo>
                <a:cubicBezTo>
                  <a:pt x="6802" y="4301"/>
                  <a:pt x="6727" y="4275"/>
                  <a:pt x="6751" y="4251"/>
                </a:cubicBezTo>
                <a:cubicBezTo>
                  <a:pt x="6777" y="4251"/>
                  <a:pt x="6751" y="4200"/>
                  <a:pt x="6751" y="4151"/>
                </a:cubicBezTo>
                <a:cubicBezTo>
                  <a:pt x="6751" y="4101"/>
                  <a:pt x="6777" y="4101"/>
                  <a:pt x="6777" y="4075"/>
                </a:cubicBezTo>
                <a:cubicBezTo>
                  <a:pt x="6777" y="4050"/>
                  <a:pt x="6751" y="4050"/>
                  <a:pt x="6727" y="4075"/>
                </a:cubicBezTo>
                <a:cubicBezTo>
                  <a:pt x="6702" y="4075"/>
                  <a:pt x="6702" y="4050"/>
                  <a:pt x="6677" y="4050"/>
                </a:cubicBezTo>
                <a:cubicBezTo>
                  <a:pt x="6651" y="4050"/>
                  <a:pt x="6577" y="4050"/>
                  <a:pt x="6577" y="4001"/>
                </a:cubicBezTo>
                <a:cubicBezTo>
                  <a:pt x="6551" y="3975"/>
                  <a:pt x="6527" y="4001"/>
                  <a:pt x="6527" y="3950"/>
                </a:cubicBezTo>
                <a:cubicBezTo>
                  <a:pt x="6502" y="3926"/>
                  <a:pt x="6477" y="3950"/>
                  <a:pt x="6477" y="3926"/>
                </a:cubicBezTo>
                <a:cubicBezTo>
                  <a:pt x="6477" y="3901"/>
                  <a:pt x="6451" y="3875"/>
                  <a:pt x="6427" y="3875"/>
                </a:cubicBezTo>
                <a:cubicBezTo>
                  <a:pt x="6402" y="3875"/>
                  <a:pt x="6402" y="3850"/>
                  <a:pt x="6377" y="3850"/>
                </a:cubicBezTo>
                <a:cubicBezTo>
                  <a:pt x="6327" y="3850"/>
                  <a:pt x="6302" y="3875"/>
                  <a:pt x="6277" y="3875"/>
                </a:cubicBezTo>
                <a:cubicBezTo>
                  <a:pt x="6251" y="3901"/>
                  <a:pt x="6202" y="3850"/>
                  <a:pt x="6202" y="3875"/>
                </a:cubicBezTo>
                <a:cubicBezTo>
                  <a:pt x="6177" y="3875"/>
                  <a:pt x="6177" y="3850"/>
                  <a:pt x="6127" y="3850"/>
                </a:cubicBezTo>
                <a:cubicBezTo>
                  <a:pt x="6051" y="3826"/>
                  <a:pt x="6002" y="3826"/>
                  <a:pt x="6002" y="3850"/>
                </a:cubicBezTo>
                <a:cubicBezTo>
                  <a:pt x="5977" y="3850"/>
                  <a:pt x="5951" y="3875"/>
                  <a:pt x="5951" y="3901"/>
                </a:cubicBezTo>
                <a:cubicBezTo>
                  <a:pt x="5951" y="3950"/>
                  <a:pt x="6002" y="3950"/>
                  <a:pt x="6002" y="3975"/>
                </a:cubicBezTo>
                <a:cubicBezTo>
                  <a:pt x="6027" y="4001"/>
                  <a:pt x="6002" y="4001"/>
                  <a:pt x="5977" y="4026"/>
                </a:cubicBezTo>
                <a:cubicBezTo>
                  <a:pt x="5977" y="4050"/>
                  <a:pt x="5951" y="4050"/>
                  <a:pt x="5951" y="4075"/>
                </a:cubicBezTo>
                <a:cubicBezTo>
                  <a:pt x="5951" y="4075"/>
                  <a:pt x="5977" y="4075"/>
                  <a:pt x="5977" y="4126"/>
                </a:cubicBezTo>
                <a:cubicBezTo>
                  <a:pt x="6002" y="4151"/>
                  <a:pt x="6027" y="4151"/>
                  <a:pt x="6027" y="4200"/>
                </a:cubicBezTo>
                <a:cubicBezTo>
                  <a:pt x="6027" y="4251"/>
                  <a:pt x="6002" y="4251"/>
                  <a:pt x="5977" y="4251"/>
                </a:cubicBezTo>
                <a:cubicBezTo>
                  <a:pt x="5977" y="4251"/>
                  <a:pt x="6002" y="4275"/>
                  <a:pt x="5951" y="4301"/>
                </a:cubicBezTo>
                <a:cubicBezTo>
                  <a:pt x="5926" y="4351"/>
                  <a:pt x="5902" y="4375"/>
                  <a:pt x="5926" y="4401"/>
                </a:cubicBezTo>
                <a:cubicBezTo>
                  <a:pt x="5951" y="4426"/>
                  <a:pt x="6027" y="4451"/>
                  <a:pt x="6077" y="4526"/>
                </a:cubicBezTo>
                <a:cubicBezTo>
                  <a:pt x="6102" y="4575"/>
                  <a:pt x="6102" y="4651"/>
                  <a:pt x="6102" y="4726"/>
                </a:cubicBezTo>
                <a:cubicBezTo>
                  <a:pt x="6077" y="4775"/>
                  <a:pt x="6002" y="4801"/>
                  <a:pt x="5951" y="4851"/>
                </a:cubicBezTo>
                <a:cubicBezTo>
                  <a:pt x="5902" y="4901"/>
                  <a:pt x="5851" y="4901"/>
                  <a:pt x="5826" y="4901"/>
                </a:cubicBezTo>
                <a:cubicBezTo>
                  <a:pt x="5802" y="4901"/>
                  <a:pt x="5826" y="4951"/>
                  <a:pt x="5851" y="5001"/>
                </a:cubicBezTo>
                <a:cubicBezTo>
                  <a:pt x="5877" y="5026"/>
                  <a:pt x="5851" y="5051"/>
                  <a:pt x="5877" y="5075"/>
                </a:cubicBezTo>
                <a:cubicBezTo>
                  <a:pt x="5902" y="5126"/>
                  <a:pt x="5877" y="5151"/>
                  <a:pt x="5902" y="5201"/>
                </a:cubicBezTo>
                <a:cubicBezTo>
                  <a:pt x="5926" y="5226"/>
                  <a:pt x="5926" y="5251"/>
                  <a:pt x="5877" y="5275"/>
                </a:cubicBezTo>
                <a:cubicBezTo>
                  <a:pt x="5851" y="5301"/>
                  <a:pt x="5902" y="5301"/>
                  <a:pt x="5902" y="5326"/>
                </a:cubicBezTo>
                <a:cubicBezTo>
                  <a:pt x="5902" y="5351"/>
                  <a:pt x="5877" y="5351"/>
                  <a:pt x="5851" y="5326"/>
                </a:cubicBezTo>
                <a:cubicBezTo>
                  <a:pt x="5826" y="5301"/>
                  <a:pt x="5802" y="5351"/>
                  <a:pt x="5802" y="5376"/>
                </a:cubicBezTo>
                <a:cubicBezTo>
                  <a:pt x="5802" y="5401"/>
                  <a:pt x="5751" y="5351"/>
                  <a:pt x="5726" y="5351"/>
                </a:cubicBezTo>
                <a:cubicBezTo>
                  <a:pt x="5702" y="5351"/>
                  <a:pt x="5726" y="5326"/>
                  <a:pt x="5702" y="5275"/>
                </a:cubicBezTo>
                <a:cubicBezTo>
                  <a:pt x="5651" y="5251"/>
                  <a:pt x="5626" y="5251"/>
                  <a:pt x="5626" y="5226"/>
                </a:cubicBezTo>
                <a:cubicBezTo>
                  <a:pt x="5626" y="5201"/>
                  <a:pt x="5551" y="5175"/>
                  <a:pt x="5551" y="5126"/>
                </a:cubicBezTo>
                <a:cubicBezTo>
                  <a:pt x="5551" y="5101"/>
                  <a:pt x="5577" y="5026"/>
                  <a:pt x="5551" y="5001"/>
                </a:cubicBezTo>
                <a:cubicBezTo>
                  <a:pt x="5551" y="4975"/>
                  <a:pt x="5551" y="4951"/>
                  <a:pt x="5577" y="4926"/>
                </a:cubicBezTo>
                <a:cubicBezTo>
                  <a:pt x="5577" y="4901"/>
                  <a:pt x="5551" y="4851"/>
                  <a:pt x="5502" y="4851"/>
                </a:cubicBezTo>
                <a:cubicBezTo>
                  <a:pt x="5477" y="4851"/>
                  <a:pt x="5426" y="4851"/>
                  <a:pt x="5377" y="4851"/>
                </a:cubicBezTo>
                <a:cubicBezTo>
                  <a:pt x="5326" y="4851"/>
                  <a:pt x="5302" y="4851"/>
                  <a:pt x="5277" y="4826"/>
                </a:cubicBezTo>
                <a:cubicBezTo>
                  <a:pt x="5251" y="4826"/>
                  <a:pt x="5202" y="4775"/>
                  <a:pt x="5151" y="4775"/>
                </a:cubicBezTo>
                <a:cubicBezTo>
                  <a:pt x="5077" y="4751"/>
                  <a:pt x="5051" y="4726"/>
                  <a:pt x="5051" y="4701"/>
                </a:cubicBezTo>
                <a:cubicBezTo>
                  <a:pt x="5026" y="4675"/>
                  <a:pt x="4977" y="4675"/>
                  <a:pt x="4951" y="4651"/>
                </a:cubicBezTo>
                <a:cubicBezTo>
                  <a:pt x="4951" y="4626"/>
                  <a:pt x="4877" y="4626"/>
                  <a:pt x="4851" y="4626"/>
                </a:cubicBezTo>
                <a:cubicBezTo>
                  <a:pt x="4826" y="4626"/>
                  <a:pt x="4777" y="4575"/>
                  <a:pt x="4726" y="4575"/>
                </a:cubicBezTo>
                <a:cubicBezTo>
                  <a:pt x="4701" y="4575"/>
                  <a:pt x="4601" y="4626"/>
                  <a:pt x="4601" y="4626"/>
                </a:cubicBezTo>
                <a:cubicBezTo>
                  <a:pt x="4577" y="4626"/>
                  <a:pt x="4601" y="4575"/>
                  <a:pt x="4601" y="4575"/>
                </a:cubicBezTo>
                <a:cubicBezTo>
                  <a:pt x="4626" y="4551"/>
                  <a:pt x="4577" y="4501"/>
                  <a:pt x="4551" y="4451"/>
                </a:cubicBezTo>
                <a:cubicBezTo>
                  <a:pt x="4551" y="4401"/>
                  <a:pt x="4526" y="4375"/>
                  <a:pt x="4501" y="4375"/>
                </a:cubicBezTo>
                <a:cubicBezTo>
                  <a:pt x="4451" y="4375"/>
                  <a:pt x="4401" y="4351"/>
                  <a:pt x="4401" y="4351"/>
                </a:cubicBezTo>
                <a:cubicBezTo>
                  <a:pt x="4377" y="4326"/>
                  <a:pt x="4377" y="4226"/>
                  <a:pt x="4377" y="4175"/>
                </a:cubicBezTo>
                <a:cubicBezTo>
                  <a:pt x="4401" y="4126"/>
                  <a:pt x="4451" y="4050"/>
                  <a:pt x="4451" y="4001"/>
                </a:cubicBezTo>
                <a:cubicBezTo>
                  <a:pt x="4451" y="3975"/>
                  <a:pt x="4477" y="3975"/>
                  <a:pt x="4526" y="3950"/>
                </a:cubicBezTo>
                <a:cubicBezTo>
                  <a:pt x="4551" y="3950"/>
                  <a:pt x="4526" y="3901"/>
                  <a:pt x="4551" y="3875"/>
                </a:cubicBezTo>
                <a:cubicBezTo>
                  <a:pt x="4577" y="3875"/>
                  <a:pt x="4577" y="3875"/>
                  <a:pt x="4601" y="3850"/>
                </a:cubicBezTo>
                <a:cubicBezTo>
                  <a:pt x="4601" y="3826"/>
                  <a:pt x="4626" y="3826"/>
                  <a:pt x="4626" y="3826"/>
                </a:cubicBezTo>
                <a:cubicBezTo>
                  <a:pt x="4601" y="3801"/>
                  <a:pt x="4601" y="3775"/>
                  <a:pt x="4651" y="3775"/>
                </a:cubicBezTo>
                <a:cubicBezTo>
                  <a:pt x="4701" y="3775"/>
                  <a:pt x="4777" y="3775"/>
                  <a:pt x="4777" y="3726"/>
                </a:cubicBezTo>
                <a:cubicBezTo>
                  <a:pt x="4751" y="3675"/>
                  <a:pt x="4626" y="3701"/>
                  <a:pt x="4626" y="3675"/>
                </a:cubicBezTo>
                <a:cubicBezTo>
                  <a:pt x="4626" y="3626"/>
                  <a:pt x="4477" y="3626"/>
                  <a:pt x="4477" y="3601"/>
                </a:cubicBezTo>
                <a:cubicBezTo>
                  <a:pt x="4501" y="3575"/>
                  <a:pt x="4651" y="3626"/>
                  <a:pt x="4701" y="3650"/>
                </a:cubicBezTo>
                <a:cubicBezTo>
                  <a:pt x="4751" y="3675"/>
                  <a:pt x="4777" y="3650"/>
                  <a:pt x="4801" y="3650"/>
                </a:cubicBezTo>
                <a:cubicBezTo>
                  <a:pt x="4851" y="3650"/>
                  <a:pt x="4826" y="3601"/>
                  <a:pt x="4826" y="3575"/>
                </a:cubicBezTo>
                <a:cubicBezTo>
                  <a:pt x="4851" y="3550"/>
                  <a:pt x="4926" y="3626"/>
                  <a:pt x="4977" y="3601"/>
                </a:cubicBezTo>
                <a:cubicBezTo>
                  <a:pt x="5026" y="3601"/>
                  <a:pt x="5077" y="3501"/>
                  <a:pt x="5102" y="3475"/>
                </a:cubicBezTo>
                <a:cubicBezTo>
                  <a:pt x="5151" y="3426"/>
                  <a:pt x="5102" y="3401"/>
                  <a:pt x="5026" y="3426"/>
                </a:cubicBezTo>
                <a:cubicBezTo>
                  <a:pt x="4951" y="3426"/>
                  <a:pt x="4901" y="3401"/>
                  <a:pt x="4877" y="3375"/>
                </a:cubicBezTo>
                <a:cubicBezTo>
                  <a:pt x="4826" y="3326"/>
                  <a:pt x="4826" y="3301"/>
                  <a:pt x="4877" y="3301"/>
                </a:cubicBezTo>
                <a:cubicBezTo>
                  <a:pt x="4926" y="3326"/>
                  <a:pt x="5026" y="3401"/>
                  <a:pt x="5077" y="3401"/>
                </a:cubicBezTo>
                <a:cubicBezTo>
                  <a:pt x="5102" y="3401"/>
                  <a:pt x="5177" y="3326"/>
                  <a:pt x="5202" y="3301"/>
                </a:cubicBezTo>
                <a:cubicBezTo>
                  <a:pt x="5251" y="3275"/>
                  <a:pt x="5177" y="3275"/>
                  <a:pt x="5151" y="3250"/>
                </a:cubicBezTo>
                <a:cubicBezTo>
                  <a:pt x="5126" y="3226"/>
                  <a:pt x="5202" y="3226"/>
                  <a:pt x="5226" y="3226"/>
                </a:cubicBezTo>
                <a:cubicBezTo>
                  <a:pt x="5251" y="3226"/>
                  <a:pt x="5277" y="3250"/>
                  <a:pt x="5277" y="3250"/>
                </a:cubicBezTo>
                <a:cubicBezTo>
                  <a:pt x="5302" y="3275"/>
                  <a:pt x="5351" y="3250"/>
                  <a:pt x="5377" y="3250"/>
                </a:cubicBezTo>
                <a:cubicBezTo>
                  <a:pt x="5426" y="3250"/>
                  <a:pt x="5377" y="3201"/>
                  <a:pt x="5326" y="3175"/>
                </a:cubicBezTo>
                <a:cubicBezTo>
                  <a:pt x="5277" y="3175"/>
                  <a:pt x="5326" y="3126"/>
                  <a:pt x="5351" y="3150"/>
                </a:cubicBezTo>
                <a:cubicBezTo>
                  <a:pt x="5377" y="3175"/>
                  <a:pt x="5402" y="3175"/>
                  <a:pt x="5426" y="3226"/>
                </a:cubicBezTo>
                <a:cubicBezTo>
                  <a:pt x="5451" y="3250"/>
                  <a:pt x="5451" y="3226"/>
                  <a:pt x="5502" y="3226"/>
                </a:cubicBezTo>
                <a:cubicBezTo>
                  <a:pt x="5526" y="3201"/>
                  <a:pt x="5551" y="3175"/>
                  <a:pt x="5577" y="3150"/>
                </a:cubicBezTo>
                <a:cubicBezTo>
                  <a:pt x="5602" y="3126"/>
                  <a:pt x="5602" y="3150"/>
                  <a:pt x="5626" y="3126"/>
                </a:cubicBezTo>
                <a:cubicBezTo>
                  <a:pt x="5651" y="3075"/>
                  <a:pt x="5626" y="3050"/>
                  <a:pt x="5602" y="3026"/>
                </a:cubicBezTo>
                <a:cubicBezTo>
                  <a:pt x="5551" y="3001"/>
                  <a:pt x="5602" y="2975"/>
                  <a:pt x="5551" y="2950"/>
                </a:cubicBezTo>
                <a:cubicBezTo>
                  <a:pt x="5526" y="2926"/>
                  <a:pt x="5526" y="2900"/>
                  <a:pt x="5551" y="2900"/>
                </a:cubicBezTo>
                <a:cubicBezTo>
                  <a:pt x="5602" y="2926"/>
                  <a:pt x="5626" y="2900"/>
                  <a:pt x="5651" y="2875"/>
                </a:cubicBezTo>
                <a:cubicBezTo>
                  <a:pt x="5677" y="2850"/>
                  <a:pt x="5602" y="2850"/>
                  <a:pt x="5626" y="2825"/>
                </a:cubicBezTo>
                <a:cubicBezTo>
                  <a:pt x="5677" y="2800"/>
                  <a:pt x="5626" y="2775"/>
                  <a:pt x="5602" y="2775"/>
                </a:cubicBezTo>
                <a:cubicBezTo>
                  <a:pt x="5551" y="2775"/>
                  <a:pt x="5526" y="2750"/>
                  <a:pt x="5526" y="2725"/>
                </a:cubicBezTo>
                <a:cubicBezTo>
                  <a:pt x="5526" y="2701"/>
                  <a:pt x="5451" y="2725"/>
                  <a:pt x="5426" y="2701"/>
                </a:cubicBezTo>
                <a:cubicBezTo>
                  <a:pt x="5377" y="2675"/>
                  <a:pt x="5302" y="2675"/>
                  <a:pt x="5277" y="2675"/>
                </a:cubicBezTo>
                <a:cubicBezTo>
                  <a:pt x="5251" y="2675"/>
                  <a:pt x="5251" y="2775"/>
                  <a:pt x="5277" y="2775"/>
                </a:cubicBezTo>
                <a:cubicBezTo>
                  <a:pt x="5302" y="2775"/>
                  <a:pt x="5326" y="2800"/>
                  <a:pt x="5302" y="2825"/>
                </a:cubicBezTo>
                <a:cubicBezTo>
                  <a:pt x="5277" y="2825"/>
                  <a:pt x="5326" y="2875"/>
                  <a:pt x="5302" y="2850"/>
                </a:cubicBezTo>
                <a:cubicBezTo>
                  <a:pt x="5277" y="2850"/>
                  <a:pt x="5251" y="2850"/>
                  <a:pt x="5226" y="2900"/>
                </a:cubicBezTo>
                <a:cubicBezTo>
                  <a:pt x="5226" y="2950"/>
                  <a:pt x="5226" y="2975"/>
                  <a:pt x="5177" y="3001"/>
                </a:cubicBezTo>
                <a:cubicBezTo>
                  <a:pt x="5151" y="3026"/>
                  <a:pt x="5177" y="2926"/>
                  <a:pt x="5151" y="2950"/>
                </a:cubicBezTo>
                <a:cubicBezTo>
                  <a:pt x="5102" y="2950"/>
                  <a:pt x="5102" y="3001"/>
                  <a:pt x="5126" y="3001"/>
                </a:cubicBezTo>
                <a:cubicBezTo>
                  <a:pt x="5151" y="3026"/>
                  <a:pt x="5151" y="3050"/>
                  <a:pt x="5177" y="3075"/>
                </a:cubicBezTo>
                <a:cubicBezTo>
                  <a:pt x="5177" y="3101"/>
                  <a:pt x="5126" y="3075"/>
                  <a:pt x="5102" y="3126"/>
                </a:cubicBezTo>
                <a:cubicBezTo>
                  <a:pt x="5077" y="3150"/>
                  <a:pt x="5077" y="3101"/>
                  <a:pt x="5051" y="3075"/>
                </a:cubicBezTo>
                <a:cubicBezTo>
                  <a:pt x="5026" y="3050"/>
                  <a:pt x="4977" y="3001"/>
                  <a:pt x="4977" y="2975"/>
                </a:cubicBezTo>
                <a:cubicBezTo>
                  <a:pt x="5001" y="2950"/>
                  <a:pt x="5001" y="2950"/>
                  <a:pt x="5026" y="2926"/>
                </a:cubicBezTo>
                <a:cubicBezTo>
                  <a:pt x="5051" y="2926"/>
                  <a:pt x="5026" y="2900"/>
                  <a:pt x="5026" y="2875"/>
                </a:cubicBezTo>
                <a:cubicBezTo>
                  <a:pt x="5026" y="2825"/>
                  <a:pt x="5001" y="2850"/>
                  <a:pt x="4951" y="2800"/>
                </a:cubicBezTo>
                <a:cubicBezTo>
                  <a:pt x="4926" y="2775"/>
                  <a:pt x="4901" y="2775"/>
                  <a:pt x="4877" y="2775"/>
                </a:cubicBezTo>
                <a:cubicBezTo>
                  <a:pt x="4851" y="2800"/>
                  <a:pt x="4877" y="2850"/>
                  <a:pt x="4851" y="2850"/>
                </a:cubicBezTo>
                <a:cubicBezTo>
                  <a:pt x="4801" y="2875"/>
                  <a:pt x="4826" y="2926"/>
                  <a:pt x="4801" y="2926"/>
                </a:cubicBezTo>
                <a:cubicBezTo>
                  <a:pt x="4777" y="2926"/>
                  <a:pt x="4777" y="2825"/>
                  <a:pt x="4777" y="2825"/>
                </a:cubicBezTo>
                <a:cubicBezTo>
                  <a:pt x="4751" y="2800"/>
                  <a:pt x="4751" y="2775"/>
                  <a:pt x="4777" y="2775"/>
                </a:cubicBezTo>
                <a:cubicBezTo>
                  <a:pt x="4801" y="2775"/>
                  <a:pt x="4826" y="2750"/>
                  <a:pt x="4801" y="2750"/>
                </a:cubicBezTo>
                <a:cubicBezTo>
                  <a:pt x="4777" y="2750"/>
                  <a:pt x="4726" y="2701"/>
                  <a:pt x="4701" y="2701"/>
                </a:cubicBezTo>
                <a:cubicBezTo>
                  <a:pt x="4701" y="2701"/>
                  <a:pt x="4651" y="2725"/>
                  <a:pt x="4626" y="2725"/>
                </a:cubicBezTo>
                <a:cubicBezTo>
                  <a:pt x="4626" y="2701"/>
                  <a:pt x="4651" y="2650"/>
                  <a:pt x="4651" y="2650"/>
                </a:cubicBezTo>
                <a:cubicBezTo>
                  <a:pt x="4651" y="2625"/>
                  <a:pt x="4677" y="2650"/>
                  <a:pt x="4701" y="2625"/>
                </a:cubicBezTo>
                <a:cubicBezTo>
                  <a:pt x="4726" y="2601"/>
                  <a:pt x="4626" y="2601"/>
                  <a:pt x="4626" y="2550"/>
                </a:cubicBezTo>
                <a:cubicBezTo>
                  <a:pt x="4626" y="2525"/>
                  <a:pt x="4577" y="2525"/>
                  <a:pt x="4551" y="2501"/>
                </a:cubicBezTo>
                <a:cubicBezTo>
                  <a:pt x="4526" y="2501"/>
                  <a:pt x="4577" y="2450"/>
                  <a:pt x="4551" y="2425"/>
                </a:cubicBezTo>
                <a:cubicBezTo>
                  <a:pt x="4551" y="2401"/>
                  <a:pt x="4477" y="2325"/>
                  <a:pt x="4426" y="2350"/>
                </a:cubicBezTo>
                <a:cubicBezTo>
                  <a:pt x="4401" y="2350"/>
                  <a:pt x="4401" y="2301"/>
                  <a:pt x="4426" y="2301"/>
                </a:cubicBezTo>
                <a:cubicBezTo>
                  <a:pt x="4426" y="2301"/>
                  <a:pt x="4451" y="2301"/>
                  <a:pt x="4477" y="2250"/>
                </a:cubicBezTo>
                <a:cubicBezTo>
                  <a:pt x="4526" y="2201"/>
                  <a:pt x="4526" y="2201"/>
                  <a:pt x="4501" y="2201"/>
                </a:cubicBezTo>
                <a:cubicBezTo>
                  <a:pt x="4477" y="2175"/>
                  <a:pt x="4451" y="2150"/>
                  <a:pt x="4501" y="2150"/>
                </a:cubicBezTo>
                <a:cubicBezTo>
                  <a:pt x="4551" y="2150"/>
                  <a:pt x="4626" y="2201"/>
                  <a:pt x="4651" y="2175"/>
                </a:cubicBezTo>
                <a:cubicBezTo>
                  <a:pt x="4677" y="2150"/>
                  <a:pt x="4751" y="2025"/>
                  <a:pt x="4777" y="1975"/>
                </a:cubicBezTo>
                <a:cubicBezTo>
                  <a:pt x="4826" y="1950"/>
                  <a:pt x="4751" y="1950"/>
                  <a:pt x="4677" y="1950"/>
                </a:cubicBezTo>
                <a:cubicBezTo>
                  <a:pt x="4601" y="1950"/>
                  <a:pt x="4601" y="1925"/>
                  <a:pt x="4526" y="1901"/>
                </a:cubicBezTo>
                <a:cubicBezTo>
                  <a:pt x="4477" y="1901"/>
                  <a:pt x="4351" y="1925"/>
                  <a:pt x="4326" y="1950"/>
                </a:cubicBezTo>
                <a:cubicBezTo>
                  <a:pt x="4326" y="1950"/>
                  <a:pt x="4377" y="1975"/>
                  <a:pt x="4351" y="2001"/>
                </a:cubicBezTo>
                <a:cubicBezTo>
                  <a:pt x="4351" y="2025"/>
                  <a:pt x="4326" y="1975"/>
                  <a:pt x="4301" y="2001"/>
                </a:cubicBezTo>
                <a:cubicBezTo>
                  <a:pt x="4277" y="2001"/>
                  <a:pt x="4301" y="2025"/>
                  <a:pt x="4301" y="2101"/>
                </a:cubicBezTo>
                <a:cubicBezTo>
                  <a:pt x="4301" y="2175"/>
                  <a:pt x="4326" y="2175"/>
                  <a:pt x="4326" y="2201"/>
                </a:cubicBezTo>
                <a:cubicBezTo>
                  <a:pt x="4351" y="2225"/>
                  <a:pt x="4351" y="2275"/>
                  <a:pt x="4351" y="2325"/>
                </a:cubicBezTo>
                <a:cubicBezTo>
                  <a:pt x="4351" y="2350"/>
                  <a:pt x="4301" y="2350"/>
                  <a:pt x="4301" y="2375"/>
                </a:cubicBezTo>
                <a:cubicBezTo>
                  <a:pt x="4277" y="2375"/>
                  <a:pt x="4326" y="2401"/>
                  <a:pt x="4326" y="2425"/>
                </a:cubicBezTo>
                <a:cubicBezTo>
                  <a:pt x="4326" y="2450"/>
                  <a:pt x="4277" y="2401"/>
                  <a:pt x="4251" y="2425"/>
                </a:cubicBezTo>
                <a:cubicBezTo>
                  <a:pt x="4226" y="2425"/>
                  <a:pt x="4201" y="2501"/>
                  <a:pt x="4226" y="2525"/>
                </a:cubicBezTo>
                <a:cubicBezTo>
                  <a:pt x="4251" y="2550"/>
                  <a:pt x="4277" y="2525"/>
                  <a:pt x="4251" y="2575"/>
                </a:cubicBezTo>
                <a:cubicBezTo>
                  <a:pt x="4226" y="2601"/>
                  <a:pt x="4201" y="2625"/>
                  <a:pt x="4251" y="2675"/>
                </a:cubicBezTo>
                <a:cubicBezTo>
                  <a:pt x="4301" y="2701"/>
                  <a:pt x="4401" y="2701"/>
                  <a:pt x="4451" y="2725"/>
                </a:cubicBezTo>
                <a:cubicBezTo>
                  <a:pt x="4501" y="2775"/>
                  <a:pt x="4426" y="2750"/>
                  <a:pt x="4451" y="2775"/>
                </a:cubicBezTo>
                <a:cubicBezTo>
                  <a:pt x="4451" y="2825"/>
                  <a:pt x="4401" y="2825"/>
                  <a:pt x="4401" y="2850"/>
                </a:cubicBezTo>
                <a:cubicBezTo>
                  <a:pt x="4401" y="2875"/>
                  <a:pt x="4426" y="2875"/>
                  <a:pt x="4451" y="2825"/>
                </a:cubicBezTo>
                <a:cubicBezTo>
                  <a:pt x="4477" y="2775"/>
                  <a:pt x="4501" y="2850"/>
                  <a:pt x="4501" y="2875"/>
                </a:cubicBezTo>
                <a:cubicBezTo>
                  <a:pt x="4501" y="2926"/>
                  <a:pt x="4451" y="2900"/>
                  <a:pt x="4426" y="2926"/>
                </a:cubicBezTo>
                <a:cubicBezTo>
                  <a:pt x="4401" y="2975"/>
                  <a:pt x="4377" y="2975"/>
                  <a:pt x="4351" y="2975"/>
                </a:cubicBezTo>
                <a:cubicBezTo>
                  <a:pt x="4301" y="2975"/>
                  <a:pt x="4326" y="3026"/>
                  <a:pt x="4351" y="3075"/>
                </a:cubicBezTo>
                <a:cubicBezTo>
                  <a:pt x="4351" y="3101"/>
                  <a:pt x="4326" y="3101"/>
                  <a:pt x="4301" y="3101"/>
                </a:cubicBezTo>
                <a:cubicBezTo>
                  <a:pt x="4251" y="3075"/>
                  <a:pt x="4226" y="3050"/>
                  <a:pt x="4251" y="3026"/>
                </a:cubicBezTo>
                <a:cubicBezTo>
                  <a:pt x="4277" y="2975"/>
                  <a:pt x="4277" y="2950"/>
                  <a:pt x="4251" y="2950"/>
                </a:cubicBezTo>
                <a:cubicBezTo>
                  <a:pt x="4226" y="2950"/>
                  <a:pt x="4177" y="2950"/>
                  <a:pt x="4151" y="2926"/>
                </a:cubicBezTo>
                <a:cubicBezTo>
                  <a:pt x="4126" y="2900"/>
                  <a:pt x="4151" y="2900"/>
                  <a:pt x="4226" y="2900"/>
                </a:cubicBezTo>
                <a:cubicBezTo>
                  <a:pt x="4277" y="2926"/>
                  <a:pt x="4226" y="2875"/>
                  <a:pt x="4277" y="2875"/>
                </a:cubicBezTo>
                <a:cubicBezTo>
                  <a:pt x="4301" y="2875"/>
                  <a:pt x="4326" y="2900"/>
                  <a:pt x="4377" y="2850"/>
                </a:cubicBezTo>
                <a:cubicBezTo>
                  <a:pt x="4401" y="2825"/>
                  <a:pt x="4351" y="2775"/>
                  <a:pt x="4326" y="2775"/>
                </a:cubicBezTo>
                <a:cubicBezTo>
                  <a:pt x="4301" y="2800"/>
                  <a:pt x="4251" y="2800"/>
                  <a:pt x="4251" y="2775"/>
                </a:cubicBezTo>
                <a:cubicBezTo>
                  <a:pt x="4251" y="2750"/>
                  <a:pt x="4301" y="2775"/>
                  <a:pt x="4326" y="2750"/>
                </a:cubicBezTo>
                <a:cubicBezTo>
                  <a:pt x="4351" y="2750"/>
                  <a:pt x="4301" y="2725"/>
                  <a:pt x="4277" y="2725"/>
                </a:cubicBezTo>
                <a:cubicBezTo>
                  <a:pt x="4226" y="2725"/>
                  <a:pt x="4201" y="2750"/>
                  <a:pt x="4151" y="2701"/>
                </a:cubicBezTo>
                <a:cubicBezTo>
                  <a:pt x="4126" y="2675"/>
                  <a:pt x="4076" y="2650"/>
                  <a:pt x="4051" y="2725"/>
                </a:cubicBezTo>
                <a:cubicBezTo>
                  <a:pt x="4051" y="2800"/>
                  <a:pt x="3976" y="2775"/>
                  <a:pt x="3951" y="2800"/>
                </a:cubicBezTo>
                <a:cubicBezTo>
                  <a:pt x="3926" y="2825"/>
                  <a:pt x="3976" y="2850"/>
                  <a:pt x="4051" y="2850"/>
                </a:cubicBezTo>
                <a:cubicBezTo>
                  <a:pt x="4101" y="2850"/>
                  <a:pt x="4151" y="2900"/>
                  <a:pt x="4101" y="2900"/>
                </a:cubicBezTo>
                <a:cubicBezTo>
                  <a:pt x="4076" y="2900"/>
                  <a:pt x="4101" y="2926"/>
                  <a:pt x="4076" y="2926"/>
                </a:cubicBezTo>
                <a:cubicBezTo>
                  <a:pt x="4051" y="2900"/>
                  <a:pt x="4001" y="2926"/>
                  <a:pt x="4026" y="2950"/>
                </a:cubicBezTo>
                <a:cubicBezTo>
                  <a:pt x="4051" y="2975"/>
                  <a:pt x="4026" y="2975"/>
                  <a:pt x="4026" y="3001"/>
                </a:cubicBezTo>
                <a:cubicBezTo>
                  <a:pt x="4026" y="3026"/>
                  <a:pt x="3976" y="3001"/>
                  <a:pt x="3926" y="3001"/>
                </a:cubicBezTo>
                <a:cubicBezTo>
                  <a:pt x="3901" y="3001"/>
                  <a:pt x="3801" y="3026"/>
                  <a:pt x="3751" y="3026"/>
                </a:cubicBezTo>
                <a:cubicBezTo>
                  <a:pt x="3701" y="3050"/>
                  <a:pt x="3626" y="3026"/>
                  <a:pt x="3601" y="3001"/>
                </a:cubicBezTo>
                <a:cubicBezTo>
                  <a:pt x="3576" y="2975"/>
                  <a:pt x="3551" y="2975"/>
                  <a:pt x="3501" y="2975"/>
                </a:cubicBezTo>
                <a:cubicBezTo>
                  <a:pt x="3476" y="2975"/>
                  <a:pt x="3476" y="2926"/>
                  <a:pt x="3426" y="2926"/>
                </a:cubicBezTo>
                <a:cubicBezTo>
                  <a:pt x="3376" y="2926"/>
                  <a:pt x="3376" y="2875"/>
                  <a:pt x="3376" y="2850"/>
                </a:cubicBezTo>
                <a:cubicBezTo>
                  <a:pt x="3376" y="2825"/>
                  <a:pt x="3251" y="2825"/>
                  <a:pt x="3226" y="2850"/>
                </a:cubicBezTo>
                <a:cubicBezTo>
                  <a:pt x="3176" y="2875"/>
                  <a:pt x="3101" y="2875"/>
                  <a:pt x="3076" y="2926"/>
                </a:cubicBezTo>
                <a:cubicBezTo>
                  <a:pt x="3051" y="2975"/>
                  <a:pt x="3101" y="2950"/>
                  <a:pt x="3126" y="2950"/>
                </a:cubicBezTo>
                <a:cubicBezTo>
                  <a:pt x="3151" y="2950"/>
                  <a:pt x="3151" y="2926"/>
                  <a:pt x="3201" y="2926"/>
                </a:cubicBezTo>
                <a:cubicBezTo>
                  <a:pt x="3276" y="2926"/>
                  <a:pt x="3301" y="2875"/>
                  <a:pt x="3326" y="2900"/>
                </a:cubicBezTo>
                <a:cubicBezTo>
                  <a:pt x="3351" y="2926"/>
                  <a:pt x="3226" y="2975"/>
                  <a:pt x="3176" y="2975"/>
                </a:cubicBezTo>
                <a:cubicBezTo>
                  <a:pt x="3126" y="2975"/>
                  <a:pt x="3151" y="3026"/>
                  <a:pt x="3201" y="3101"/>
                </a:cubicBezTo>
                <a:cubicBezTo>
                  <a:pt x="3251" y="3175"/>
                  <a:pt x="3176" y="3126"/>
                  <a:pt x="3176" y="3175"/>
                </a:cubicBezTo>
                <a:cubicBezTo>
                  <a:pt x="3176" y="3201"/>
                  <a:pt x="3076" y="3150"/>
                  <a:pt x="3101" y="3150"/>
                </a:cubicBezTo>
                <a:cubicBezTo>
                  <a:pt x="3151" y="3126"/>
                  <a:pt x="3126" y="3101"/>
                  <a:pt x="3101" y="3075"/>
                </a:cubicBezTo>
                <a:cubicBezTo>
                  <a:pt x="3076" y="3050"/>
                  <a:pt x="3051" y="3075"/>
                  <a:pt x="3051" y="3050"/>
                </a:cubicBezTo>
                <a:cubicBezTo>
                  <a:pt x="3051" y="3026"/>
                  <a:pt x="3026" y="3050"/>
                  <a:pt x="3001" y="3026"/>
                </a:cubicBezTo>
                <a:cubicBezTo>
                  <a:pt x="2951" y="3001"/>
                  <a:pt x="2951" y="2975"/>
                  <a:pt x="2901" y="3001"/>
                </a:cubicBezTo>
                <a:cubicBezTo>
                  <a:pt x="2876" y="3026"/>
                  <a:pt x="2826" y="3026"/>
                  <a:pt x="2726" y="3026"/>
                </a:cubicBezTo>
                <a:cubicBezTo>
                  <a:pt x="2651" y="3050"/>
                  <a:pt x="2476" y="3050"/>
                  <a:pt x="2451" y="3026"/>
                </a:cubicBezTo>
                <a:cubicBezTo>
                  <a:pt x="2426" y="2975"/>
                  <a:pt x="2526" y="2926"/>
                  <a:pt x="2576" y="2950"/>
                </a:cubicBezTo>
                <a:cubicBezTo>
                  <a:pt x="2601" y="2950"/>
                  <a:pt x="2576" y="2900"/>
                  <a:pt x="2526" y="2875"/>
                </a:cubicBezTo>
                <a:cubicBezTo>
                  <a:pt x="2476" y="2825"/>
                  <a:pt x="2376" y="2800"/>
                  <a:pt x="2376" y="2825"/>
                </a:cubicBezTo>
                <a:cubicBezTo>
                  <a:pt x="2376" y="2850"/>
                  <a:pt x="2326" y="2825"/>
                  <a:pt x="2250" y="2825"/>
                </a:cubicBezTo>
                <a:cubicBezTo>
                  <a:pt x="2150" y="2800"/>
                  <a:pt x="2150" y="2775"/>
                  <a:pt x="2101" y="2775"/>
                </a:cubicBezTo>
                <a:cubicBezTo>
                  <a:pt x="2050" y="2775"/>
                  <a:pt x="1976" y="2750"/>
                  <a:pt x="1926" y="2725"/>
                </a:cubicBezTo>
                <a:cubicBezTo>
                  <a:pt x="1850" y="2675"/>
                  <a:pt x="1726" y="2675"/>
                  <a:pt x="1701" y="2725"/>
                </a:cubicBezTo>
                <a:cubicBezTo>
                  <a:pt x="1701" y="2775"/>
                  <a:pt x="1650" y="2750"/>
                  <a:pt x="1601" y="2750"/>
                </a:cubicBezTo>
                <a:cubicBezTo>
                  <a:pt x="1550" y="2750"/>
                  <a:pt x="1626" y="2701"/>
                  <a:pt x="1601" y="2701"/>
                </a:cubicBezTo>
                <a:cubicBezTo>
                  <a:pt x="1576" y="2701"/>
                  <a:pt x="1601" y="2625"/>
                  <a:pt x="1576" y="2625"/>
                </a:cubicBezTo>
                <a:cubicBezTo>
                  <a:pt x="1526" y="2625"/>
                  <a:pt x="1501" y="2775"/>
                  <a:pt x="1450" y="2750"/>
                </a:cubicBezTo>
                <a:cubicBezTo>
                  <a:pt x="1376" y="2750"/>
                  <a:pt x="1350" y="2601"/>
                  <a:pt x="1301" y="2575"/>
                </a:cubicBezTo>
                <a:cubicBezTo>
                  <a:pt x="1250" y="2525"/>
                  <a:pt x="1201" y="2525"/>
                  <a:pt x="1250" y="2601"/>
                </a:cubicBezTo>
                <a:cubicBezTo>
                  <a:pt x="1301" y="2650"/>
                  <a:pt x="1201" y="2601"/>
                  <a:pt x="1201" y="2650"/>
                </a:cubicBezTo>
                <a:cubicBezTo>
                  <a:pt x="1225" y="2675"/>
                  <a:pt x="1150" y="2725"/>
                  <a:pt x="1150" y="2701"/>
                </a:cubicBezTo>
                <a:cubicBezTo>
                  <a:pt x="1150" y="2675"/>
                  <a:pt x="1101" y="2650"/>
                  <a:pt x="1050" y="2725"/>
                </a:cubicBezTo>
                <a:cubicBezTo>
                  <a:pt x="1001" y="2775"/>
                  <a:pt x="976" y="2775"/>
                  <a:pt x="950" y="2750"/>
                </a:cubicBezTo>
                <a:cubicBezTo>
                  <a:pt x="950" y="2725"/>
                  <a:pt x="801" y="2800"/>
                  <a:pt x="825" y="2825"/>
                </a:cubicBezTo>
                <a:cubicBezTo>
                  <a:pt x="825" y="2850"/>
                  <a:pt x="801" y="2875"/>
                  <a:pt x="750" y="2875"/>
                </a:cubicBezTo>
                <a:cubicBezTo>
                  <a:pt x="725" y="2875"/>
                  <a:pt x="750" y="2825"/>
                  <a:pt x="776" y="2825"/>
                </a:cubicBezTo>
                <a:cubicBezTo>
                  <a:pt x="801" y="2800"/>
                  <a:pt x="901" y="2725"/>
                  <a:pt x="950" y="2725"/>
                </a:cubicBezTo>
                <a:cubicBezTo>
                  <a:pt x="1001" y="2701"/>
                  <a:pt x="1101" y="2675"/>
                  <a:pt x="1101" y="2650"/>
                </a:cubicBezTo>
                <a:cubicBezTo>
                  <a:pt x="1101" y="2625"/>
                  <a:pt x="1050" y="2650"/>
                  <a:pt x="1025" y="2625"/>
                </a:cubicBezTo>
                <a:cubicBezTo>
                  <a:pt x="1001" y="2625"/>
                  <a:pt x="925" y="2675"/>
                  <a:pt x="876" y="2701"/>
                </a:cubicBezTo>
                <a:cubicBezTo>
                  <a:pt x="825" y="2725"/>
                  <a:pt x="750" y="2701"/>
                  <a:pt x="776" y="2750"/>
                </a:cubicBezTo>
                <a:cubicBezTo>
                  <a:pt x="801" y="2775"/>
                  <a:pt x="725" y="2725"/>
                  <a:pt x="701" y="2750"/>
                </a:cubicBezTo>
                <a:cubicBezTo>
                  <a:pt x="701" y="2775"/>
                  <a:pt x="676" y="2750"/>
                  <a:pt x="676" y="2750"/>
                </a:cubicBezTo>
                <a:cubicBezTo>
                  <a:pt x="701" y="2725"/>
                  <a:pt x="625" y="2701"/>
                  <a:pt x="625" y="2725"/>
                </a:cubicBezTo>
                <a:cubicBezTo>
                  <a:pt x="625" y="2725"/>
                  <a:pt x="625" y="2750"/>
                  <a:pt x="576" y="2750"/>
                </a:cubicBezTo>
                <a:cubicBezTo>
                  <a:pt x="525" y="2750"/>
                  <a:pt x="476" y="2800"/>
                  <a:pt x="500" y="2825"/>
                </a:cubicBezTo>
                <a:cubicBezTo>
                  <a:pt x="550" y="2850"/>
                  <a:pt x="550" y="2850"/>
                  <a:pt x="550" y="2875"/>
                </a:cubicBezTo>
                <a:cubicBezTo>
                  <a:pt x="525" y="2875"/>
                  <a:pt x="476" y="2825"/>
                  <a:pt x="400" y="2825"/>
                </a:cubicBezTo>
                <a:cubicBezTo>
                  <a:pt x="325" y="2850"/>
                  <a:pt x="176" y="2750"/>
                  <a:pt x="176" y="2725"/>
                </a:cubicBezTo>
                <a:cubicBezTo>
                  <a:pt x="176" y="2701"/>
                  <a:pt x="76" y="2725"/>
                  <a:pt x="0" y="2725"/>
                </a:cubicBezTo>
                <a:cubicBezTo>
                  <a:pt x="0" y="4151"/>
                  <a:pt x="0" y="4151"/>
                  <a:pt x="0" y="4151"/>
                </a:cubicBezTo>
                <a:lnTo>
                  <a:pt x="50" y="4175"/>
                </a:lnTo>
                <a:cubicBezTo>
                  <a:pt x="76" y="4151"/>
                  <a:pt x="100" y="4175"/>
                  <a:pt x="150" y="4151"/>
                </a:cubicBezTo>
                <a:cubicBezTo>
                  <a:pt x="200" y="4126"/>
                  <a:pt x="200" y="4175"/>
                  <a:pt x="200" y="4200"/>
                </a:cubicBezTo>
                <a:cubicBezTo>
                  <a:pt x="200" y="4226"/>
                  <a:pt x="276" y="4251"/>
                  <a:pt x="300" y="4301"/>
                </a:cubicBezTo>
                <a:cubicBezTo>
                  <a:pt x="325" y="4326"/>
                  <a:pt x="350" y="4351"/>
                  <a:pt x="376" y="4351"/>
                </a:cubicBezTo>
                <a:cubicBezTo>
                  <a:pt x="400" y="4326"/>
                  <a:pt x="450" y="4301"/>
                  <a:pt x="450" y="4275"/>
                </a:cubicBezTo>
                <a:cubicBezTo>
                  <a:pt x="450" y="4226"/>
                  <a:pt x="601" y="4226"/>
                  <a:pt x="601" y="4275"/>
                </a:cubicBezTo>
                <a:cubicBezTo>
                  <a:pt x="601" y="4326"/>
                  <a:pt x="725" y="4375"/>
                  <a:pt x="801" y="4501"/>
                </a:cubicBezTo>
                <a:cubicBezTo>
                  <a:pt x="876" y="4626"/>
                  <a:pt x="850" y="4675"/>
                  <a:pt x="950" y="4701"/>
                </a:cubicBezTo>
                <a:cubicBezTo>
                  <a:pt x="1076" y="4751"/>
                  <a:pt x="1050" y="4775"/>
                  <a:pt x="1050" y="4801"/>
                </a:cubicBezTo>
                <a:cubicBezTo>
                  <a:pt x="1025" y="4851"/>
                  <a:pt x="1101" y="4851"/>
                  <a:pt x="1076" y="4901"/>
                </a:cubicBezTo>
                <a:cubicBezTo>
                  <a:pt x="1050" y="4901"/>
                  <a:pt x="1025" y="4926"/>
                  <a:pt x="1001" y="4926"/>
                </a:cubicBezTo>
                <a:cubicBezTo>
                  <a:pt x="1001" y="4951"/>
                  <a:pt x="1025" y="4975"/>
                  <a:pt x="1050" y="4975"/>
                </a:cubicBezTo>
                <a:cubicBezTo>
                  <a:pt x="1076" y="5001"/>
                  <a:pt x="1001" y="5001"/>
                  <a:pt x="1025" y="5026"/>
                </a:cubicBezTo>
                <a:cubicBezTo>
                  <a:pt x="1050" y="5051"/>
                  <a:pt x="1025" y="5075"/>
                  <a:pt x="1025" y="5101"/>
                </a:cubicBezTo>
                <a:cubicBezTo>
                  <a:pt x="1050" y="5126"/>
                  <a:pt x="1101" y="5101"/>
                  <a:pt x="1125" y="5101"/>
                </a:cubicBezTo>
                <a:cubicBezTo>
                  <a:pt x="1150" y="5075"/>
                  <a:pt x="1150" y="5126"/>
                  <a:pt x="1125" y="5151"/>
                </a:cubicBezTo>
                <a:cubicBezTo>
                  <a:pt x="1125" y="5175"/>
                  <a:pt x="1150" y="5201"/>
                  <a:pt x="1176" y="5175"/>
                </a:cubicBezTo>
                <a:cubicBezTo>
                  <a:pt x="1201" y="5151"/>
                  <a:pt x="1225" y="5226"/>
                  <a:pt x="1250" y="5226"/>
                </a:cubicBezTo>
                <a:cubicBezTo>
                  <a:pt x="1276" y="5226"/>
                  <a:pt x="1301" y="5275"/>
                  <a:pt x="1250" y="5275"/>
                </a:cubicBezTo>
                <a:cubicBezTo>
                  <a:pt x="1225" y="5275"/>
                  <a:pt x="1225" y="5326"/>
                  <a:pt x="1250" y="5326"/>
                </a:cubicBezTo>
                <a:cubicBezTo>
                  <a:pt x="1276" y="5326"/>
                  <a:pt x="1276" y="5351"/>
                  <a:pt x="1276" y="5376"/>
                </a:cubicBezTo>
                <a:cubicBezTo>
                  <a:pt x="1276" y="5401"/>
                  <a:pt x="1350" y="5426"/>
                  <a:pt x="1376" y="5401"/>
                </a:cubicBezTo>
                <a:cubicBezTo>
                  <a:pt x="1401" y="5401"/>
                  <a:pt x="1425" y="5426"/>
                  <a:pt x="1450" y="5451"/>
                </a:cubicBezTo>
                <a:cubicBezTo>
                  <a:pt x="1450" y="5476"/>
                  <a:pt x="1501" y="5500"/>
                  <a:pt x="1526" y="5476"/>
                </a:cubicBezTo>
                <a:cubicBezTo>
                  <a:pt x="1550" y="5451"/>
                  <a:pt x="1550" y="5500"/>
                  <a:pt x="1550" y="5526"/>
                </a:cubicBezTo>
                <a:cubicBezTo>
                  <a:pt x="1550" y="5551"/>
                  <a:pt x="1601" y="5551"/>
                  <a:pt x="1626" y="5551"/>
                </a:cubicBezTo>
                <a:cubicBezTo>
                  <a:pt x="1650" y="5551"/>
                  <a:pt x="1676" y="5576"/>
                  <a:pt x="1676" y="5576"/>
                </a:cubicBezTo>
                <a:cubicBezTo>
                  <a:pt x="1726" y="5551"/>
                  <a:pt x="1726" y="5626"/>
                  <a:pt x="1750" y="5651"/>
                </a:cubicBezTo>
                <a:cubicBezTo>
                  <a:pt x="4351" y="5651"/>
                  <a:pt x="4351" y="5651"/>
                  <a:pt x="4351" y="5651"/>
                </a:cubicBezTo>
                <a:cubicBezTo>
                  <a:pt x="4351" y="5651"/>
                  <a:pt x="4351" y="5576"/>
                  <a:pt x="4377" y="5600"/>
                </a:cubicBezTo>
                <a:cubicBezTo>
                  <a:pt x="4401" y="5626"/>
                  <a:pt x="4377" y="5651"/>
                  <a:pt x="4426" y="5676"/>
                </a:cubicBezTo>
                <a:cubicBezTo>
                  <a:pt x="4451" y="5676"/>
                  <a:pt x="4477" y="5701"/>
                  <a:pt x="4501" y="5701"/>
                </a:cubicBezTo>
                <a:cubicBezTo>
                  <a:pt x="4526" y="5701"/>
                  <a:pt x="4551" y="5676"/>
                  <a:pt x="4577" y="5701"/>
                </a:cubicBezTo>
                <a:cubicBezTo>
                  <a:pt x="4626" y="5751"/>
                  <a:pt x="4651" y="5701"/>
                  <a:pt x="4651" y="5726"/>
                </a:cubicBezTo>
                <a:cubicBezTo>
                  <a:pt x="4677" y="5751"/>
                  <a:pt x="4726" y="5776"/>
                  <a:pt x="4751" y="5751"/>
                </a:cubicBezTo>
                <a:cubicBezTo>
                  <a:pt x="4751" y="5726"/>
                  <a:pt x="4851" y="5751"/>
                  <a:pt x="4877" y="5776"/>
                </a:cubicBezTo>
                <a:cubicBezTo>
                  <a:pt x="4926" y="5726"/>
                  <a:pt x="4951" y="5651"/>
                  <a:pt x="5001" y="5651"/>
                </a:cubicBezTo>
                <a:cubicBezTo>
                  <a:pt x="5051" y="5651"/>
                  <a:pt x="5202" y="5676"/>
                  <a:pt x="5202" y="5726"/>
                </a:cubicBezTo>
                <a:cubicBezTo>
                  <a:pt x="5202" y="5801"/>
                  <a:pt x="5302" y="5751"/>
                  <a:pt x="5302" y="5801"/>
                </a:cubicBezTo>
                <a:cubicBezTo>
                  <a:pt x="5302" y="5851"/>
                  <a:pt x="5351" y="5901"/>
                  <a:pt x="5351" y="5926"/>
                </a:cubicBezTo>
                <a:cubicBezTo>
                  <a:pt x="5377" y="5951"/>
                  <a:pt x="5402" y="5951"/>
                  <a:pt x="5402" y="5976"/>
                </a:cubicBezTo>
                <a:cubicBezTo>
                  <a:pt x="5426" y="5976"/>
                  <a:pt x="5502" y="5976"/>
                  <a:pt x="5551" y="6001"/>
                </a:cubicBezTo>
                <a:cubicBezTo>
                  <a:pt x="5602" y="6026"/>
                  <a:pt x="5702" y="5976"/>
                  <a:pt x="5726" y="6051"/>
                </a:cubicBezTo>
                <a:cubicBezTo>
                  <a:pt x="5751" y="6101"/>
                  <a:pt x="5826" y="6151"/>
                  <a:pt x="5751" y="6176"/>
                </a:cubicBezTo>
                <a:cubicBezTo>
                  <a:pt x="5702" y="6176"/>
                  <a:pt x="5626" y="6101"/>
                  <a:pt x="5626" y="6151"/>
                </a:cubicBezTo>
                <a:cubicBezTo>
                  <a:pt x="5651" y="6176"/>
                  <a:pt x="5602" y="6151"/>
                  <a:pt x="5602" y="6226"/>
                </a:cubicBezTo>
                <a:cubicBezTo>
                  <a:pt x="5602" y="6276"/>
                  <a:pt x="5577" y="6376"/>
                  <a:pt x="5551" y="6376"/>
                </a:cubicBezTo>
                <a:lnTo>
                  <a:pt x="5551" y="6376"/>
                </a:lnTo>
                <a:cubicBezTo>
                  <a:pt x="5526" y="6401"/>
                  <a:pt x="5526" y="6426"/>
                  <a:pt x="5551" y="6451"/>
                </a:cubicBezTo>
                <a:cubicBezTo>
                  <a:pt x="5577" y="6426"/>
                  <a:pt x="5626" y="6376"/>
                  <a:pt x="5677" y="6376"/>
                </a:cubicBezTo>
                <a:cubicBezTo>
                  <a:pt x="5726" y="6376"/>
                  <a:pt x="5751" y="6426"/>
                  <a:pt x="5802" y="6401"/>
                </a:cubicBezTo>
                <a:cubicBezTo>
                  <a:pt x="5826" y="6376"/>
                  <a:pt x="5851" y="6351"/>
                  <a:pt x="5851" y="6376"/>
                </a:cubicBezTo>
                <a:lnTo>
                  <a:pt x="5851" y="6376"/>
                </a:lnTo>
                <a:cubicBezTo>
                  <a:pt x="5877" y="6376"/>
                  <a:pt x="5877" y="6376"/>
                  <a:pt x="5877" y="6351"/>
                </a:cubicBezTo>
                <a:lnTo>
                  <a:pt x="5877" y="6326"/>
                </a:lnTo>
                <a:cubicBezTo>
                  <a:pt x="5826" y="6326"/>
                  <a:pt x="5826" y="6326"/>
                  <a:pt x="5802" y="6301"/>
                </a:cubicBezTo>
                <a:cubicBezTo>
                  <a:pt x="5777" y="6251"/>
                  <a:pt x="5926" y="6226"/>
                  <a:pt x="6002" y="6226"/>
                </a:cubicBezTo>
                <a:cubicBezTo>
                  <a:pt x="6051" y="6226"/>
                  <a:pt x="6102" y="6201"/>
                  <a:pt x="6127" y="6226"/>
                </a:cubicBezTo>
                <a:cubicBezTo>
                  <a:pt x="6177" y="6176"/>
                  <a:pt x="6227" y="6126"/>
                  <a:pt x="6251" y="6126"/>
                </a:cubicBezTo>
                <a:cubicBezTo>
                  <a:pt x="6277" y="6126"/>
                  <a:pt x="6577" y="6126"/>
                  <a:pt x="6577" y="6126"/>
                </a:cubicBezTo>
                <a:cubicBezTo>
                  <a:pt x="6577" y="6126"/>
                  <a:pt x="6677" y="6051"/>
                  <a:pt x="6702" y="6001"/>
                </a:cubicBezTo>
                <a:cubicBezTo>
                  <a:pt x="6702" y="5951"/>
                  <a:pt x="6777" y="5801"/>
                  <a:pt x="6802" y="5826"/>
                </a:cubicBezTo>
                <a:cubicBezTo>
                  <a:pt x="6852" y="5851"/>
                  <a:pt x="6927" y="5851"/>
                  <a:pt x="6927" y="5876"/>
                </a:cubicBezTo>
                <a:cubicBezTo>
                  <a:pt x="6927" y="5901"/>
                  <a:pt x="6902" y="5976"/>
                  <a:pt x="7027" y="6126"/>
                </a:cubicBezTo>
                <a:cubicBezTo>
                  <a:pt x="7052" y="6101"/>
                  <a:pt x="7102" y="6076"/>
                  <a:pt x="7102" y="6076"/>
                </a:cubicBezTo>
                <a:cubicBezTo>
                  <a:pt x="7152" y="6101"/>
                  <a:pt x="7202" y="6051"/>
                  <a:pt x="7227" y="6001"/>
                </a:cubicBezTo>
                <a:cubicBezTo>
                  <a:pt x="7252" y="5976"/>
                  <a:pt x="7252" y="6026"/>
                  <a:pt x="7227" y="6051"/>
                </a:cubicBezTo>
                <a:cubicBezTo>
                  <a:pt x="7202" y="6051"/>
                  <a:pt x="7252" y="6076"/>
                  <a:pt x="7327" y="6076"/>
                </a:cubicBezTo>
                <a:cubicBezTo>
                  <a:pt x="7377" y="6076"/>
                  <a:pt x="7277" y="6101"/>
                  <a:pt x="7252" y="6101"/>
                </a:cubicBezTo>
                <a:cubicBezTo>
                  <a:pt x="7202" y="6101"/>
                  <a:pt x="7177" y="6101"/>
                  <a:pt x="7127" y="6151"/>
                </a:cubicBezTo>
                <a:cubicBezTo>
                  <a:pt x="7077" y="6226"/>
                  <a:pt x="7077" y="6226"/>
                  <a:pt x="7102" y="6276"/>
                </a:cubicBezTo>
                <a:cubicBezTo>
                  <a:pt x="7152" y="6301"/>
                  <a:pt x="7202" y="6276"/>
                  <a:pt x="7227" y="6251"/>
                </a:cubicBezTo>
                <a:cubicBezTo>
                  <a:pt x="7277" y="6201"/>
                  <a:pt x="7277" y="6176"/>
                  <a:pt x="7327" y="6176"/>
                </a:cubicBezTo>
                <a:cubicBezTo>
                  <a:pt x="7377" y="6176"/>
                  <a:pt x="7502" y="6126"/>
                  <a:pt x="7552" y="6101"/>
                </a:cubicBezTo>
                <a:cubicBezTo>
                  <a:pt x="7602" y="6101"/>
                  <a:pt x="7552" y="6076"/>
                  <a:pt x="7552" y="6051"/>
                </a:cubicBezTo>
                <a:cubicBezTo>
                  <a:pt x="7552" y="6026"/>
                  <a:pt x="7652" y="6026"/>
                  <a:pt x="7677" y="6026"/>
                </a:cubicBezTo>
                <a:cubicBezTo>
                  <a:pt x="7727" y="6001"/>
                  <a:pt x="7677" y="5976"/>
                  <a:pt x="7652" y="5976"/>
                </a:cubicBezTo>
                <a:close/>
                <a:moveTo>
                  <a:pt x="2226" y="3275"/>
                </a:moveTo>
                <a:lnTo>
                  <a:pt x="2226" y="3275"/>
                </a:lnTo>
                <a:cubicBezTo>
                  <a:pt x="2176" y="3350"/>
                  <a:pt x="2150" y="3350"/>
                  <a:pt x="2101" y="3350"/>
                </a:cubicBezTo>
                <a:cubicBezTo>
                  <a:pt x="2050" y="3326"/>
                  <a:pt x="2001" y="3350"/>
                  <a:pt x="2026" y="3375"/>
                </a:cubicBezTo>
                <a:cubicBezTo>
                  <a:pt x="2076" y="3401"/>
                  <a:pt x="2076" y="3426"/>
                  <a:pt x="2001" y="3426"/>
                </a:cubicBezTo>
                <a:cubicBezTo>
                  <a:pt x="1950" y="3450"/>
                  <a:pt x="1901" y="3501"/>
                  <a:pt x="1876" y="3475"/>
                </a:cubicBezTo>
                <a:cubicBezTo>
                  <a:pt x="1876" y="3475"/>
                  <a:pt x="1976" y="3401"/>
                  <a:pt x="1950" y="3375"/>
                </a:cubicBezTo>
                <a:cubicBezTo>
                  <a:pt x="1926" y="3350"/>
                  <a:pt x="1850" y="3401"/>
                  <a:pt x="1850" y="3426"/>
                </a:cubicBezTo>
                <a:cubicBezTo>
                  <a:pt x="1850" y="3475"/>
                  <a:pt x="1801" y="3475"/>
                  <a:pt x="1750" y="3475"/>
                </a:cubicBezTo>
                <a:cubicBezTo>
                  <a:pt x="1726" y="3450"/>
                  <a:pt x="1676" y="3426"/>
                  <a:pt x="1726" y="3426"/>
                </a:cubicBezTo>
                <a:cubicBezTo>
                  <a:pt x="1750" y="3426"/>
                  <a:pt x="1726" y="3401"/>
                  <a:pt x="1776" y="3375"/>
                </a:cubicBezTo>
                <a:cubicBezTo>
                  <a:pt x="1826" y="3350"/>
                  <a:pt x="1776" y="3326"/>
                  <a:pt x="1776" y="3326"/>
                </a:cubicBezTo>
                <a:cubicBezTo>
                  <a:pt x="1801" y="3301"/>
                  <a:pt x="1876" y="3326"/>
                  <a:pt x="1876" y="3301"/>
                </a:cubicBezTo>
                <a:cubicBezTo>
                  <a:pt x="1876" y="3275"/>
                  <a:pt x="1801" y="3250"/>
                  <a:pt x="1750" y="3250"/>
                </a:cubicBezTo>
                <a:cubicBezTo>
                  <a:pt x="1726" y="3275"/>
                  <a:pt x="1650" y="3326"/>
                  <a:pt x="1576" y="3301"/>
                </a:cubicBezTo>
                <a:cubicBezTo>
                  <a:pt x="1550" y="3275"/>
                  <a:pt x="1801" y="3250"/>
                  <a:pt x="1826" y="3226"/>
                </a:cubicBezTo>
                <a:cubicBezTo>
                  <a:pt x="1876" y="3175"/>
                  <a:pt x="2050" y="3126"/>
                  <a:pt x="2050" y="3175"/>
                </a:cubicBezTo>
                <a:cubicBezTo>
                  <a:pt x="2076" y="3201"/>
                  <a:pt x="1976" y="3226"/>
                  <a:pt x="2026" y="3250"/>
                </a:cubicBezTo>
                <a:cubicBezTo>
                  <a:pt x="2076" y="3275"/>
                  <a:pt x="2150" y="3275"/>
                  <a:pt x="2176" y="3226"/>
                </a:cubicBezTo>
                <a:cubicBezTo>
                  <a:pt x="2201" y="3201"/>
                  <a:pt x="2276" y="3201"/>
                  <a:pt x="2226" y="3275"/>
                </a:cubicBezTo>
                <a:close/>
                <a:moveTo>
                  <a:pt x="2751" y="3950"/>
                </a:moveTo>
                <a:lnTo>
                  <a:pt x="2751" y="3950"/>
                </a:lnTo>
                <a:cubicBezTo>
                  <a:pt x="2701" y="4001"/>
                  <a:pt x="2701" y="3975"/>
                  <a:pt x="2651" y="4001"/>
                </a:cubicBezTo>
                <a:cubicBezTo>
                  <a:pt x="2576" y="4001"/>
                  <a:pt x="2626" y="4050"/>
                  <a:pt x="2551" y="4075"/>
                </a:cubicBezTo>
                <a:cubicBezTo>
                  <a:pt x="2501" y="4075"/>
                  <a:pt x="2326" y="4075"/>
                  <a:pt x="2301" y="4050"/>
                </a:cubicBezTo>
                <a:cubicBezTo>
                  <a:pt x="2301" y="4026"/>
                  <a:pt x="2401" y="4026"/>
                  <a:pt x="2401" y="4001"/>
                </a:cubicBezTo>
                <a:cubicBezTo>
                  <a:pt x="2401" y="3975"/>
                  <a:pt x="2426" y="3926"/>
                  <a:pt x="2476" y="3926"/>
                </a:cubicBezTo>
                <a:cubicBezTo>
                  <a:pt x="2526" y="3926"/>
                  <a:pt x="2501" y="3875"/>
                  <a:pt x="2451" y="3850"/>
                </a:cubicBezTo>
                <a:cubicBezTo>
                  <a:pt x="2376" y="3826"/>
                  <a:pt x="2551" y="3801"/>
                  <a:pt x="2576" y="3850"/>
                </a:cubicBezTo>
                <a:cubicBezTo>
                  <a:pt x="2626" y="3901"/>
                  <a:pt x="2676" y="3926"/>
                  <a:pt x="2726" y="3901"/>
                </a:cubicBezTo>
                <a:cubicBezTo>
                  <a:pt x="2751" y="3850"/>
                  <a:pt x="2976" y="3750"/>
                  <a:pt x="2976" y="3801"/>
                </a:cubicBezTo>
                <a:cubicBezTo>
                  <a:pt x="2976" y="3850"/>
                  <a:pt x="2826" y="3901"/>
                  <a:pt x="2751" y="3950"/>
                </a:cubicBezTo>
                <a:close/>
                <a:moveTo>
                  <a:pt x="4201" y="5451"/>
                </a:moveTo>
                <a:lnTo>
                  <a:pt x="4201" y="5451"/>
                </a:lnTo>
                <a:cubicBezTo>
                  <a:pt x="4151" y="5476"/>
                  <a:pt x="4201" y="5351"/>
                  <a:pt x="4126" y="5301"/>
                </a:cubicBezTo>
                <a:cubicBezTo>
                  <a:pt x="4026" y="5251"/>
                  <a:pt x="3976" y="5151"/>
                  <a:pt x="3976" y="5075"/>
                </a:cubicBezTo>
                <a:cubicBezTo>
                  <a:pt x="3976" y="5026"/>
                  <a:pt x="4076" y="5001"/>
                  <a:pt x="4101" y="5051"/>
                </a:cubicBezTo>
                <a:cubicBezTo>
                  <a:pt x="4126" y="5101"/>
                  <a:pt x="4177" y="5251"/>
                  <a:pt x="4201" y="5326"/>
                </a:cubicBezTo>
                <a:cubicBezTo>
                  <a:pt x="4251" y="5376"/>
                  <a:pt x="4251" y="5451"/>
                  <a:pt x="4201" y="5451"/>
                </a:cubicBezTo>
                <a:close/>
              </a:path>
            </a:pathLst>
          </a:custGeom>
          <a:solidFill>
            <a:srgbClr val="39A3B5">
              <a:lumMod val="75000"/>
            </a:srgbClr>
          </a:solidFill>
          <a:ln w="9525" cap="flat">
            <a:solidFill>
              <a:srgbClr val="39A3B5">
                <a:lumMod val="75000"/>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6" name="Freeform 242">
            <a:extLst>
              <a:ext uri="{FF2B5EF4-FFF2-40B4-BE49-F238E27FC236}">
                <a16:creationId xmlns:a16="http://schemas.microsoft.com/office/drawing/2014/main" id="{3DC892DD-233F-1583-9BEA-3E0FFCEE17CB}"/>
              </a:ext>
            </a:extLst>
          </p:cNvPr>
          <p:cNvSpPr>
            <a:spLocks noChangeArrowheads="1"/>
          </p:cNvSpPr>
          <p:nvPr/>
        </p:nvSpPr>
        <p:spPr bwMode="auto">
          <a:xfrm>
            <a:off x="2984612" y="1964360"/>
            <a:ext cx="3054356" cy="2072800"/>
          </a:xfrm>
          <a:custGeom>
            <a:avLst/>
            <a:gdLst>
              <a:gd name="T0" fmla="*/ 3001 w 9579"/>
              <a:gd name="T1" fmla="*/ 1850 h 6502"/>
              <a:gd name="T2" fmla="*/ 2551 w 9579"/>
              <a:gd name="T3" fmla="*/ 1726 h 6502"/>
              <a:gd name="T4" fmla="*/ 1801 w 9579"/>
              <a:gd name="T5" fmla="*/ 150 h 6502"/>
              <a:gd name="T6" fmla="*/ 1201 w 9579"/>
              <a:gd name="T7" fmla="*/ 76 h 6502"/>
              <a:gd name="T8" fmla="*/ 776 w 9579"/>
              <a:gd name="T9" fmla="*/ 125 h 6502"/>
              <a:gd name="T10" fmla="*/ 200 w 9579"/>
              <a:gd name="T11" fmla="*/ 425 h 6502"/>
              <a:gd name="T12" fmla="*/ 726 w 9579"/>
              <a:gd name="T13" fmla="*/ 825 h 6502"/>
              <a:gd name="T14" fmla="*/ 226 w 9579"/>
              <a:gd name="T15" fmla="*/ 876 h 6502"/>
              <a:gd name="T16" fmla="*/ 426 w 9579"/>
              <a:gd name="T17" fmla="*/ 1125 h 6502"/>
              <a:gd name="T18" fmla="*/ 476 w 9579"/>
              <a:gd name="T19" fmla="*/ 1350 h 6502"/>
              <a:gd name="T20" fmla="*/ 276 w 9579"/>
              <a:gd name="T21" fmla="*/ 1701 h 6502"/>
              <a:gd name="T22" fmla="*/ 676 w 9579"/>
              <a:gd name="T23" fmla="*/ 1950 h 6502"/>
              <a:gd name="T24" fmla="*/ 976 w 9579"/>
              <a:gd name="T25" fmla="*/ 2150 h 6502"/>
              <a:gd name="T26" fmla="*/ 626 w 9579"/>
              <a:gd name="T27" fmla="*/ 2426 h 6502"/>
              <a:gd name="T28" fmla="*/ 1126 w 9579"/>
              <a:gd name="T29" fmla="*/ 2150 h 6502"/>
              <a:gd name="T30" fmla="*/ 1376 w 9579"/>
              <a:gd name="T31" fmla="*/ 1826 h 6502"/>
              <a:gd name="T32" fmla="*/ 1701 w 9579"/>
              <a:gd name="T33" fmla="*/ 1650 h 6502"/>
              <a:gd name="T34" fmla="*/ 1751 w 9579"/>
              <a:gd name="T35" fmla="*/ 1801 h 6502"/>
              <a:gd name="T36" fmla="*/ 2001 w 9579"/>
              <a:gd name="T37" fmla="*/ 1676 h 6502"/>
              <a:gd name="T38" fmla="*/ 2201 w 9579"/>
              <a:gd name="T39" fmla="*/ 1750 h 6502"/>
              <a:gd name="T40" fmla="*/ 2727 w 9579"/>
              <a:gd name="T41" fmla="*/ 1876 h 6502"/>
              <a:gd name="T42" fmla="*/ 3127 w 9579"/>
              <a:gd name="T43" fmla="*/ 1950 h 6502"/>
              <a:gd name="T44" fmla="*/ 3152 w 9579"/>
              <a:gd name="T45" fmla="*/ 2276 h 6502"/>
              <a:gd name="T46" fmla="*/ 3276 w 9579"/>
              <a:gd name="T47" fmla="*/ 2126 h 6502"/>
              <a:gd name="T48" fmla="*/ 3376 w 9579"/>
              <a:gd name="T49" fmla="*/ 2326 h 6502"/>
              <a:gd name="T50" fmla="*/ 3301 w 9579"/>
              <a:gd name="T51" fmla="*/ 2401 h 6502"/>
              <a:gd name="T52" fmla="*/ 3501 w 9579"/>
              <a:gd name="T53" fmla="*/ 2426 h 6502"/>
              <a:gd name="T54" fmla="*/ 76 w 9579"/>
              <a:gd name="T55" fmla="*/ 2676 h 6502"/>
              <a:gd name="T56" fmla="*/ 300 w 9579"/>
              <a:gd name="T57" fmla="*/ 2550 h 6502"/>
              <a:gd name="T58" fmla="*/ 1326 w 9579"/>
              <a:gd name="T59" fmla="*/ 2126 h 6502"/>
              <a:gd name="T60" fmla="*/ 1501 w 9579"/>
              <a:gd name="T61" fmla="*/ 2050 h 6502"/>
              <a:gd name="T62" fmla="*/ 226 w 9579"/>
              <a:gd name="T63" fmla="*/ 1750 h 6502"/>
              <a:gd name="T64" fmla="*/ 1176 w 9579"/>
              <a:gd name="T65" fmla="*/ 6350 h 6502"/>
              <a:gd name="T66" fmla="*/ 776 w 9579"/>
              <a:gd name="T67" fmla="*/ 6176 h 6502"/>
              <a:gd name="T68" fmla="*/ 926 w 9579"/>
              <a:gd name="T69" fmla="*/ 6225 h 6502"/>
              <a:gd name="T70" fmla="*/ 8802 w 9579"/>
              <a:gd name="T71" fmla="*/ 3701 h 6502"/>
              <a:gd name="T72" fmla="*/ 8402 w 9579"/>
              <a:gd name="T73" fmla="*/ 3951 h 6502"/>
              <a:gd name="T74" fmla="*/ 8053 w 9579"/>
              <a:gd name="T75" fmla="*/ 3826 h 6502"/>
              <a:gd name="T76" fmla="*/ 7653 w 9579"/>
              <a:gd name="T77" fmla="*/ 4051 h 6502"/>
              <a:gd name="T78" fmla="*/ 7902 w 9579"/>
              <a:gd name="T79" fmla="*/ 3501 h 6502"/>
              <a:gd name="T80" fmla="*/ 7302 w 9579"/>
              <a:gd name="T81" fmla="*/ 3501 h 6502"/>
              <a:gd name="T82" fmla="*/ 7128 w 9579"/>
              <a:gd name="T83" fmla="*/ 3276 h 6502"/>
              <a:gd name="T84" fmla="*/ 4327 w 9579"/>
              <a:gd name="T85" fmla="*/ 3251 h 6502"/>
              <a:gd name="T86" fmla="*/ 4101 w 9579"/>
              <a:gd name="T87" fmla="*/ 3301 h 6502"/>
              <a:gd name="T88" fmla="*/ 4177 w 9579"/>
              <a:gd name="T89" fmla="*/ 3876 h 6502"/>
              <a:gd name="T90" fmla="*/ 4327 w 9579"/>
              <a:gd name="T91" fmla="*/ 4551 h 6502"/>
              <a:gd name="T92" fmla="*/ 4727 w 9579"/>
              <a:gd name="T93" fmla="*/ 4926 h 6502"/>
              <a:gd name="T94" fmla="*/ 5677 w 9579"/>
              <a:gd name="T95" fmla="*/ 5201 h 6502"/>
              <a:gd name="T96" fmla="*/ 6152 w 9579"/>
              <a:gd name="T97" fmla="*/ 5451 h 6502"/>
              <a:gd name="T98" fmla="*/ 6652 w 9579"/>
              <a:gd name="T99" fmla="*/ 5751 h 6502"/>
              <a:gd name="T100" fmla="*/ 6928 w 9579"/>
              <a:gd name="T101" fmla="*/ 5401 h 6502"/>
              <a:gd name="T102" fmla="*/ 7252 w 9579"/>
              <a:gd name="T103" fmla="*/ 5401 h 6502"/>
              <a:gd name="T104" fmla="*/ 7502 w 9579"/>
              <a:gd name="T105" fmla="*/ 5301 h 6502"/>
              <a:gd name="T106" fmla="*/ 7977 w 9579"/>
              <a:gd name="T107" fmla="*/ 5351 h 6502"/>
              <a:gd name="T108" fmla="*/ 8277 w 9579"/>
              <a:gd name="T109" fmla="*/ 5850 h 6502"/>
              <a:gd name="T110" fmla="*/ 8377 w 9579"/>
              <a:gd name="T111" fmla="*/ 5026 h 6502"/>
              <a:gd name="T112" fmla="*/ 8702 w 9579"/>
              <a:gd name="T113" fmla="*/ 4776 h 6502"/>
              <a:gd name="T114" fmla="*/ 8653 w 9579"/>
              <a:gd name="T115" fmla="*/ 4451 h 6502"/>
              <a:gd name="T116" fmla="*/ 8753 w 9579"/>
              <a:gd name="T117" fmla="*/ 4376 h 6502"/>
              <a:gd name="T118" fmla="*/ 8928 w 9579"/>
              <a:gd name="T119" fmla="*/ 4151 h 6502"/>
              <a:gd name="T120" fmla="*/ 9253 w 9579"/>
              <a:gd name="T121" fmla="*/ 3851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79" h="6502">
                <a:moveTo>
                  <a:pt x="3601" y="2376"/>
                </a:moveTo>
                <a:lnTo>
                  <a:pt x="3601" y="2376"/>
                </a:lnTo>
                <a:cubicBezTo>
                  <a:pt x="3601" y="2350"/>
                  <a:pt x="3627" y="2326"/>
                  <a:pt x="3501" y="2276"/>
                </a:cubicBezTo>
                <a:cubicBezTo>
                  <a:pt x="3401" y="2250"/>
                  <a:pt x="3427" y="2201"/>
                  <a:pt x="3352" y="2076"/>
                </a:cubicBezTo>
                <a:cubicBezTo>
                  <a:pt x="3276" y="1950"/>
                  <a:pt x="3152" y="1901"/>
                  <a:pt x="3152" y="1850"/>
                </a:cubicBezTo>
                <a:cubicBezTo>
                  <a:pt x="3152" y="1801"/>
                  <a:pt x="3001" y="1801"/>
                  <a:pt x="3001" y="1850"/>
                </a:cubicBezTo>
                <a:cubicBezTo>
                  <a:pt x="3001" y="1876"/>
                  <a:pt x="2951" y="1901"/>
                  <a:pt x="2927" y="1926"/>
                </a:cubicBezTo>
                <a:cubicBezTo>
                  <a:pt x="2901" y="1926"/>
                  <a:pt x="2876" y="1901"/>
                  <a:pt x="2851" y="1876"/>
                </a:cubicBezTo>
                <a:cubicBezTo>
                  <a:pt x="2827" y="1826"/>
                  <a:pt x="2751" y="1801"/>
                  <a:pt x="2751" y="1775"/>
                </a:cubicBezTo>
                <a:cubicBezTo>
                  <a:pt x="2751" y="1750"/>
                  <a:pt x="2751" y="1701"/>
                  <a:pt x="2701" y="1726"/>
                </a:cubicBezTo>
                <a:cubicBezTo>
                  <a:pt x="2651" y="1750"/>
                  <a:pt x="2627" y="1726"/>
                  <a:pt x="2601" y="1750"/>
                </a:cubicBezTo>
                <a:lnTo>
                  <a:pt x="2551" y="1726"/>
                </a:lnTo>
                <a:cubicBezTo>
                  <a:pt x="2551" y="300"/>
                  <a:pt x="2551" y="300"/>
                  <a:pt x="2551" y="300"/>
                </a:cubicBezTo>
                <a:lnTo>
                  <a:pt x="2527" y="276"/>
                </a:lnTo>
                <a:cubicBezTo>
                  <a:pt x="2451" y="250"/>
                  <a:pt x="2376" y="225"/>
                  <a:pt x="2327" y="225"/>
                </a:cubicBezTo>
                <a:cubicBezTo>
                  <a:pt x="2276" y="250"/>
                  <a:pt x="2176" y="250"/>
                  <a:pt x="2151" y="225"/>
                </a:cubicBezTo>
                <a:cubicBezTo>
                  <a:pt x="2101" y="225"/>
                  <a:pt x="2051" y="200"/>
                  <a:pt x="2001" y="225"/>
                </a:cubicBezTo>
                <a:cubicBezTo>
                  <a:pt x="1926" y="225"/>
                  <a:pt x="1876" y="176"/>
                  <a:pt x="1801" y="150"/>
                </a:cubicBezTo>
                <a:cubicBezTo>
                  <a:pt x="1701" y="125"/>
                  <a:pt x="1576" y="150"/>
                  <a:pt x="1551" y="176"/>
                </a:cubicBezTo>
                <a:cubicBezTo>
                  <a:pt x="1526" y="176"/>
                  <a:pt x="1526" y="150"/>
                  <a:pt x="1501" y="150"/>
                </a:cubicBezTo>
                <a:cubicBezTo>
                  <a:pt x="1451" y="150"/>
                  <a:pt x="1476" y="125"/>
                  <a:pt x="1476" y="100"/>
                </a:cubicBezTo>
                <a:cubicBezTo>
                  <a:pt x="1451" y="76"/>
                  <a:pt x="1351" y="100"/>
                  <a:pt x="1301" y="100"/>
                </a:cubicBezTo>
                <a:cubicBezTo>
                  <a:pt x="1276" y="100"/>
                  <a:pt x="1251" y="76"/>
                  <a:pt x="1251" y="50"/>
                </a:cubicBezTo>
                <a:cubicBezTo>
                  <a:pt x="1251" y="50"/>
                  <a:pt x="1226" y="50"/>
                  <a:pt x="1201" y="76"/>
                </a:cubicBezTo>
                <a:cubicBezTo>
                  <a:pt x="1201" y="100"/>
                  <a:pt x="1151" y="100"/>
                  <a:pt x="1126" y="76"/>
                </a:cubicBezTo>
                <a:cubicBezTo>
                  <a:pt x="1126" y="76"/>
                  <a:pt x="1176" y="76"/>
                  <a:pt x="1176" y="50"/>
                </a:cubicBezTo>
                <a:cubicBezTo>
                  <a:pt x="1176" y="25"/>
                  <a:pt x="1126" y="25"/>
                  <a:pt x="1101" y="0"/>
                </a:cubicBezTo>
                <a:cubicBezTo>
                  <a:pt x="1076" y="0"/>
                  <a:pt x="1051" y="25"/>
                  <a:pt x="1001" y="76"/>
                </a:cubicBezTo>
                <a:cubicBezTo>
                  <a:pt x="951" y="100"/>
                  <a:pt x="901" y="100"/>
                  <a:pt x="851" y="100"/>
                </a:cubicBezTo>
                <a:cubicBezTo>
                  <a:pt x="801" y="100"/>
                  <a:pt x="751" y="100"/>
                  <a:pt x="776" y="125"/>
                </a:cubicBezTo>
                <a:cubicBezTo>
                  <a:pt x="776" y="150"/>
                  <a:pt x="826" y="150"/>
                  <a:pt x="776" y="176"/>
                </a:cubicBezTo>
                <a:cubicBezTo>
                  <a:pt x="751" y="200"/>
                  <a:pt x="751" y="150"/>
                  <a:pt x="726" y="176"/>
                </a:cubicBezTo>
                <a:cubicBezTo>
                  <a:pt x="676" y="200"/>
                  <a:pt x="601" y="200"/>
                  <a:pt x="576" y="200"/>
                </a:cubicBezTo>
                <a:cubicBezTo>
                  <a:pt x="551" y="200"/>
                  <a:pt x="501" y="276"/>
                  <a:pt x="476" y="276"/>
                </a:cubicBezTo>
                <a:cubicBezTo>
                  <a:pt x="451" y="300"/>
                  <a:pt x="476" y="325"/>
                  <a:pt x="426" y="375"/>
                </a:cubicBezTo>
                <a:cubicBezTo>
                  <a:pt x="376" y="450"/>
                  <a:pt x="226" y="425"/>
                  <a:pt x="200" y="425"/>
                </a:cubicBezTo>
                <a:cubicBezTo>
                  <a:pt x="151" y="425"/>
                  <a:pt x="176" y="475"/>
                  <a:pt x="176" y="501"/>
                </a:cubicBezTo>
                <a:cubicBezTo>
                  <a:pt x="151" y="525"/>
                  <a:pt x="176" y="525"/>
                  <a:pt x="276" y="550"/>
                </a:cubicBezTo>
                <a:cubicBezTo>
                  <a:pt x="351" y="576"/>
                  <a:pt x="426" y="701"/>
                  <a:pt x="426" y="725"/>
                </a:cubicBezTo>
                <a:cubicBezTo>
                  <a:pt x="426" y="750"/>
                  <a:pt x="551" y="725"/>
                  <a:pt x="576" y="725"/>
                </a:cubicBezTo>
                <a:cubicBezTo>
                  <a:pt x="626" y="725"/>
                  <a:pt x="576" y="801"/>
                  <a:pt x="626" y="801"/>
                </a:cubicBezTo>
                <a:cubicBezTo>
                  <a:pt x="651" y="825"/>
                  <a:pt x="701" y="801"/>
                  <a:pt x="726" y="825"/>
                </a:cubicBezTo>
                <a:cubicBezTo>
                  <a:pt x="726" y="850"/>
                  <a:pt x="651" y="825"/>
                  <a:pt x="601" y="850"/>
                </a:cubicBezTo>
                <a:cubicBezTo>
                  <a:pt x="551" y="901"/>
                  <a:pt x="551" y="901"/>
                  <a:pt x="526" y="876"/>
                </a:cubicBezTo>
                <a:cubicBezTo>
                  <a:pt x="501" y="850"/>
                  <a:pt x="426" y="876"/>
                  <a:pt x="400" y="876"/>
                </a:cubicBezTo>
                <a:cubicBezTo>
                  <a:pt x="376" y="876"/>
                  <a:pt x="400" y="825"/>
                  <a:pt x="400" y="825"/>
                </a:cubicBezTo>
                <a:cubicBezTo>
                  <a:pt x="400" y="801"/>
                  <a:pt x="351" y="776"/>
                  <a:pt x="276" y="825"/>
                </a:cubicBezTo>
                <a:cubicBezTo>
                  <a:pt x="226" y="850"/>
                  <a:pt x="251" y="850"/>
                  <a:pt x="226" y="876"/>
                </a:cubicBezTo>
                <a:cubicBezTo>
                  <a:pt x="226" y="901"/>
                  <a:pt x="200" y="850"/>
                  <a:pt x="151" y="876"/>
                </a:cubicBezTo>
                <a:cubicBezTo>
                  <a:pt x="100" y="901"/>
                  <a:pt x="25" y="925"/>
                  <a:pt x="25" y="950"/>
                </a:cubicBezTo>
                <a:cubicBezTo>
                  <a:pt x="0" y="976"/>
                  <a:pt x="126" y="1001"/>
                  <a:pt x="151" y="1001"/>
                </a:cubicBezTo>
                <a:cubicBezTo>
                  <a:pt x="200" y="1025"/>
                  <a:pt x="100" y="1050"/>
                  <a:pt x="151" y="1050"/>
                </a:cubicBezTo>
                <a:cubicBezTo>
                  <a:pt x="176" y="1076"/>
                  <a:pt x="151" y="1101"/>
                  <a:pt x="226" y="1125"/>
                </a:cubicBezTo>
                <a:cubicBezTo>
                  <a:pt x="276" y="1150"/>
                  <a:pt x="376" y="1125"/>
                  <a:pt x="426" y="1125"/>
                </a:cubicBezTo>
                <a:cubicBezTo>
                  <a:pt x="451" y="1125"/>
                  <a:pt x="476" y="1150"/>
                  <a:pt x="501" y="1125"/>
                </a:cubicBezTo>
                <a:cubicBezTo>
                  <a:pt x="526" y="1101"/>
                  <a:pt x="626" y="1025"/>
                  <a:pt x="676" y="1076"/>
                </a:cubicBezTo>
                <a:cubicBezTo>
                  <a:pt x="726" y="1125"/>
                  <a:pt x="626" y="1125"/>
                  <a:pt x="651" y="1150"/>
                </a:cubicBezTo>
                <a:cubicBezTo>
                  <a:pt x="676" y="1176"/>
                  <a:pt x="701" y="1225"/>
                  <a:pt x="651" y="1276"/>
                </a:cubicBezTo>
                <a:cubicBezTo>
                  <a:pt x="601" y="1301"/>
                  <a:pt x="551" y="1276"/>
                  <a:pt x="526" y="1276"/>
                </a:cubicBezTo>
                <a:cubicBezTo>
                  <a:pt x="501" y="1276"/>
                  <a:pt x="526" y="1325"/>
                  <a:pt x="476" y="1350"/>
                </a:cubicBezTo>
                <a:cubicBezTo>
                  <a:pt x="451" y="1376"/>
                  <a:pt x="426" y="1325"/>
                  <a:pt x="376" y="1325"/>
                </a:cubicBezTo>
                <a:cubicBezTo>
                  <a:pt x="326" y="1325"/>
                  <a:pt x="326" y="1376"/>
                  <a:pt x="326" y="1425"/>
                </a:cubicBezTo>
                <a:cubicBezTo>
                  <a:pt x="326" y="1450"/>
                  <a:pt x="251" y="1401"/>
                  <a:pt x="226" y="1476"/>
                </a:cubicBezTo>
                <a:cubicBezTo>
                  <a:pt x="226" y="1550"/>
                  <a:pt x="126" y="1501"/>
                  <a:pt x="200" y="1576"/>
                </a:cubicBezTo>
                <a:cubicBezTo>
                  <a:pt x="251" y="1650"/>
                  <a:pt x="226" y="1601"/>
                  <a:pt x="276" y="1625"/>
                </a:cubicBezTo>
                <a:cubicBezTo>
                  <a:pt x="326" y="1650"/>
                  <a:pt x="226" y="1701"/>
                  <a:pt x="276" y="1701"/>
                </a:cubicBezTo>
                <a:cubicBezTo>
                  <a:pt x="300" y="1726"/>
                  <a:pt x="351" y="1801"/>
                  <a:pt x="376" y="1826"/>
                </a:cubicBezTo>
                <a:cubicBezTo>
                  <a:pt x="426" y="1850"/>
                  <a:pt x="451" y="1801"/>
                  <a:pt x="501" y="1801"/>
                </a:cubicBezTo>
                <a:cubicBezTo>
                  <a:pt x="551" y="1801"/>
                  <a:pt x="526" y="1750"/>
                  <a:pt x="551" y="1775"/>
                </a:cubicBezTo>
                <a:cubicBezTo>
                  <a:pt x="576" y="1801"/>
                  <a:pt x="601" y="1850"/>
                  <a:pt x="576" y="1876"/>
                </a:cubicBezTo>
                <a:cubicBezTo>
                  <a:pt x="551" y="1901"/>
                  <a:pt x="576" y="1950"/>
                  <a:pt x="576" y="1976"/>
                </a:cubicBezTo>
                <a:cubicBezTo>
                  <a:pt x="576" y="2001"/>
                  <a:pt x="676" y="1976"/>
                  <a:pt x="676" y="1950"/>
                </a:cubicBezTo>
                <a:cubicBezTo>
                  <a:pt x="676" y="1926"/>
                  <a:pt x="751" y="1926"/>
                  <a:pt x="801" y="1976"/>
                </a:cubicBezTo>
                <a:cubicBezTo>
                  <a:pt x="851" y="2001"/>
                  <a:pt x="876" y="2026"/>
                  <a:pt x="876" y="1976"/>
                </a:cubicBezTo>
                <a:cubicBezTo>
                  <a:pt x="876" y="1950"/>
                  <a:pt x="901" y="1901"/>
                  <a:pt x="901" y="1926"/>
                </a:cubicBezTo>
                <a:cubicBezTo>
                  <a:pt x="901" y="1976"/>
                  <a:pt x="951" y="1976"/>
                  <a:pt x="1001" y="1950"/>
                </a:cubicBezTo>
                <a:cubicBezTo>
                  <a:pt x="1076" y="1926"/>
                  <a:pt x="1051" y="1950"/>
                  <a:pt x="1001" y="2001"/>
                </a:cubicBezTo>
                <a:cubicBezTo>
                  <a:pt x="951" y="2050"/>
                  <a:pt x="1001" y="2126"/>
                  <a:pt x="976" y="2150"/>
                </a:cubicBezTo>
                <a:cubicBezTo>
                  <a:pt x="951" y="2150"/>
                  <a:pt x="926" y="2226"/>
                  <a:pt x="851" y="2250"/>
                </a:cubicBezTo>
                <a:cubicBezTo>
                  <a:pt x="801" y="2250"/>
                  <a:pt x="726" y="2350"/>
                  <a:pt x="701" y="2376"/>
                </a:cubicBezTo>
                <a:cubicBezTo>
                  <a:pt x="701" y="2376"/>
                  <a:pt x="576" y="2326"/>
                  <a:pt x="551" y="2376"/>
                </a:cubicBezTo>
                <a:cubicBezTo>
                  <a:pt x="551" y="2426"/>
                  <a:pt x="476" y="2450"/>
                  <a:pt x="476" y="2476"/>
                </a:cubicBezTo>
                <a:cubicBezTo>
                  <a:pt x="501" y="2501"/>
                  <a:pt x="601" y="2450"/>
                  <a:pt x="601" y="2426"/>
                </a:cubicBezTo>
                <a:cubicBezTo>
                  <a:pt x="601" y="2401"/>
                  <a:pt x="626" y="2401"/>
                  <a:pt x="626" y="2426"/>
                </a:cubicBezTo>
                <a:cubicBezTo>
                  <a:pt x="651" y="2426"/>
                  <a:pt x="701" y="2401"/>
                  <a:pt x="701" y="2401"/>
                </a:cubicBezTo>
                <a:cubicBezTo>
                  <a:pt x="726" y="2376"/>
                  <a:pt x="751" y="2376"/>
                  <a:pt x="776" y="2376"/>
                </a:cubicBezTo>
                <a:cubicBezTo>
                  <a:pt x="801" y="2376"/>
                  <a:pt x="801" y="2350"/>
                  <a:pt x="851" y="2350"/>
                </a:cubicBezTo>
                <a:cubicBezTo>
                  <a:pt x="926" y="2350"/>
                  <a:pt x="901" y="2326"/>
                  <a:pt x="926" y="2301"/>
                </a:cubicBezTo>
                <a:cubicBezTo>
                  <a:pt x="926" y="2276"/>
                  <a:pt x="1076" y="2201"/>
                  <a:pt x="1101" y="2201"/>
                </a:cubicBezTo>
                <a:cubicBezTo>
                  <a:pt x="1126" y="2201"/>
                  <a:pt x="1101" y="2150"/>
                  <a:pt x="1126" y="2150"/>
                </a:cubicBezTo>
                <a:cubicBezTo>
                  <a:pt x="1151" y="2150"/>
                  <a:pt x="1201" y="2101"/>
                  <a:pt x="1226" y="2076"/>
                </a:cubicBezTo>
                <a:cubicBezTo>
                  <a:pt x="1276" y="2050"/>
                  <a:pt x="1276" y="2076"/>
                  <a:pt x="1301" y="2050"/>
                </a:cubicBezTo>
                <a:cubicBezTo>
                  <a:pt x="1326" y="2050"/>
                  <a:pt x="1301" y="2001"/>
                  <a:pt x="1326" y="1976"/>
                </a:cubicBezTo>
                <a:cubicBezTo>
                  <a:pt x="1351" y="1976"/>
                  <a:pt x="1376" y="1950"/>
                  <a:pt x="1376" y="1950"/>
                </a:cubicBezTo>
                <a:cubicBezTo>
                  <a:pt x="1376" y="1926"/>
                  <a:pt x="1326" y="1926"/>
                  <a:pt x="1301" y="1901"/>
                </a:cubicBezTo>
                <a:cubicBezTo>
                  <a:pt x="1301" y="1876"/>
                  <a:pt x="1351" y="1826"/>
                  <a:pt x="1376" y="1826"/>
                </a:cubicBezTo>
                <a:cubicBezTo>
                  <a:pt x="1401" y="1826"/>
                  <a:pt x="1451" y="1801"/>
                  <a:pt x="1451" y="1775"/>
                </a:cubicBezTo>
                <a:cubicBezTo>
                  <a:pt x="1451" y="1750"/>
                  <a:pt x="1476" y="1750"/>
                  <a:pt x="1501" y="1701"/>
                </a:cubicBezTo>
                <a:cubicBezTo>
                  <a:pt x="1526" y="1676"/>
                  <a:pt x="1526" y="1650"/>
                  <a:pt x="1551" y="1650"/>
                </a:cubicBezTo>
                <a:cubicBezTo>
                  <a:pt x="1576" y="1650"/>
                  <a:pt x="1601" y="1625"/>
                  <a:pt x="1651" y="1601"/>
                </a:cubicBezTo>
                <a:cubicBezTo>
                  <a:pt x="1676" y="1576"/>
                  <a:pt x="1651" y="1625"/>
                  <a:pt x="1701" y="1625"/>
                </a:cubicBezTo>
                <a:cubicBezTo>
                  <a:pt x="1751" y="1625"/>
                  <a:pt x="1751" y="1676"/>
                  <a:pt x="1701" y="1650"/>
                </a:cubicBezTo>
                <a:cubicBezTo>
                  <a:pt x="1651" y="1625"/>
                  <a:pt x="1626" y="1650"/>
                  <a:pt x="1601" y="1676"/>
                </a:cubicBezTo>
                <a:cubicBezTo>
                  <a:pt x="1551" y="1701"/>
                  <a:pt x="1601" y="1726"/>
                  <a:pt x="1551" y="1750"/>
                </a:cubicBezTo>
                <a:cubicBezTo>
                  <a:pt x="1526" y="1801"/>
                  <a:pt x="1526" y="1826"/>
                  <a:pt x="1576" y="1826"/>
                </a:cubicBezTo>
                <a:cubicBezTo>
                  <a:pt x="1601" y="1826"/>
                  <a:pt x="1576" y="1850"/>
                  <a:pt x="1526" y="1876"/>
                </a:cubicBezTo>
                <a:cubicBezTo>
                  <a:pt x="1501" y="1876"/>
                  <a:pt x="1526" y="1901"/>
                  <a:pt x="1576" y="1901"/>
                </a:cubicBezTo>
                <a:cubicBezTo>
                  <a:pt x="1626" y="1901"/>
                  <a:pt x="1701" y="1826"/>
                  <a:pt x="1751" y="1801"/>
                </a:cubicBezTo>
                <a:cubicBezTo>
                  <a:pt x="1826" y="1775"/>
                  <a:pt x="1876" y="1801"/>
                  <a:pt x="1901" y="1801"/>
                </a:cubicBezTo>
                <a:cubicBezTo>
                  <a:pt x="1901" y="1775"/>
                  <a:pt x="1876" y="1750"/>
                  <a:pt x="1901" y="1750"/>
                </a:cubicBezTo>
                <a:cubicBezTo>
                  <a:pt x="1926" y="1726"/>
                  <a:pt x="1876" y="1726"/>
                  <a:pt x="1851" y="1701"/>
                </a:cubicBezTo>
                <a:cubicBezTo>
                  <a:pt x="1851" y="1650"/>
                  <a:pt x="1876" y="1676"/>
                  <a:pt x="1876" y="1650"/>
                </a:cubicBezTo>
                <a:cubicBezTo>
                  <a:pt x="1901" y="1601"/>
                  <a:pt x="1926" y="1625"/>
                  <a:pt x="1926" y="1650"/>
                </a:cubicBezTo>
                <a:cubicBezTo>
                  <a:pt x="1951" y="1650"/>
                  <a:pt x="1976" y="1625"/>
                  <a:pt x="2001" y="1676"/>
                </a:cubicBezTo>
                <a:cubicBezTo>
                  <a:pt x="2026" y="1701"/>
                  <a:pt x="2051" y="1650"/>
                  <a:pt x="2076" y="1676"/>
                </a:cubicBezTo>
                <a:cubicBezTo>
                  <a:pt x="2101" y="1701"/>
                  <a:pt x="2076" y="1701"/>
                  <a:pt x="2026" y="1701"/>
                </a:cubicBezTo>
                <a:cubicBezTo>
                  <a:pt x="2001" y="1726"/>
                  <a:pt x="2026" y="1775"/>
                  <a:pt x="2051" y="1750"/>
                </a:cubicBezTo>
                <a:cubicBezTo>
                  <a:pt x="2076" y="1726"/>
                  <a:pt x="2101" y="1701"/>
                  <a:pt x="2126" y="1726"/>
                </a:cubicBezTo>
                <a:cubicBezTo>
                  <a:pt x="2151" y="1750"/>
                  <a:pt x="2151" y="1750"/>
                  <a:pt x="2176" y="1726"/>
                </a:cubicBezTo>
                <a:cubicBezTo>
                  <a:pt x="2201" y="1701"/>
                  <a:pt x="2201" y="1726"/>
                  <a:pt x="2201" y="1750"/>
                </a:cubicBezTo>
                <a:cubicBezTo>
                  <a:pt x="2201" y="1750"/>
                  <a:pt x="2251" y="1775"/>
                  <a:pt x="2301" y="1775"/>
                </a:cubicBezTo>
                <a:cubicBezTo>
                  <a:pt x="2376" y="1775"/>
                  <a:pt x="2476" y="1775"/>
                  <a:pt x="2501" y="1775"/>
                </a:cubicBezTo>
                <a:cubicBezTo>
                  <a:pt x="2551" y="1775"/>
                  <a:pt x="2527" y="1801"/>
                  <a:pt x="2601" y="1826"/>
                </a:cubicBezTo>
                <a:cubicBezTo>
                  <a:pt x="2651" y="1826"/>
                  <a:pt x="2676" y="1750"/>
                  <a:pt x="2701" y="1775"/>
                </a:cubicBezTo>
                <a:cubicBezTo>
                  <a:pt x="2751" y="1826"/>
                  <a:pt x="2701" y="1826"/>
                  <a:pt x="2701" y="1850"/>
                </a:cubicBezTo>
                <a:cubicBezTo>
                  <a:pt x="2676" y="1876"/>
                  <a:pt x="2701" y="1876"/>
                  <a:pt x="2727" y="1876"/>
                </a:cubicBezTo>
                <a:cubicBezTo>
                  <a:pt x="2751" y="1901"/>
                  <a:pt x="2827" y="1901"/>
                  <a:pt x="2851" y="1926"/>
                </a:cubicBezTo>
                <a:cubicBezTo>
                  <a:pt x="2876" y="1950"/>
                  <a:pt x="2901" y="2001"/>
                  <a:pt x="2951" y="2026"/>
                </a:cubicBezTo>
                <a:cubicBezTo>
                  <a:pt x="3027" y="2050"/>
                  <a:pt x="2951" y="1950"/>
                  <a:pt x="3001" y="1976"/>
                </a:cubicBezTo>
                <a:cubicBezTo>
                  <a:pt x="3051" y="2026"/>
                  <a:pt x="3051" y="1976"/>
                  <a:pt x="3076" y="2026"/>
                </a:cubicBezTo>
                <a:cubicBezTo>
                  <a:pt x="3127" y="2050"/>
                  <a:pt x="3101" y="2001"/>
                  <a:pt x="3101" y="1926"/>
                </a:cubicBezTo>
                <a:cubicBezTo>
                  <a:pt x="3076" y="1876"/>
                  <a:pt x="3101" y="1926"/>
                  <a:pt x="3127" y="1950"/>
                </a:cubicBezTo>
                <a:cubicBezTo>
                  <a:pt x="3152" y="1976"/>
                  <a:pt x="3152" y="2026"/>
                  <a:pt x="3127" y="2076"/>
                </a:cubicBezTo>
                <a:cubicBezTo>
                  <a:pt x="3127" y="2101"/>
                  <a:pt x="3051" y="2076"/>
                  <a:pt x="3076" y="2050"/>
                </a:cubicBezTo>
                <a:cubicBezTo>
                  <a:pt x="3076" y="2026"/>
                  <a:pt x="3001" y="2050"/>
                  <a:pt x="3001" y="2076"/>
                </a:cubicBezTo>
                <a:cubicBezTo>
                  <a:pt x="3001" y="2101"/>
                  <a:pt x="3051" y="2150"/>
                  <a:pt x="3076" y="2150"/>
                </a:cubicBezTo>
                <a:cubicBezTo>
                  <a:pt x="3127" y="2176"/>
                  <a:pt x="3101" y="2226"/>
                  <a:pt x="3101" y="2226"/>
                </a:cubicBezTo>
                <a:cubicBezTo>
                  <a:pt x="3152" y="2226"/>
                  <a:pt x="3127" y="2301"/>
                  <a:pt x="3152" y="2276"/>
                </a:cubicBezTo>
                <a:cubicBezTo>
                  <a:pt x="3176" y="2276"/>
                  <a:pt x="3176" y="2201"/>
                  <a:pt x="3152" y="2176"/>
                </a:cubicBezTo>
                <a:cubicBezTo>
                  <a:pt x="3127" y="2150"/>
                  <a:pt x="3127" y="2101"/>
                  <a:pt x="3152" y="2126"/>
                </a:cubicBezTo>
                <a:cubicBezTo>
                  <a:pt x="3176" y="2126"/>
                  <a:pt x="3152" y="2176"/>
                  <a:pt x="3176" y="2176"/>
                </a:cubicBezTo>
                <a:cubicBezTo>
                  <a:pt x="3176" y="2201"/>
                  <a:pt x="3201" y="2176"/>
                  <a:pt x="3227" y="2150"/>
                </a:cubicBezTo>
                <a:cubicBezTo>
                  <a:pt x="3252" y="2126"/>
                  <a:pt x="3227" y="2076"/>
                  <a:pt x="3227" y="2050"/>
                </a:cubicBezTo>
                <a:cubicBezTo>
                  <a:pt x="3227" y="2026"/>
                  <a:pt x="3276" y="2076"/>
                  <a:pt x="3276" y="2126"/>
                </a:cubicBezTo>
                <a:cubicBezTo>
                  <a:pt x="3301" y="2176"/>
                  <a:pt x="3252" y="2176"/>
                  <a:pt x="3252" y="2201"/>
                </a:cubicBezTo>
                <a:cubicBezTo>
                  <a:pt x="3252" y="2226"/>
                  <a:pt x="3201" y="2201"/>
                  <a:pt x="3201" y="2226"/>
                </a:cubicBezTo>
                <a:cubicBezTo>
                  <a:pt x="3176" y="2226"/>
                  <a:pt x="3201" y="2301"/>
                  <a:pt x="3201" y="2326"/>
                </a:cubicBezTo>
                <a:cubicBezTo>
                  <a:pt x="3227" y="2326"/>
                  <a:pt x="3227" y="2250"/>
                  <a:pt x="3252" y="2276"/>
                </a:cubicBezTo>
                <a:cubicBezTo>
                  <a:pt x="3252" y="2326"/>
                  <a:pt x="3301" y="2226"/>
                  <a:pt x="3301" y="2276"/>
                </a:cubicBezTo>
                <a:cubicBezTo>
                  <a:pt x="3327" y="2301"/>
                  <a:pt x="3376" y="2350"/>
                  <a:pt x="3376" y="2326"/>
                </a:cubicBezTo>
                <a:cubicBezTo>
                  <a:pt x="3401" y="2326"/>
                  <a:pt x="3376" y="2276"/>
                  <a:pt x="3352" y="2276"/>
                </a:cubicBezTo>
                <a:cubicBezTo>
                  <a:pt x="3327" y="2276"/>
                  <a:pt x="3327" y="2226"/>
                  <a:pt x="3352" y="2226"/>
                </a:cubicBezTo>
                <a:cubicBezTo>
                  <a:pt x="3376" y="2226"/>
                  <a:pt x="3427" y="2301"/>
                  <a:pt x="3427" y="2326"/>
                </a:cubicBezTo>
                <a:cubicBezTo>
                  <a:pt x="3427" y="2350"/>
                  <a:pt x="3401" y="2350"/>
                  <a:pt x="3376" y="2376"/>
                </a:cubicBezTo>
                <a:cubicBezTo>
                  <a:pt x="3352" y="2401"/>
                  <a:pt x="3327" y="2326"/>
                  <a:pt x="3301" y="2326"/>
                </a:cubicBezTo>
                <a:cubicBezTo>
                  <a:pt x="3276" y="2326"/>
                  <a:pt x="3301" y="2376"/>
                  <a:pt x="3301" y="2401"/>
                </a:cubicBezTo>
                <a:cubicBezTo>
                  <a:pt x="3327" y="2426"/>
                  <a:pt x="3276" y="2476"/>
                  <a:pt x="3301" y="2501"/>
                </a:cubicBezTo>
                <a:cubicBezTo>
                  <a:pt x="3352" y="2526"/>
                  <a:pt x="3327" y="2476"/>
                  <a:pt x="3352" y="2476"/>
                </a:cubicBezTo>
                <a:cubicBezTo>
                  <a:pt x="3352" y="2450"/>
                  <a:pt x="3376" y="2476"/>
                  <a:pt x="3401" y="2476"/>
                </a:cubicBezTo>
                <a:cubicBezTo>
                  <a:pt x="3401" y="2501"/>
                  <a:pt x="3427" y="2450"/>
                  <a:pt x="3427" y="2426"/>
                </a:cubicBezTo>
                <a:cubicBezTo>
                  <a:pt x="3427" y="2426"/>
                  <a:pt x="3452" y="2426"/>
                  <a:pt x="3452" y="2450"/>
                </a:cubicBezTo>
                <a:cubicBezTo>
                  <a:pt x="3476" y="2476"/>
                  <a:pt x="3476" y="2426"/>
                  <a:pt x="3501" y="2426"/>
                </a:cubicBezTo>
                <a:cubicBezTo>
                  <a:pt x="3527" y="2426"/>
                  <a:pt x="3527" y="2476"/>
                  <a:pt x="3527" y="2501"/>
                </a:cubicBezTo>
                <a:cubicBezTo>
                  <a:pt x="3527" y="2526"/>
                  <a:pt x="3552" y="2476"/>
                  <a:pt x="3552" y="2501"/>
                </a:cubicBezTo>
                <a:lnTo>
                  <a:pt x="3552" y="2501"/>
                </a:lnTo>
                <a:cubicBezTo>
                  <a:pt x="3576" y="2501"/>
                  <a:pt x="3601" y="2476"/>
                  <a:pt x="3627" y="2476"/>
                </a:cubicBezTo>
                <a:cubicBezTo>
                  <a:pt x="3652" y="2426"/>
                  <a:pt x="3576" y="2426"/>
                  <a:pt x="3601" y="2376"/>
                </a:cubicBezTo>
                <a:close/>
                <a:moveTo>
                  <a:pt x="76" y="2676"/>
                </a:moveTo>
                <a:lnTo>
                  <a:pt x="76" y="2676"/>
                </a:lnTo>
                <a:cubicBezTo>
                  <a:pt x="126" y="2650"/>
                  <a:pt x="151" y="2626"/>
                  <a:pt x="126" y="2601"/>
                </a:cubicBezTo>
                <a:cubicBezTo>
                  <a:pt x="100" y="2576"/>
                  <a:pt x="51" y="2701"/>
                  <a:pt x="76" y="2676"/>
                </a:cubicBezTo>
                <a:close/>
                <a:moveTo>
                  <a:pt x="426" y="2501"/>
                </a:moveTo>
                <a:lnTo>
                  <a:pt x="426" y="2501"/>
                </a:lnTo>
                <a:cubicBezTo>
                  <a:pt x="400" y="2476"/>
                  <a:pt x="276" y="2550"/>
                  <a:pt x="300" y="2550"/>
                </a:cubicBezTo>
                <a:cubicBezTo>
                  <a:pt x="351" y="2550"/>
                  <a:pt x="351" y="2526"/>
                  <a:pt x="376" y="2526"/>
                </a:cubicBezTo>
                <a:cubicBezTo>
                  <a:pt x="426" y="2526"/>
                  <a:pt x="476" y="2501"/>
                  <a:pt x="426" y="2501"/>
                </a:cubicBezTo>
                <a:close/>
                <a:moveTo>
                  <a:pt x="1501" y="2001"/>
                </a:moveTo>
                <a:lnTo>
                  <a:pt x="1501" y="2001"/>
                </a:lnTo>
                <a:cubicBezTo>
                  <a:pt x="1501" y="1976"/>
                  <a:pt x="1451" y="1976"/>
                  <a:pt x="1426" y="2026"/>
                </a:cubicBezTo>
                <a:cubicBezTo>
                  <a:pt x="1376" y="2076"/>
                  <a:pt x="1351" y="2101"/>
                  <a:pt x="1326" y="2126"/>
                </a:cubicBezTo>
                <a:cubicBezTo>
                  <a:pt x="1326" y="2150"/>
                  <a:pt x="1276" y="2126"/>
                  <a:pt x="1276" y="2150"/>
                </a:cubicBezTo>
                <a:cubicBezTo>
                  <a:pt x="1251" y="2176"/>
                  <a:pt x="1276" y="2250"/>
                  <a:pt x="1301" y="2226"/>
                </a:cubicBezTo>
                <a:cubicBezTo>
                  <a:pt x="1326" y="2201"/>
                  <a:pt x="1351" y="2226"/>
                  <a:pt x="1351" y="2226"/>
                </a:cubicBezTo>
                <a:cubicBezTo>
                  <a:pt x="1376" y="2226"/>
                  <a:pt x="1451" y="2150"/>
                  <a:pt x="1476" y="2126"/>
                </a:cubicBezTo>
                <a:cubicBezTo>
                  <a:pt x="1501" y="2101"/>
                  <a:pt x="1451" y="2101"/>
                  <a:pt x="1451" y="2076"/>
                </a:cubicBezTo>
                <a:cubicBezTo>
                  <a:pt x="1451" y="2050"/>
                  <a:pt x="1501" y="2050"/>
                  <a:pt x="1501" y="2050"/>
                </a:cubicBezTo>
                <a:cubicBezTo>
                  <a:pt x="1526" y="2026"/>
                  <a:pt x="1501" y="2026"/>
                  <a:pt x="1501" y="2001"/>
                </a:cubicBezTo>
                <a:close/>
                <a:moveTo>
                  <a:pt x="176" y="1750"/>
                </a:moveTo>
                <a:lnTo>
                  <a:pt x="176" y="1750"/>
                </a:lnTo>
                <a:cubicBezTo>
                  <a:pt x="151" y="1726"/>
                  <a:pt x="76" y="1750"/>
                  <a:pt x="76" y="1775"/>
                </a:cubicBezTo>
                <a:cubicBezTo>
                  <a:pt x="100" y="1826"/>
                  <a:pt x="176" y="1826"/>
                  <a:pt x="226" y="1826"/>
                </a:cubicBezTo>
                <a:cubicBezTo>
                  <a:pt x="251" y="1801"/>
                  <a:pt x="251" y="1775"/>
                  <a:pt x="226" y="1750"/>
                </a:cubicBezTo>
                <a:cubicBezTo>
                  <a:pt x="200" y="1726"/>
                  <a:pt x="176" y="1775"/>
                  <a:pt x="176" y="1750"/>
                </a:cubicBezTo>
                <a:close/>
                <a:moveTo>
                  <a:pt x="1176" y="6350"/>
                </a:moveTo>
                <a:lnTo>
                  <a:pt x="1176" y="6350"/>
                </a:lnTo>
                <a:cubicBezTo>
                  <a:pt x="1126" y="6350"/>
                  <a:pt x="1151" y="6501"/>
                  <a:pt x="1176" y="6476"/>
                </a:cubicBezTo>
                <a:cubicBezTo>
                  <a:pt x="1201" y="6450"/>
                  <a:pt x="1251" y="6450"/>
                  <a:pt x="1251" y="6425"/>
                </a:cubicBezTo>
                <a:cubicBezTo>
                  <a:pt x="1276" y="6400"/>
                  <a:pt x="1226" y="6350"/>
                  <a:pt x="1176" y="6350"/>
                </a:cubicBezTo>
                <a:close/>
                <a:moveTo>
                  <a:pt x="1101" y="6276"/>
                </a:moveTo>
                <a:lnTo>
                  <a:pt x="1101" y="6276"/>
                </a:lnTo>
                <a:cubicBezTo>
                  <a:pt x="1076" y="6276"/>
                  <a:pt x="1101" y="6325"/>
                  <a:pt x="1126" y="6325"/>
                </a:cubicBezTo>
                <a:cubicBezTo>
                  <a:pt x="1151" y="6300"/>
                  <a:pt x="1151" y="6276"/>
                  <a:pt x="1101" y="6276"/>
                </a:cubicBezTo>
                <a:close/>
                <a:moveTo>
                  <a:pt x="776" y="6176"/>
                </a:moveTo>
                <a:lnTo>
                  <a:pt x="776" y="6176"/>
                </a:lnTo>
                <a:cubicBezTo>
                  <a:pt x="826" y="6200"/>
                  <a:pt x="826" y="6200"/>
                  <a:pt x="851" y="6150"/>
                </a:cubicBezTo>
                <a:cubicBezTo>
                  <a:pt x="851" y="6125"/>
                  <a:pt x="751" y="6125"/>
                  <a:pt x="776" y="6176"/>
                </a:cubicBezTo>
                <a:close/>
                <a:moveTo>
                  <a:pt x="926" y="6225"/>
                </a:moveTo>
                <a:lnTo>
                  <a:pt x="926" y="6225"/>
                </a:lnTo>
                <a:cubicBezTo>
                  <a:pt x="951" y="6250"/>
                  <a:pt x="976" y="6276"/>
                  <a:pt x="1001" y="6250"/>
                </a:cubicBezTo>
                <a:cubicBezTo>
                  <a:pt x="1001" y="6200"/>
                  <a:pt x="901" y="6200"/>
                  <a:pt x="926" y="6225"/>
                </a:cubicBezTo>
                <a:close/>
                <a:moveTo>
                  <a:pt x="9478" y="3451"/>
                </a:moveTo>
                <a:lnTo>
                  <a:pt x="9478" y="3451"/>
                </a:lnTo>
                <a:cubicBezTo>
                  <a:pt x="9478" y="3426"/>
                  <a:pt x="9403" y="3426"/>
                  <a:pt x="9353" y="3401"/>
                </a:cubicBezTo>
                <a:cubicBezTo>
                  <a:pt x="9328" y="3376"/>
                  <a:pt x="9253" y="3526"/>
                  <a:pt x="9253" y="3576"/>
                </a:cubicBezTo>
                <a:cubicBezTo>
                  <a:pt x="9228" y="3626"/>
                  <a:pt x="9128" y="3701"/>
                  <a:pt x="9128" y="3701"/>
                </a:cubicBezTo>
                <a:cubicBezTo>
                  <a:pt x="9128" y="3701"/>
                  <a:pt x="8828" y="3701"/>
                  <a:pt x="8802" y="3701"/>
                </a:cubicBezTo>
                <a:cubicBezTo>
                  <a:pt x="8778" y="3701"/>
                  <a:pt x="8728" y="3751"/>
                  <a:pt x="8678" y="3801"/>
                </a:cubicBezTo>
                <a:lnTo>
                  <a:pt x="8678" y="3801"/>
                </a:lnTo>
                <a:cubicBezTo>
                  <a:pt x="8702" y="3851"/>
                  <a:pt x="8602" y="3876"/>
                  <a:pt x="8502" y="3901"/>
                </a:cubicBezTo>
                <a:cubicBezTo>
                  <a:pt x="8477" y="3901"/>
                  <a:pt x="8453" y="3901"/>
                  <a:pt x="8428" y="3901"/>
                </a:cubicBezTo>
                <a:lnTo>
                  <a:pt x="8428" y="3926"/>
                </a:lnTo>
                <a:cubicBezTo>
                  <a:pt x="8428" y="3951"/>
                  <a:pt x="8428" y="3951"/>
                  <a:pt x="8402" y="3951"/>
                </a:cubicBezTo>
                <a:cubicBezTo>
                  <a:pt x="8377" y="4001"/>
                  <a:pt x="8253" y="4051"/>
                  <a:pt x="8177" y="4101"/>
                </a:cubicBezTo>
                <a:cubicBezTo>
                  <a:pt x="8102" y="4126"/>
                  <a:pt x="8002" y="4101"/>
                  <a:pt x="8002" y="4051"/>
                </a:cubicBezTo>
                <a:cubicBezTo>
                  <a:pt x="8002" y="3976"/>
                  <a:pt x="8053" y="4001"/>
                  <a:pt x="8077" y="4026"/>
                </a:cubicBezTo>
                <a:cubicBezTo>
                  <a:pt x="8077" y="4026"/>
                  <a:pt x="8077" y="4026"/>
                  <a:pt x="8102" y="4026"/>
                </a:cubicBezTo>
                <a:cubicBezTo>
                  <a:pt x="8077" y="4001"/>
                  <a:pt x="8077" y="3976"/>
                  <a:pt x="8102" y="3951"/>
                </a:cubicBezTo>
                <a:cubicBezTo>
                  <a:pt x="8077" y="3926"/>
                  <a:pt x="8102" y="3826"/>
                  <a:pt x="8053" y="3826"/>
                </a:cubicBezTo>
                <a:cubicBezTo>
                  <a:pt x="8002" y="3801"/>
                  <a:pt x="7953" y="3901"/>
                  <a:pt x="7953" y="3851"/>
                </a:cubicBezTo>
                <a:cubicBezTo>
                  <a:pt x="7953" y="3776"/>
                  <a:pt x="8028" y="3751"/>
                  <a:pt x="8002" y="3676"/>
                </a:cubicBezTo>
                <a:cubicBezTo>
                  <a:pt x="7953" y="3601"/>
                  <a:pt x="7853" y="3601"/>
                  <a:pt x="7853" y="3651"/>
                </a:cubicBezTo>
                <a:cubicBezTo>
                  <a:pt x="7828" y="3701"/>
                  <a:pt x="7777" y="3676"/>
                  <a:pt x="7753" y="3726"/>
                </a:cubicBezTo>
                <a:cubicBezTo>
                  <a:pt x="7728" y="3776"/>
                  <a:pt x="7702" y="3851"/>
                  <a:pt x="7728" y="3926"/>
                </a:cubicBezTo>
                <a:cubicBezTo>
                  <a:pt x="7753" y="4001"/>
                  <a:pt x="7728" y="4026"/>
                  <a:pt x="7653" y="4051"/>
                </a:cubicBezTo>
                <a:cubicBezTo>
                  <a:pt x="7602" y="4101"/>
                  <a:pt x="7552" y="4001"/>
                  <a:pt x="7577" y="3876"/>
                </a:cubicBezTo>
                <a:cubicBezTo>
                  <a:pt x="7602" y="3801"/>
                  <a:pt x="7653" y="3726"/>
                  <a:pt x="7602" y="3726"/>
                </a:cubicBezTo>
                <a:cubicBezTo>
                  <a:pt x="7577" y="3726"/>
                  <a:pt x="7653" y="3626"/>
                  <a:pt x="7753" y="3601"/>
                </a:cubicBezTo>
                <a:cubicBezTo>
                  <a:pt x="7828" y="3576"/>
                  <a:pt x="7953" y="3576"/>
                  <a:pt x="7953" y="3551"/>
                </a:cubicBezTo>
                <a:lnTo>
                  <a:pt x="7953" y="3551"/>
                </a:lnTo>
                <a:cubicBezTo>
                  <a:pt x="7953" y="3526"/>
                  <a:pt x="7928" y="3526"/>
                  <a:pt x="7902" y="3501"/>
                </a:cubicBezTo>
                <a:cubicBezTo>
                  <a:pt x="7902" y="3526"/>
                  <a:pt x="7902" y="3526"/>
                  <a:pt x="7902" y="3526"/>
                </a:cubicBezTo>
                <a:cubicBezTo>
                  <a:pt x="7853" y="3551"/>
                  <a:pt x="7877" y="3501"/>
                  <a:pt x="7802" y="3501"/>
                </a:cubicBezTo>
                <a:cubicBezTo>
                  <a:pt x="7753" y="3501"/>
                  <a:pt x="7677" y="3551"/>
                  <a:pt x="7628" y="3526"/>
                </a:cubicBezTo>
                <a:cubicBezTo>
                  <a:pt x="7577" y="3501"/>
                  <a:pt x="7602" y="3476"/>
                  <a:pt x="7552" y="3476"/>
                </a:cubicBezTo>
                <a:cubicBezTo>
                  <a:pt x="7502" y="3476"/>
                  <a:pt x="7602" y="3376"/>
                  <a:pt x="7528" y="3426"/>
                </a:cubicBezTo>
                <a:cubicBezTo>
                  <a:pt x="7452" y="3451"/>
                  <a:pt x="7352" y="3551"/>
                  <a:pt x="7302" y="3501"/>
                </a:cubicBezTo>
                <a:cubicBezTo>
                  <a:pt x="7277" y="3451"/>
                  <a:pt x="7228" y="3526"/>
                  <a:pt x="7202" y="3476"/>
                </a:cubicBezTo>
                <a:cubicBezTo>
                  <a:pt x="7152" y="3451"/>
                  <a:pt x="7302" y="3351"/>
                  <a:pt x="7377" y="3351"/>
                </a:cubicBezTo>
                <a:cubicBezTo>
                  <a:pt x="7402" y="3351"/>
                  <a:pt x="7402" y="3351"/>
                  <a:pt x="7428" y="3351"/>
                </a:cubicBezTo>
                <a:cubicBezTo>
                  <a:pt x="7402" y="3326"/>
                  <a:pt x="7302" y="3301"/>
                  <a:pt x="7302" y="3326"/>
                </a:cubicBezTo>
                <a:cubicBezTo>
                  <a:pt x="7277" y="3351"/>
                  <a:pt x="7228" y="3326"/>
                  <a:pt x="7202" y="3301"/>
                </a:cubicBezTo>
                <a:cubicBezTo>
                  <a:pt x="7202" y="3276"/>
                  <a:pt x="7177" y="3326"/>
                  <a:pt x="7128" y="3276"/>
                </a:cubicBezTo>
                <a:cubicBezTo>
                  <a:pt x="7102" y="3251"/>
                  <a:pt x="7077" y="3276"/>
                  <a:pt x="7052" y="3276"/>
                </a:cubicBezTo>
                <a:cubicBezTo>
                  <a:pt x="7028" y="3276"/>
                  <a:pt x="7002" y="3251"/>
                  <a:pt x="6977" y="3251"/>
                </a:cubicBezTo>
                <a:cubicBezTo>
                  <a:pt x="6928" y="3226"/>
                  <a:pt x="6952" y="3201"/>
                  <a:pt x="6928" y="3175"/>
                </a:cubicBezTo>
                <a:cubicBezTo>
                  <a:pt x="6902" y="3151"/>
                  <a:pt x="6902" y="3226"/>
                  <a:pt x="6902" y="3226"/>
                </a:cubicBezTo>
                <a:cubicBezTo>
                  <a:pt x="4301" y="3226"/>
                  <a:pt x="4301" y="3226"/>
                  <a:pt x="4301" y="3226"/>
                </a:cubicBezTo>
                <a:lnTo>
                  <a:pt x="4327" y="3251"/>
                </a:lnTo>
                <a:cubicBezTo>
                  <a:pt x="4352" y="3276"/>
                  <a:pt x="4327" y="3301"/>
                  <a:pt x="4327" y="3351"/>
                </a:cubicBezTo>
                <a:cubicBezTo>
                  <a:pt x="4352" y="3376"/>
                  <a:pt x="4327" y="3426"/>
                  <a:pt x="4301" y="3426"/>
                </a:cubicBezTo>
                <a:cubicBezTo>
                  <a:pt x="4277" y="3426"/>
                  <a:pt x="4277" y="3401"/>
                  <a:pt x="4301" y="3401"/>
                </a:cubicBezTo>
                <a:cubicBezTo>
                  <a:pt x="4327" y="3376"/>
                  <a:pt x="4301" y="3326"/>
                  <a:pt x="4277" y="3326"/>
                </a:cubicBezTo>
                <a:cubicBezTo>
                  <a:pt x="4277" y="3326"/>
                  <a:pt x="4252" y="3326"/>
                  <a:pt x="4252" y="3301"/>
                </a:cubicBezTo>
                <a:cubicBezTo>
                  <a:pt x="4227" y="3301"/>
                  <a:pt x="4177" y="3301"/>
                  <a:pt x="4101" y="3301"/>
                </a:cubicBezTo>
                <a:cubicBezTo>
                  <a:pt x="4127" y="3301"/>
                  <a:pt x="4127" y="3301"/>
                  <a:pt x="4127" y="3301"/>
                </a:cubicBezTo>
                <a:cubicBezTo>
                  <a:pt x="4127" y="3326"/>
                  <a:pt x="4127" y="3376"/>
                  <a:pt x="4152" y="3426"/>
                </a:cubicBezTo>
                <a:cubicBezTo>
                  <a:pt x="4201" y="3476"/>
                  <a:pt x="4177" y="3501"/>
                  <a:pt x="4201" y="3526"/>
                </a:cubicBezTo>
                <a:cubicBezTo>
                  <a:pt x="4227" y="3526"/>
                  <a:pt x="4227" y="3551"/>
                  <a:pt x="4201" y="3551"/>
                </a:cubicBezTo>
                <a:cubicBezTo>
                  <a:pt x="4177" y="3551"/>
                  <a:pt x="4201" y="3576"/>
                  <a:pt x="4177" y="3626"/>
                </a:cubicBezTo>
                <a:cubicBezTo>
                  <a:pt x="4177" y="3701"/>
                  <a:pt x="4177" y="3826"/>
                  <a:pt x="4177" y="3876"/>
                </a:cubicBezTo>
                <a:cubicBezTo>
                  <a:pt x="4177" y="3901"/>
                  <a:pt x="4127" y="3976"/>
                  <a:pt x="4152" y="4001"/>
                </a:cubicBezTo>
                <a:cubicBezTo>
                  <a:pt x="4177" y="4051"/>
                  <a:pt x="4201" y="4101"/>
                  <a:pt x="4177" y="4151"/>
                </a:cubicBezTo>
                <a:cubicBezTo>
                  <a:pt x="4152" y="4226"/>
                  <a:pt x="4177" y="4251"/>
                  <a:pt x="4177" y="4276"/>
                </a:cubicBezTo>
                <a:cubicBezTo>
                  <a:pt x="4201" y="4326"/>
                  <a:pt x="4201" y="4401"/>
                  <a:pt x="4227" y="4401"/>
                </a:cubicBezTo>
                <a:cubicBezTo>
                  <a:pt x="4252" y="4426"/>
                  <a:pt x="4277" y="4451"/>
                  <a:pt x="4277" y="4501"/>
                </a:cubicBezTo>
                <a:cubicBezTo>
                  <a:pt x="4301" y="4526"/>
                  <a:pt x="4327" y="4501"/>
                  <a:pt x="4327" y="4551"/>
                </a:cubicBezTo>
                <a:cubicBezTo>
                  <a:pt x="4352" y="4576"/>
                  <a:pt x="4352" y="4576"/>
                  <a:pt x="4377" y="4601"/>
                </a:cubicBezTo>
                <a:cubicBezTo>
                  <a:pt x="4401" y="4626"/>
                  <a:pt x="4377" y="4651"/>
                  <a:pt x="4377" y="4676"/>
                </a:cubicBezTo>
                <a:cubicBezTo>
                  <a:pt x="4377" y="4701"/>
                  <a:pt x="4427" y="4726"/>
                  <a:pt x="4477" y="4776"/>
                </a:cubicBezTo>
                <a:cubicBezTo>
                  <a:pt x="4527" y="4826"/>
                  <a:pt x="4501" y="4876"/>
                  <a:pt x="4527" y="4876"/>
                </a:cubicBezTo>
                <a:cubicBezTo>
                  <a:pt x="4577" y="4876"/>
                  <a:pt x="4601" y="4901"/>
                  <a:pt x="4652" y="4926"/>
                </a:cubicBezTo>
                <a:cubicBezTo>
                  <a:pt x="4677" y="4951"/>
                  <a:pt x="4701" y="4926"/>
                  <a:pt x="4727" y="4926"/>
                </a:cubicBezTo>
                <a:cubicBezTo>
                  <a:pt x="4752" y="4926"/>
                  <a:pt x="4801" y="5001"/>
                  <a:pt x="4827" y="5026"/>
                </a:cubicBezTo>
                <a:cubicBezTo>
                  <a:pt x="4827" y="5051"/>
                  <a:pt x="4827" y="5076"/>
                  <a:pt x="4827" y="5101"/>
                </a:cubicBezTo>
                <a:cubicBezTo>
                  <a:pt x="5052" y="5076"/>
                  <a:pt x="5052" y="5076"/>
                  <a:pt x="5052" y="5076"/>
                </a:cubicBezTo>
                <a:cubicBezTo>
                  <a:pt x="5052" y="5076"/>
                  <a:pt x="5127" y="5101"/>
                  <a:pt x="5152" y="5126"/>
                </a:cubicBezTo>
                <a:cubicBezTo>
                  <a:pt x="5202" y="5126"/>
                  <a:pt x="5402" y="5201"/>
                  <a:pt x="5402" y="5201"/>
                </a:cubicBezTo>
                <a:cubicBezTo>
                  <a:pt x="5677" y="5201"/>
                  <a:pt x="5677" y="5201"/>
                  <a:pt x="5677" y="5201"/>
                </a:cubicBezTo>
                <a:cubicBezTo>
                  <a:pt x="5702" y="5151"/>
                  <a:pt x="5702" y="5151"/>
                  <a:pt x="5702" y="5151"/>
                </a:cubicBezTo>
                <a:cubicBezTo>
                  <a:pt x="5852" y="5151"/>
                  <a:pt x="5852" y="5151"/>
                  <a:pt x="5852" y="5151"/>
                </a:cubicBezTo>
                <a:cubicBezTo>
                  <a:pt x="5852" y="5151"/>
                  <a:pt x="5927" y="5251"/>
                  <a:pt x="5952" y="5251"/>
                </a:cubicBezTo>
                <a:cubicBezTo>
                  <a:pt x="5977" y="5277"/>
                  <a:pt x="6002" y="5301"/>
                  <a:pt x="6002" y="5326"/>
                </a:cubicBezTo>
                <a:cubicBezTo>
                  <a:pt x="6002" y="5351"/>
                  <a:pt x="6027" y="5377"/>
                  <a:pt x="6052" y="5401"/>
                </a:cubicBezTo>
                <a:cubicBezTo>
                  <a:pt x="6077" y="5401"/>
                  <a:pt x="6152" y="5451"/>
                  <a:pt x="6152" y="5451"/>
                </a:cubicBezTo>
                <a:cubicBezTo>
                  <a:pt x="6177" y="5451"/>
                  <a:pt x="6177" y="5351"/>
                  <a:pt x="6227" y="5351"/>
                </a:cubicBezTo>
                <a:cubicBezTo>
                  <a:pt x="6277" y="5377"/>
                  <a:pt x="6377" y="5401"/>
                  <a:pt x="6402" y="5451"/>
                </a:cubicBezTo>
                <a:cubicBezTo>
                  <a:pt x="6402" y="5526"/>
                  <a:pt x="6477" y="5577"/>
                  <a:pt x="6477" y="5577"/>
                </a:cubicBezTo>
                <a:cubicBezTo>
                  <a:pt x="6502" y="5601"/>
                  <a:pt x="6502" y="5626"/>
                  <a:pt x="6502" y="5651"/>
                </a:cubicBezTo>
                <a:cubicBezTo>
                  <a:pt x="6527" y="5677"/>
                  <a:pt x="6527" y="5701"/>
                  <a:pt x="6527" y="5701"/>
                </a:cubicBezTo>
                <a:cubicBezTo>
                  <a:pt x="6552" y="5701"/>
                  <a:pt x="6627" y="5751"/>
                  <a:pt x="6652" y="5751"/>
                </a:cubicBezTo>
                <a:cubicBezTo>
                  <a:pt x="6677" y="5751"/>
                  <a:pt x="6677" y="5777"/>
                  <a:pt x="6702" y="5777"/>
                </a:cubicBezTo>
                <a:cubicBezTo>
                  <a:pt x="6702" y="5701"/>
                  <a:pt x="6627" y="5677"/>
                  <a:pt x="6677" y="5651"/>
                </a:cubicBezTo>
                <a:cubicBezTo>
                  <a:pt x="6728" y="5626"/>
                  <a:pt x="6677" y="5577"/>
                  <a:pt x="6702" y="5577"/>
                </a:cubicBezTo>
                <a:cubicBezTo>
                  <a:pt x="6728" y="5551"/>
                  <a:pt x="6777" y="5526"/>
                  <a:pt x="6777" y="5501"/>
                </a:cubicBezTo>
                <a:cubicBezTo>
                  <a:pt x="6777" y="5477"/>
                  <a:pt x="6802" y="5477"/>
                  <a:pt x="6828" y="5477"/>
                </a:cubicBezTo>
                <a:cubicBezTo>
                  <a:pt x="6852" y="5501"/>
                  <a:pt x="6928" y="5426"/>
                  <a:pt x="6928" y="5401"/>
                </a:cubicBezTo>
                <a:cubicBezTo>
                  <a:pt x="6902" y="5377"/>
                  <a:pt x="6928" y="5377"/>
                  <a:pt x="6952" y="5401"/>
                </a:cubicBezTo>
                <a:cubicBezTo>
                  <a:pt x="7002" y="5401"/>
                  <a:pt x="7002" y="5351"/>
                  <a:pt x="7028" y="5351"/>
                </a:cubicBezTo>
                <a:cubicBezTo>
                  <a:pt x="7052" y="5351"/>
                  <a:pt x="7077" y="5377"/>
                  <a:pt x="7077" y="5351"/>
                </a:cubicBezTo>
                <a:cubicBezTo>
                  <a:pt x="7077" y="5326"/>
                  <a:pt x="7102" y="5351"/>
                  <a:pt x="7102" y="5377"/>
                </a:cubicBezTo>
                <a:cubicBezTo>
                  <a:pt x="7128" y="5401"/>
                  <a:pt x="7177" y="5401"/>
                  <a:pt x="7202" y="5377"/>
                </a:cubicBezTo>
                <a:cubicBezTo>
                  <a:pt x="7202" y="5351"/>
                  <a:pt x="7228" y="5377"/>
                  <a:pt x="7252" y="5401"/>
                </a:cubicBezTo>
                <a:cubicBezTo>
                  <a:pt x="7277" y="5426"/>
                  <a:pt x="7302" y="5426"/>
                  <a:pt x="7328" y="5426"/>
                </a:cubicBezTo>
                <a:cubicBezTo>
                  <a:pt x="7377" y="5426"/>
                  <a:pt x="7377" y="5401"/>
                  <a:pt x="7377" y="5377"/>
                </a:cubicBezTo>
                <a:cubicBezTo>
                  <a:pt x="7377" y="5351"/>
                  <a:pt x="7428" y="5451"/>
                  <a:pt x="7452" y="5451"/>
                </a:cubicBezTo>
                <a:cubicBezTo>
                  <a:pt x="7502" y="5451"/>
                  <a:pt x="7477" y="5426"/>
                  <a:pt x="7428" y="5401"/>
                </a:cubicBezTo>
                <a:cubicBezTo>
                  <a:pt x="7402" y="5377"/>
                  <a:pt x="7452" y="5377"/>
                  <a:pt x="7428" y="5351"/>
                </a:cubicBezTo>
                <a:cubicBezTo>
                  <a:pt x="7402" y="5326"/>
                  <a:pt x="7452" y="5301"/>
                  <a:pt x="7502" y="5301"/>
                </a:cubicBezTo>
                <a:cubicBezTo>
                  <a:pt x="7552" y="5301"/>
                  <a:pt x="7552" y="5326"/>
                  <a:pt x="7577" y="5301"/>
                </a:cubicBezTo>
                <a:cubicBezTo>
                  <a:pt x="7577" y="5251"/>
                  <a:pt x="7602" y="5301"/>
                  <a:pt x="7602" y="5326"/>
                </a:cubicBezTo>
                <a:cubicBezTo>
                  <a:pt x="7602" y="5351"/>
                  <a:pt x="7677" y="5301"/>
                  <a:pt x="7728" y="5301"/>
                </a:cubicBezTo>
                <a:cubicBezTo>
                  <a:pt x="7777" y="5301"/>
                  <a:pt x="7802" y="5326"/>
                  <a:pt x="7828" y="5351"/>
                </a:cubicBezTo>
                <a:cubicBezTo>
                  <a:pt x="7828" y="5377"/>
                  <a:pt x="7853" y="5401"/>
                  <a:pt x="7877" y="5377"/>
                </a:cubicBezTo>
                <a:cubicBezTo>
                  <a:pt x="7902" y="5351"/>
                  <a:pt x="7928" y="5326"/>
                  <a:pt x="7977" y="5351"/>
                </a:cubicBezTo>
                <a:cubicBezTo>
                  <a:pt x="8002" y="5377"/>
                  <a:pt x="8028" y="5401"/>
                  <a:pt x="8053" y="5451"/>
                </a:cubicBezTo>
                <a:cubicBezTo>
                  <a:pt x="8102" y="5477"/>
                  <a:pt x="8053" y="5526"/>
                  <a:pt x="8053" y="5551"/>
                </a:cubicBezTo>
                <a:cubicBezTo>
                  <a:pt x="8077" y="5577"/>
                  <a:pt x="8053" y="5626"/>
                  <a:pt x="8102" y="5651"/>
                </a:cubicBezTo>
                <a:cubicBezTo>
                  <a:pt x="8153" y="5677"/>
                  <a:pt x="8102" y="5726"/>
                  <a:pt x="8153" y="5751"/>
                </a:cubicBezTo>
                <a:cubicBezTo>
                  <a:pt x="8177" y="5751"/>
                  <a:pt x="8202" y="5801"/>
                  <a:pt x="8202" y="5826"/>
                </a:cubicBezTo>
                <a:cubicBezTo>
                  <a:pt x="8202" y="5850"/>
                  <a:pt x="8277" y="5875"/>
                  <a:pt x="8277" y="5850"/>
                </a:cubicBezTo>
                <a:cubicBezTo>
                  <a:pt x="8277" y="5801"/>
                  <a:pt x="8302" y="5751"/>
                  <a:pt x="8328" y="5726"/>
                </a:cubicBezTo>
                <a:cubicBezTo>
                  <a:pt x="8328" y="5701"/>
                  <a:pt x="8302" y="5577"/>
                  <a:pt x="8277" y="5551"/>
                </a:cubicBezTo>
                <a:cubicBezTo>
                  <a:pt x="8228" y="5501"/>
                  <a:pt x="8277" y="5501"/>
                  <a:pt x="8228" y="5451"/>
                </a:cubicBezTo>
                <a:cubicBezTo>
                  <a:pt x="8202" y="5401"/>
                  <a:pt x="8177" y="5326"/>
                  <a:pt x="8177" y="5277"/>
                </a:cubicBezTo>
                <a:cubicBezTo>
                  <a:pt x="8177" y="5201"/>
                  <a:pt x="8253" y="5101"/>
                  <a:pt x="8302" y="5076"/>
                </a:cubicBezTo>
                <a:cubicBezTo>
                  <a:pt x="8328" y="5051"/>
                  <a:pt x="8377" y="5051"/>
                  <a:pt x="8377" y="5026"/>
                </a:cubicBezTo>
                <a:cubicBezTo>
                  <a:pt x="8377" y="5001"/>
                  <a:pt x="8428" y="4951"/>
                  <a:pt x="8453" y="4951"/>
                </a:cubicBezTo>
                <a:cubicBezTo>
                  <a:pt x="8477" y="4951"/>
                  <a:pt x="8502" y="4951"/>
                  <a:pt x="8502" y="4926"/>
                </a:cubicBezTo>
                <a:cubicBezTo>
                  <a:pt x="8528" y="4901"/>
                  <a:pt x="8553" y="4876"/>
                  <a:pt x="8602" y="4851"/>
                </a:cubicBezTo>
                <a:cubicBezTo>
                  <a:pt x="8678" y="4851"/>
                  <a:pt x="8628" y="4826"/>
                  <a:pt x="8628" y="4801"/>
                </a:cubicBezTo>
                <a:cubicBezTo>
                  <a:pt x="8602" y="4776"/>
                  <a:pt x="8628" y="4751"/>
                  <a:pt x="8653" y="4751"/>
                </a:cubicBezTo>
                <a:cubicBezTo>
                  <a:pt x="8653" y="4776"/>
                  <a:pt x="8678" y="4776"/>
                  <a:pt x="8702" y="4776"/>
                </a:cubicBezTo>
                <a:cubicBezTo>
                  <a:pt x="8728" y="4751"/>
                  <a:pt x="8778" y="4701"/>
                  <a:pt x="8728" y="4701"/>
                </a:cubicBezTo>
                <a:cubicBezTo>
                  <a:pt x="8678" y="4701"/>
                  <a:pt x="8678" y="4701"/>
                  <a:pt x="8702" y="4676"/>
                </a:cubicBezTo>
                <a:cubicBezTo>
                  <a:pt x="8728" y="4676"/>
                  <a:pt x="8702" y="4626"/>
                  <a:pt x="8678" y="4626"/>
                </a:cubicBezTo>
                <a:cubicBezTo>
                  <a:pt x="8628" y="4601"/>
                  <a:pt x="8653" y="4601"/>
                  <a:pt x="8678" y="4576"/>
                </a:cubicBezTo>
                <a:cubicBezTo>
                  <a:pt x="8702" y="4551"/>
                  <a:pt x="8628" y="4501"/>
                  <a:pt x="8602" y="4501"/>
                </a:cubicBezTo>
                <a:cubicBezTo>
                  <a:pt x="8578" y="4476"/>
                  <a:pt x="8628" y="4451"/>
                  <a:pt x="8653" y="4451"/>
                </a:cubicBezTo>
                <a:cubicBezTo>
                  <a:pt x="8678" y="4451"/>
                  <a:pt x="8653" y="4351"/>
                  <a:pt x="8653" y="4326"/>
                </a:cubicBezTo>
                <a:cubicBezTo>
                  <a:pt x="8678" y="4301"/>
                  <a:pt x="8702" y="4301"/>
                  <a:pt x="8702" y="4326"/>
                </a:cubicBezTo>
                <a:cubicBezTo>
                  <a:pt x="8678" y="4351"/>
                  <a:pt x="8653" y="4401"/>
                  <a:pt x="8678" y="4426"/>
                </a:cubicBezTo>
                <a:cubicBezTo>
                  <a:pt x="8702" y="4451"/>
                  <a:pt x="8728" y="4501"/>
                  <a:pt x="8702" y="4526"/>
                </a:cubicBezTo>
                <a:cubicBezTo>
                  <a:pt x="8702" y="4576"/>
                  <a:pt x="8728" y="4576"/>
                  <a:pt x="8753" y="4501"/>
                </a:cubicBezTo>
                <a:cubicBezTo>
                  <a:pt x="8778" y="4451"/>
                  <a:pt x="8778" y="4401"/>
                  <a:pt x="8753" y="4376"/>
                </a:cubicBezTo>
                <a:cubicBezTo>
                  <a:pt x="8753" y="4376"/>
                  <a:pt x="8753" y="4326"/>
                  <a:pt x="8778" y="4351"/>
                </a:cubicBezTo>
                <a:cubicBezTo>
                  <a:pt x="8802" y="4376"/>
                  <a:pt x="8802" y="4376"/>
                  <a:pt x="8828" y="4351"/>
                </a:cubicBezTo>
                <a:cubicBezTo>
                  <a:pt x="8878" y="4301"/>
                  <a:pt x="8902" y="4251"/>
                  <a:pt x="8878" y="4226"/>
                </a:cubicBezTo>
                <a:cubicBezTo>
                  <a:pt x="8853" y="4201"/>
                  <a:pt x="8902" y="4201"/>
                  <a:pt x="8928" y="4201"/>
                </a:cubicBezTo>
                <a:cubicBezTo>
                  <a:pt x="8978" y="4201"/>
                  <a:pt x="9078" y="4176"/>
                  <a:pt x="9078" y="4151"/>
                </a:cubicBezTo>
                <a:cubicBezTo>
                  <a:pt x="9102" y="4126"/>
                  <a:pt x="8928" y="4176"/>
                  <a:pt x="8928" y="4151"/>
                </a:cubicBezTo>
                <a:cubicBezTo>
                  <a:pt x="8928" y="4126"/>
                  <a:pt x="9028" y="4101"/>
                  <a:pt x="9078" y="4101"/>
                </a:cubicBezTo>
                <a:cubicBezTo>
                  <a:pt x="9128" y="4101"/>
                  <a:pt x="9102" y="4051"/>
                  <a:pt x="9128" y="4076"/>
                </a:cubicBezTo>
                <a:cubicBezTo>
                  <a:pt x="9153" y="4101"/>
                  <a:pt x="9178" y="4101"/>
                  <a:pt x="9202" y="4076"/>
                </a:cubicBezTo>
                <a:cubicBezTo>
                  <a:pt x="9228" y="4051"/>
                  <a:pt x="9202" y="4001"/>
                  <a:pt x="9178" y="4001"/>
                </a:cubicBezTo>
                <a:cubicBezTo>
                  <a:pt x="9153" y="4001"/>
                  <a:pt x="9202" y="3976"/>
                  <a:pt x="9202" y="3951"/>
                </a:cubicBezTo>
                <a:cubicBezTo>
                  <a:pt x="9178" y="3926"/>
                  <a:pt x="9228" y="3851"/>
                  <a:pt x="9253" y="3851"/>
                </a:cubicBezTo>
                <a:cubicBezTo>
                  <a:pt x="9302" y="3851"/>
                  <a:pt x="9278" y="3826"/>
                  <a:pt x="9302" y="3826"/>
                </a:cubicBezTo>
                <a:cubicBezTo>
                  <a:pt x="9353" y="3826"/>
                  <a:pt x="9353" y="3776"/>
                  <a:pt x="9378" y="3751"/>
                </a:cubicBezTo>
                <a:cubicBezTo>
                  <a:pt x="9403" y="3726"/>
                  <a:pt x="9453" y="3801"/>
                  <a:pt x="9503" y="3751"/>
                </a:cubicBezTo>
                <a:cubicBezTo>
                  <a:pt x="9503" y="3726"/>
                  <a:pt x="9528" y="3726"/>
                  <a:pt x="9578" y="3701"/>
                </a:cubicBezTo>
                <a:cubicBezTo>
                  <a:pt x="9453" y="3551"/>
                  <a:pt x="9478" y="3476"/>
                  <a:pt x="9478" y="3451"/>
                </a:cubicBezTo>
                <a:close/>
              </a:path>
            </a:pathLst>
          </a:custGeom>
          <a:solidFill>
            <a:srgbClr val="000C47"/>
          </a:solidFill>
          <a:ln w="952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7" name="Freeform 102">
            <a:extLst>
              <a:ext uri="{FF2B5EF4-FFF2-40B4-BE49-F238E27FC236}">
                <a16:creationId xmlns:a16="http://schemas.microsoft.com/office/drawing/2014/main" id="{4819312A-7C82-C4AA-5217-A3C136E012CA}"/>
              </a:ext>
            </a:extLst>
          </p:cNvPr>
          <p:cNvSpPr>
            <a:spLocks noChangeArrowheads="1"/>
          </p:cNvSpPr>
          <p:nvPr/>
        </p:nvSpPr>
        <p:spPr bwMode="auto">
          <a:xfrm>
            <a:off x="5823812" y="4444971"/>
            <a:ext cx="1196712" cy="1220617"/>
          </a:xfrm>
          <a:custGeom>
            <a:avLst/>
            <a:gdLst>
              <a:gd name="T0" fmla="*/ 2051 w 3753"/>
              <a:gd name="T1" fmla="*/ 3675 h 3826"/>
              <a:gd name="T2" fmla="*/ 2151 w 3753"/>
              <a:gd name="T3" fmla="*/ 3550 h 3826"/>
              <a:gd name="T4" fmla="*/ 2376 w 3753"/>
              <a:gd name="T5" fmla="*/ 3300 h 3826"/>
              <a:gd name="T6" fmla="*/ 2427 w 3753"/>
              <a:gd name="T7" fmla="*/ 2950 h 3826"/>
              <a:gd name="T8" fmla="*/ 2727 w 3753"/>
              <a:gd name="T9" fmla="*/ 2775 h 3826"/>
              <a:gd name="T10" fmla="*/ 3027 w 3753"/>
              <a:gd name="T11" fmla="*/ 2700 h 3826"/>
              <a:gd name="T12" fmla="*/ 3176 w 3753"/>
              <a:gd name="T13" fmla="*/ 2500 h 3826"/>
              <a:gd name="T14" fmla="*/ 3252 w 3753"/>
              <a:gd name="T15" fmla="*/ 2250 h 3826"/>
              <a:gd name="T16" fmla="*/ 3327 w 3753"/>
              <a:gd name="T17" fmla="*/ 1900 h 3826"/>
              <a:gd name="T18" fmla="*/ 3352 w 3753"/>
              <a:gd name="T19" fmla="*/ 1700 h 3826"/>
              <a:gd name="T20" fmla="*/ 3576 w 3753"/>
              <a:gd name="T21" fmla="*/ 1500 h 3826"/>
              <a:gd name="T22" fmla="*/ 3601 w 3753"/>
              <a:gd name="T23" fmla="*/ 1000 h 3826"/>
              <a:gd name="T24" fmla="*/ 2927 w 3753"/>
              <a:gd name="T25" fmla="*/ 750 h 3826"/>
              <a:gd name="T26" fmla="*/ 2601 w 3753"/>
              <a:gd name="T27" fmla="*/ 574 h 3826"/>
              <a:gd name="T28" fmla="*/ 2327 w 3753"/>
              <a:gd name="T29" fmla="*/ 674 h 3826"/>
              <a:gd name="T30" fmla="*/ 2176 w 3753"/>
              <a:gd name="T31" fmla="*/ 574 h 3826"/>
              <a:gd name="T32" fmla="*/ 2201 w 3753"/>
              <a:gd name="T33" fmla="*/ 274 h 3826"/>
              <a:gd name="T34" fmla="*/ 1926 w 3753"/>
              <a:gd name="T35" fmla="*/ 300 h 3826"/>
              <a:gd name="T36" fmla="*/ 1701 w 3753"/>
              <a:gd name="T37" fmla="*/ 325 h 3826"/>
              <a:gd name="T38" fmla="*/ 1476 w 3753"/>
              <a:gd name="T39" fmla="*/ 374 h 3826"/>
              <a:gd name="T40" fmla="*/ 1351 w 3753"/>
              <a:gd name="T41" fmla="*/ 100 h 3826"/>
              <a:gd name="T42" fmla="*/ 1126 w 3753"/>
              <a:gd name="T43" fmla="*/ 100 h 3826"/>
              <a:gd name="T44" fmla="*/ 951 w 3753"/>
              <a:gd name="T45" fmla="*/ 125 h 3826"/>
              <a:gd name="T46" fmla="*/ 951 w 3753"/>
              <a:gd name="T47" fmla="*/ 250 h 3826"/>
              <a:gd name="T48" fmla="*/ 926 w 3753"/>
              <a:gd name="T49" fmla="*/ 350 h 3826"/>
              <a:gd name="T50" fmla="*/ 751 w 3753"/>
              <a:gd name="T51" fmla="*/ 425 h 3826"/>
              <a:gd name="T52" fmla="*/ 526 w 3753"/>
              <a:gd name="T53" fmla="*/ 350 h 3826"/>
              <a:gd name="T54" fmla="*/ 426 w 3753"/>
              <a:gd name="T55" fmla="*/ 450 h 3826"/>
              <a:gd name="T56" fmla="*/ 400 w 3753"/>
              <a:gd name="T57" fmla="*/ 774 h 3826"/>
              <a:gd name="T58" fmla="*/ 176 w 3753"/>
              <a:gd name="T59" fmla="*/ 950 h 3826"/>
              <a:gd name="T60" fmla="*/ 26 w 3753"/>
              <a:gd name="T61" fmla="*/ 1150 h 3826"/>
              <a:gd name="T62" fmla="*/ 76 w 3753"/>
              <a:gd name="T63" fmla="*/ 1375 h 3826"/>
              <a:gd name="T64" fmla="*/ 276 w 3753"/>
              <a:gd name="T65" fmla="*/ 1450 h 3826"/>
              <a:gd name="T66" fmla="*/ 451 w 3753"/>
              <a:gd name="T67" fmla="*/ 1550 h 3826"/>
              <a:gd name="T68" fmla="*/ 726 w 3753"/>
              <a:gd name="T69" fmla="*/ 1450 h 3826"/>
              <a:gd name="T70" fmla="*/ 951 w 3753"/>
              <a:gd name="T71" fmla="*/ 1700 h 3826"/>
              <a:gd name="T72" fmla="*/ 1151 w 3753"/>
              <a:gd name="T73" fmla="*/ 1775 h 3826"/>
              <a:gd name="T74" fmla="*/ 1301 w 3753"/>
              <a:gd name="T75" fmla="*/ 1950 h 3826"/>
              <a:gd name="T76" fmla="*/ 1476 w 3753"/>
              <a:gd name="T77" fmla="*/ 2125 h 3826"/>
              <a:gd name="T78" fmla="*/ 1501 w 3753"/>
              <a:gd name="T79" fmla="*/ 2400 h 3826"/>
              <a:gd name="T80" fmla="*/ 1576 w 3753"/>
              <a:gd name="T81" fmla="*/ 2625 h 3826"/>
              <a:gd name="T82" fmla="*/ 1776 w 3753"/>
              <a:gd name="T83" fmla="*/ 2825 h 3826"/>
              <a:gd name="T84" fmla="*/ 1901 w 3753"/>
              <a:gd name="T85" fmla="*/ 2975 h 3826"/>
              <a:gd name="T86" fmla="*/ 1626 w 3753"/>
              <a:gd name="T87" fmla="*/ 3350 h 3826"/>
              <a:gd name="T88" fmla="*/ 1651 w 3753"/>
              <a:gd name="T89" fmla="*/ 3475 h 3826"/>
              <a:gd name="T90" fmla="*/ 1851 w 3753"/>
              <a:gd name="T91" fmla="*/ 3625 h 3826"/>
              <a:gd name="T92" fmla="*/ 1976 w 3753"/>
              <a:gd name="T93" fmla="*/ 3801 h 3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53" h="3826">
                <a:moveTo>
                  <a:pt x="1976" y="3801"/>
                </a:moveTo>
                <a:lnTo>
                  <a:pt x="1976" y="3801"/>
                </a:lnTo>
                <a:cubicBezTo>
                  <a:pt x="2026" y="3750"/>
                  <a:pt x="2026" y="3725"/>
                  <a:pt x="2051" y="3675"/>
                </a:cubicBezTo>
                <a:cubicBezTo>
                  <a:pt x="2076" y="3625"/>
                  <a:pt x="2051" y="3601"/>
                  <a:pt x="2101" y="3550"/>
                </a:cubicBezTo>
                <a:cubicBezTo>
                  <a:pt x="2151" y="3525"/>
                  <a:pt x="2101" y="3475"/>
                  <a:pt x="2151" y="3450"/>
                </a:cubicBezTo>
                <a:cubicBezTo>
                  <a:pt x="2201" y="3425"/>
                  <a:pt x="2201" y="3475"/>
                  <a:pt x="2151" y="3550"/>
                </a:cubicBezTo>
                <a:cubicBezTo>
                  <a:pt x="2101" y="3601"/>
                  <a:pt x="2101" y="3625"/>
                  <a:pt x="2151" y="3575"/>
                </a:cubicBezTo>
                <a:cubicBezTo>
                  <a:pt x="2226" y="3525"/>
                  <a:pt x="2251" y="3475"/>
                  <a:pt x="2276" y="3400"/>
                </a:cubicBezTo>
                <a:cubicBezTo>
                  <a:pt x="2327" y="3325"/>
                  <a:pt x="2351" y="3300"/>
                  <a:pt x="2376" y="3300"/>
                </a:cubicBezTo>
                <a:cubicBezTo>
                  <a:pt x="2401" y="3275"/>
                  <a:pt x="2401" y="3200"/>
                  <a:pt x="2401" y="3150"/>
                </a:cubicBezTo>
                <a:cubicBezTo>
                  <a:pt x="2401" y="3100"/>
                  <a:pt x="2376" y="3050"/>
                  <a:pt x="2401" y="3025"/>
                </a:cubicBezTo>
                <a:cubicBezTo>
                  <a:pt x="2427" y="2975"/>
                  <a:pt x="2401" y="2950"/>
                  <a:pt x="2427" y="2950"/>
                </a:cubicBezTo>
                <a:cubicBezTo>
                  <a:pt x="2451" y="2950"/>
                  <a:pt x="2501" y="2900"/>
                  <a:pt x="2551" y="2850"/>
                </a:cubicBezTo>
                <a:cubicBezTo>
                  <a:pt x="2601" y="2800"/>
                  <a:pt x="2627" y="2800"/>
                  <a:pt x="2676" y="2800"/>
                </a:cubicBezTo>
                <a:cubicBezTo>
                  <a:pt x="2727" y="2800"/>
                  <a:pt x="2701" y="2775"/>
                  <a:pt x="2727" y="2775"/>
                </a:cubicBezTo>
                <a:cubicBezTo>
                  <a:pt x="2751" y="2775"/>
                  <a:pt x="2776" y="2725"/>
                  <a:pt x="2801" y="2725"/>
                </a:cubicBezTo>
                <a:cubicBezTo>
                  <a:pt x="2827" y="2700"/>
                  <a:pt x="2901" y="2725"/>
                  <a:pt x="2951" y="2725"/>
                </a:cubicBezTo>
                <a:cubicBezTo>
                  <a:pt x="3001" y="2725"/>
                  <a:pt x="3027" y="2725"/>
                  <a:pt x="3027" y="2700"/>
                </a:cubicBezTo>
                <a:cubicBezTo>
                  <a:pt x="3027" y="2650"/>
                  <a:pt x="3051" y="2625"/>
                  <a:pt x="3101" y="2625"/>
                </a:cubicBezTo>
                <a:cubicBezTo>
                  <a:pt x="3127" y="2625"/>
                  <a:pt x="3127" y="2625"/>
                  <a:pt x="3127" y="2575"/>
                </a:cubicBezTo>
                <a:cubicBezTo>
                  <a:pt x="3127" y="2550"/>
                  <a:pt x="3151" y="2525"/>
                  <a:pt x="3176" y="2500"/>
                </a:cubicBezTo>
                <a:cubicBezTo>
                  <a:pt x="3201" y="2475"/>
                  <a:pt x="3201" y="2450"/>
                  <a:pt x="3201" y="2425"/>
                </a:cubicBezTo>
                <a:cubicBezTo>
                  <a:pt x="3227" y="2375"/>
                  <a:pt x="3252" y="2400"/>
                  <a:pt x="3252" y="2375"/>
                </a:cubicBezTo>
                <a:cubicBezTo>
                  <a:pt x="3252" y="2325"/>
                  <a:pt x="3252" y="2275"/>
                  <a:pt x="3252" y="2250"/>
                </a:cubicBezTo>
                <a:cubicBezTo>
                  <a:pt x="3252" y="2225"/>
                  <a:pt x="3301" y="2225"/>
                  <a:pt x="3301" y="2199"/>
                </a:cubicBezTo>
                <a:cubicBezTo>
                  <a:pt x="3327" y="2175"/>
                  <a:pt x="3301" y="2150"/>
                  <a:pt x="3327" y="2075"/>
                </a:cubicBezTo>
                <a:cubicBezTo>
                  <a:pt x="3327" y="2025"/>
                  <a:pt x="3327" y="1950"/>
                  <a:pt x="3327" y="1900"/>
                </a:cubicBezTo>
                <a:cubicBezTo>
                  <a:pt x="3327" y="1850"/>
                  <a:pt x="3327" y="1775"/>
                  <a:pt x="3327" y="1750"/>
                </a:cubicBezTo>
                <a:cubicBezTo>
                  <a:pt x="3352" y="1750"/>
                  <a:pt x="3352" y="1725"/>
                  <a:pt x="3327" y="1725"/>
                </a:cubicBezTo>
                <a:cubicBezTo>
                  <a:pt x="3301" y="1725"/>
                  <a:pt x="3327" y="1700"/>
                  <a:pt x="3352" y="1700"/>
                </a:cubicBezTo>
                <a:cubicBezTo>
                  <a:pt x="3352" y="1700"/>
                  <a:pt x="3376" y="1725"/>
                  <a:pt x="3401" y="1725"/>
                </a:cubicBezTo>
                <a:cubicBezTo>
                  <a:pt x="3427" y="1700"/>
                  <a:pt x="3452" y="1625"/>
                  <a:pt x="3476" y="1575"/>
                </a:cubicBezTo>
                <a:cubicBezTo>
                  <a:pt x="3501" y="1500"/>
                  <a:pt x="3552" y="1525"/>
                  <a:pt x="3576" y="1500"/>
                </a:cubicBezTo>
                <a:cubicBezTo>
                  <a:pt x="3601" y="1500"/>
                  <a:pt x="3652" y="1425"/>
                  <a:pt x="3701" y="1325"/>
                </a:cubicBezTo>
                <a:cubicBezTo>
                  <a:pt x="3752" y="1225"/>
                  <a:pt x="3701" y="1125"/>
                  <a:pt x="3676" y="1050"/>
                </a:cubicBezTo>
                <a:cubicBezTo>
                  <a:pt x="3676" y="974"/>
                  <a:pt x="3652" y="974"/>
                  <a:pt x="3601" y="1000"/>
                </a:cubicBezTo>
                <a:cubicBezTo>
                  <a:pt x="3552" y="1000"/>
                  <a:pt x="3476" y="974"/>
                  <a:pt x="3376" y="874"/>
                </a:cubicBezTo>
                <a:cubicBezTo>
                  <a:pt x="3276" y="750"/>
                  <a:pt x="3176" y="774"/>
                  <a:pt x="3101" y="774"/>
                </a:cubicBezTo>
                <a:cubicBezTo>
                  <a:pt x="3027" y="799"/>
                  <a:pt x="2951" y="750"/>
                  <a:pt x="2927" y="750"/>
                </a:cubicBezTo>
                <a:cubicBezTo>
                  <a:pt x="2876" y="725"/>
                  <a:pt x="2827" y="774"/>
                  <a:pt x="2801" y="799"/>
                </a:cubicBezTo>
                <a:cubicBezTo>
                  <a:pt x="2751" y="799"/>
                  <a:pt x="2801" y="750"/>
                  <a:pt x="2801" y="700"/>
                </a:cubicBezTo>
                <a:cubicBezTo>
                  <a:pt x="2801" y="674"/>
                  <a:pt x="2676" y="625"/>
                  <a:pt x="2601" y="574"/>
                </a:cubicBezTo>
                <a:cubicBezTo>
                  <a:pt x="2501" y="550"/>
                  <a:pt x="2451" y="550"/>
                  <a:pt x="2451" y="625"/>
                </a:cubicBezTo>
                <a:cubicBezTo>
                  <a:pt x="2451" y="674"/>
                  <a:pt x="2427" y="600"/>
                  <a:pt x="2376" y="674"/>
                </a:cubicBezTo>
                <a:cubicBezTo>
                  <a:pt x="2351" y="725"/>
                  <a:pt x="2301" y="674"/>
                  <a:pt x="2327" y="674"/>
                </a:cubicBezTo>
                <a:cubicBezTo>
                  <a:pt x="2376" y="650"/>
                  <a:pt x="2401" y="600"/>
                  <a:pt x="2427" y="550"/>
                </a:cubicBezTo>
                <a:cubicBezTo>
                  <a:pt x="2427" y="525"/>
                  <a:pt x="2276" y="474"/>
                  <a:pt x="2226" y="500"/>
                </a:cubicBezTo>
                <a:cubicBezTo>
                  <a:pt x="2176" y="525"/>
                  <a:pt x="2201" y="600"/>
                  <a:pt x="2176" y="574"/>
                </a:cubicBezTo>
                <a:cubicBezTo>
                  <a:pt x="2126" y="550"/>
                  <a:pt x="2151" y="500"/>
                  <a:pt x="2201" y="500"/>
                </a:cubicBezTo>
                <a:cubicBezTo>
                  <a:pt x="2226" y="500"/>
                  <a:pt x="2276" y="425"/>
                  <a:pt x="2276" y="374"/>
                </a:cubicBezTo>
                <a:cubicBezTo>
                  <a:pt x="2301" y="325"/>
                  <a:pt x="2251" y="325"/>
                  <a:pt x="2201" y="274"/>
                </a:cubicBezTo>
                <a:cubicBezTo>
                  <a:pt x="2176" y="250"/>
                  <a:pt x="2176" y="125"/>
                  <a:pt x="2151" y="100"/>
                </a:cubicBezTo>
                <a:cubicBezTo>
                  <a:pt x="2101" y="150"/>
                  <a:pt x="2051" y="200"/>
                  <a:pt x="2026" y="250"/>
                </a:cubicBezTo>
                <a:cubicBezTo>
                  <a:pt x="2001" y="325"/>
                  <a:pt x="1976" y="274"/>
                  <a:pt x="1926" y="300"/>
                </a:cubicBezTo>
                <a:cubicBezTo>
                  <a:pt x="1876" y="325"/>
                  <a:pt x="1851" y="300"/>
                  <a:pt x="1851" y="274"/>
                </a:cubicBezTo>
                <a:cubicBezTo>
                  <a:pt x="1826" y="250"/>
                  <a:pt x="1776" y="274"/>
                  <a:pt x="1726" y="274"/>
                </a:cubicBezTo>
                <a:cubicBezTo>
                  <a:pt x="1701" y="274"/>
                  <a:pt x="1726" y="300"/>
                  <a:pt x="1701" y="325"/>
                </a:cubicBezTo>
                <a:cubicBezTo>
                  <a:pt x="1676" y="350"/>
                  <a:pt x="1601" y="300"/>
                  <a:pt x="1576" y="325"/>
                </a:cubicBezTo>
                <a:cubicBezTo>
                  <a:pt x="1551" y="350"/>
                  <a:pt x="1551" y="325"/>
                  <a:pt x="1526" y="350"/>
                </a:cubicBezTo>
                <a:cubicBezTo>
                  <a:pt x="1526" y="374"/>
                  <a:pt x="1476" y="350"/>
                  <a:pt x="1476" y="374"/>
                </a:cubicBezTo>
                <a:cubicBezTo>
                  <a:pt x="1451" y="374"/>
                  <a:pt x="1426" y="400"/>
                  <a:pt x="1376" y="325"/>
                </a:cubicBezTo>
                <a:cubicBezTo>
                  <a:pt x="1326" y="274"/>
                  <a:pt x="1326" y="174"/>
                  <a:pt x="1351" y="174"/>
                </a:cubicBezTo>
                <a:cubicBezTo>
                  <a:pt x="1376" y="150"/>
                  <a:pt x="1376" y="100"/>
                  <a:pt x="1351" y="100"/>
                </a:cubicBezTo>
                <a:cubicBezTo>
                  <a:pt x="1301" y="74"/>
                  <a:pt x="1351" y="25"/>
                  <a:pt x="1301" y="0"/>
                </a:cubicBezTo>
                <a:cubicBezTo>
                  <a:pt x="1276" y="0"/>
                  <a:pt x="1276" y="50"/>
                  <a:pt x="1251" y="74"/>
                </a:cubicBezTo>
                <a:cubicBezTo>
                  <a:pt x="1226" y="74"/>
                  <a:pt x="1151" y="125"/>
                  <a:pt x="1126" y="100"/>
                </a:cubicBezTo>
                <a:cubicBezTo>
                  <a:pt x="1101" y="100"/>
                  <a:pt x="1076" y="125"/>
                  <a:pt x="1076" y="150"/>
                </a:cubicBezTo>
                <a:cubicBezTo>
                  <a:pt x="1076" y="174"/>
                  <a:pt x="1026" y="174"/>
                  <a:pt x="1026" y="150"/>
                </a:cubicBezTo>
                <a:cubicBezTo>
                  <a:pt x="1026" y="125"/>
                  <a:pt x="951" y="125"/>
                  <a:pt x="951" y="125"/>
                </a:cubicBezTo>
                <a:cubicBezTo>
                  <a:pt x="926" y="100"/>
                  <a:pt x="851" y="100"/>
                  <a:pt x="876" y="125"/>
                </a:cubicBezTo>
                <a:cubicBezTo>
                  <a:pt x="926" y="150"/>
                  <a:pt x="926" y="174"/>
                  <a:pt x="926" y="200"/>
                </a:cubicBezTo>
                <a:cubicBezTo>
                  <a:pt x="926" y="225"/>
                  <a:pt x="951" y="225"/>
                  <a:pt x="951" y="250"/>
                </a:cubicBezTo>
                <a:cubicBezTo>
                  <a:pt x="951" y="300"/>
                  <a:pt x="976" y="274"/>
                  <a:pt x="1001" y="274"/>
                </a:cubicBezTo>
                <a:cubicBezTo>
                  <a:pt x="1026" y="274"/>
                  <a:pt x="1026" y="300"/>
                  <a:pt x="976" y="300"/>
                </a:cubicBezTo>
                <a:cubicBezTo>
                  <a:pt x="951" y="300"/>
                  <a:pt x="926" y="325"/>
                  <a:pt x="926" y="350"/>
                </a:cubicBezTo>
                <a:cubicBezTo>
                  <a:pt x="926" y="374"/>
                  <a:pt x="901" y="374"/>
                  <a:pt x="876" y="374"/>
                </a:cubicBezTo>
                <a:cubicBezTo>
                  <a:pt x="851" y="400"/>
                  <a:pt x="826" y="425"/>
                  <a:pt x="801" y="425"/>
                </a:cubicBezTo>
                <a:cubicBezTo>
                  <a:pt x="776" y="400"/>
                  <a:pt x="776" y="425"/>
                  <a:pt x="751" y="425"/>
                </a:cubicBezTo>
                <a:cubicBezTo>
                  <a:pt x="726" y="450"/>
                  <a:pt x="726" y="425"/>
                  <a:pt x="701" y="400"/>
                </a:cubicBezTo>
                <a:cubicBezTo>
                  <a:pt x="676" y="400"/>
                  <a:pt x="651" y="350"/>
                  <a:pt x="626" y="300"/>
                </a:cubicBezTo>
                <a:cubicBezTo>
                  <a:pt x="601" y="325"/>
                  <a:pt x="551" y="350"/>
                  <a:pt x="526" y="350"/>
                </a:cubicBezTo>
                <a:cubicBezTo>
                  <a:pt x="501" y="350"/>
                  <a:pt x="400" y="325"/>
                  <a:pt x="400" y="350"/>
                </a:cubicBezTo>
                <a:cubicBezTo>
                  <a:pt x="376" y="374"/>
                  <a:pt x="400" y="400"/>
                  <a:pt x="426" y="400"/>
                </a:cubicBezTo>
                <a:cubicBezTo>
                  <a:pt x="426" y="400"/>
                  <a:pt x="476" y="425"/>
                  <a:pt x="426" y="450"/>
                </a:cubicBezTo>
                <a:cubicBezTo>
                  <a:pt x="400" y="474"/>
                  <a:pt x="376" y="425"/>
                  <a:pt x="376" y="500"/>
                </a:cubicBezTo>
                <a:cubicBezTo>
                  <a:pt x="376" y="550"/>
                  <a:pt x="451" y="600"/>
                  <a:pt x="426" y="650"/>
                </a:cubicBezTo>
                <a:cubicBezTo>
                  <a:pt x="426" y="674"/>
                  <a:pt x="400" y="750"/>
                  <a:pt x="400" y="774"/>
                </a:cubicBezTo>
                <a:cubicBezTo>
                  <a:pt x="400" y="799"/>
                  <a:pt x="400" y="900"/>
                  <a:pt x="376" y="900"/>
                </a:cubicBezTo>
                <a:cubicBezTo>
                  <a:pt x="351" y="900"/>
                  <a:pt x="326" y="874"/>
                  <a:pt x="300" y="900"/>
                </a:cubicBezTo>
                <a:cubicBezTo>
                  <a:pt x="251" y="925"/>
                  <a:pt x="226" y="925"/>
                  <a:pt x="176" y="950"/>
                </a:cubicBezTo>
                <a:cubicBezTo>
                  <a:pt x="151" y="974"/>
                  <a:pt x="100" y="974"/>
                  <a:pt x="100" y="1000"/>
                </a:cubicBezTo>
                <a:cubicBezTo>
                  <a:pt x="100" y="1050"/>
                  <a:pt x="51" y="1050"/>
                  <a:pt x="76" y="1100"/>
                </a:cubicBezTo>
                <a:cubicBezTo>
                  <a:pt x="76" y="1125"/>
                  <a:pt x="51" y="1125"/>
                  <a:pt x="26" y="1150"/>
                </a:cubicBezTo>
                <a:cubicBezTo>
                  <a:pt x="0" y="1175"/>
                  <a:pt x="26" y="1175"/>
                  <a:pt x="0" y="1200"/>
                </a:cubicBezTo>
                <a:cubicBezTo>
                  <a:pt x="0" y="1225"/>
                  <a:pt x="26" y="1250"/>
                  <a:pt x="26" y="1275"/>
                </a:cubicBezTo>
                <a:cubicBezTo>
                  <a:pt x="51" y="1325"/>
                  <a:pt x="76" y="1325"/>
                  <a:pt x="76" y="1375"/>
                </a:cubicBezTo>
                <a:cubicBezTo>
                  <a:pt x="76" y="1400"/>
                  <a:pt x="100" y="1400"/>
                  <a:pt x="126" y="1400"/>
                </a:cubicBezTo>
                <a:cubicBezTo>
                  <a:pt x="151" y="1400"/>
                  <a:pt x="126" y="1450"/>
                  <a:pt x="176" y="1450"/>
                </a:cubicBezTo>
                <a:cubicBezTo>
                  <a:pt x="226" y="1450"/>
                  <a:pt x="251" y="1475"/>
                  <a:pt x="276" y="1450"/>
                </a:cubicBezTo>
                <a:cubicBezTo>
                  <a:pt x="276" y="1425"/>
                  <a:pt x="300" y="1400"/>
                  <a:pt x="300" y="1425"/>
                </a:cubicBezTo>
                <a:cubicBezTo>
                  <a:pt x="300" y="1475"/>
                  <a:pt x="300" y="1575"/>
                  <a:pt x="326" y="1550"/>
                </a:cubicBezTo>
                <a:cubicBezTo>
                  <a:pt x="376" y="1550"/>
                  <a:pt x="426" y="1550"/>
                  <a:pt x="451" y="1550"/>
                </a:cubicBezTo>
                <a:cubicBezTo>
                  <a:pt x="476" y="1575"/>
                  <a:pt x="526" y="1550"/>
                  <a:pt x="526" y="1525"/>
                </a:cubicBezTo>
                <a:cubicBezTo>
                  <a:pt x="551" y="1525"/>
                  <a:pt x="576" y="1525"/>
                  <a:pt x="626" y="1500"/>
                </a:cubicBezTo>
                <a:cubicBezTo>
                  <a:pt x="651" y="1475"/>
                  <a:pt x="701" y="1450"/>
                  <a:pt x="726" y="1450"/>
                </a:cubicBezTo>
                <a:cubicBezTo>
                  <a:pt x="776" y="1450"/>
                  <a:pt x="826" y="1425"/>
                  <a:pt x="826" y="1450"/>
                </a:cubicBezTo>
                <a:cubicBezTo>
                  <a:pt x="801" y="1475"/>
                  <a:pt x="801" y="1575"/>
                  <a:pt x="851" y="1625"/>
                </a:cubicBezTo>
                <a:cubicBezTo>
                  <a:pt x="901" y="1675"/>
                  <a:pt x="926" y="1700"/>
                  <a:pt x="951" y="1700"/>
                </a:cubicBezTo>
                <a:cubicBezTo>
                  <a:pt x="1001" y="1700"/>
                  <a:pt x="1001" y="1725"/>
                  <a:pt x="1026" y="1725"/>
                </a:cubicBezTo>
                <a:cubicBezTo>
                  <a:pt x="1051" y="1700"/>
                  <a:pt x="1026" y="1750"/>
                  <a:pt x="1076" y="1750"/>
                </a:cubicBezTo>
                <a:cubicBezTo>
                  <a:pt x="1101" y="1750"/>
                  <a:pt x="1151" y="1750"/>
                  <a:pt x="1151" y="1775"/>
                </a:cubicBezTo>
                <a:cubicBezTo>
                  <a:pt x="1151" y="1825"/>
                  <a:pt x="1226" y="1800"/>
                  <a:pt x="1251" y="1800"/>
                </a:cubicBezTo>
                <a:cubicBezTo>
                  <a:pt x="1276" y="1825"/>
                  <a:pt x="1276" y="1825"/>
                  <a:pt x="1276" y="1875"/>
                </a:cubicBezTo>
                <a:cubicBezTo>
                  <a:pt x="1276" y="1900"/>
                  <a:pt x="1326" y="1925"/>
                  <a:pt x="1301" y="1950"/>
                </a:cubicBezTo>
                <a:cubicBezTo>
                  <a:pt x="1276" y="1950"/>
                  <a:pt x="1301" y="1975"/>
                  <a:pt x="1301" y="2025"/>
                </a:cubicBezTo>
                <a:cubicBezTo>
                  <a:pt x="1301" y="2050"/>
                  <a:pt x="1351" y="2075"/>
                  <a:pt x="1401" y="2075"/>
                </a:cubicBezTo>
                <a:cubicBezTo>
                  <a:pt x="1476" y="2075"/>
                  <a:pt x="1476" y="2075"/>
                  <a:pt x="1476" y="2125"/>
                </a:cubicBezTo>
                <a:cubicBezTo>
                  <a:pt x="1476" y="2150"/>
                  <a:pt x="1526" y="2175"/>
                  <a:pt x="1551" y="2199"/>
                </a:cubicBezTo>
                <a:cubicBezTo>
                  <a:pt x="1551" y="2250"/>
                  <a:pt x="1526" y="2300"/>
                  <a:pt x="1526" y="2325"/>
                </a:cubicBezTo>
                <a:cubicBezTo>
                  <a:pt x="1526" y="2350"/>
                  <a:pt x="1526" y="2375"/>
                  <a:pt x="1501" y="2400"/>
                </a:cubicBezTo>
                <a:cubicBezTo>
                  <a:pt x="1526" y="2425"/>
                  <a:pt x="1526" y="2425"/>
                  <a:pt x="1501" y="2450"/>
                </a:cubicBezTo>
                <a:cubicBezTo>
                  <a:pt x="1476" y="2450"/>
                  <a:pt x="1551" y="2500"/>
                  <a:pt x="1526" y="2550"/>
                </a:cubicBezTo>
                <a:cubicBezTo>
                  <a:pt x="1501" y="2625"/>
                  <a:pt x="1501" y="2625"/>
                  <a:pt x="1576" y="2625"/>
                </a:cubicBezTo>
                <a:cubicBezTo>
                  <a:pt x="1626" y="2625"/>
                  <a:pt x="1626" y="2650"/>
                  <a:pt x="1651" y="2650"/>
                </a:cubicBezTo>
                <a:cubicBezTo>
                  <a:pt x="1676" y="2625"/>
                  <a:pt x="1701" y="2700"/>
                  <a:pt x="1726" y="2725"/>
                </a:cubicBezTo>
                <a:cubicBezTo>
                  <a:pt x="1726" y="2750"/>
                  <a:pt x="1751" y="2825"/>
                  <a:pt x="1776" y="2825"/>
                </a:cubicBezTo>
                <a:cubicBezTo>
                  <a:pt x="1776" y="2825"/>
                  <a:pt x="1801" y="2800"/>
                  <a:pt x="1851" y="2800"/>
                </a:cubicBezTo>
                <a:cubicBezTo>
                  <a:pt x="1876" y="2825"/>
                  <a:pt x="1826" y="2925"/>
                  <a:pt x="1826" y="2975"/>
                </a:cubicBezTo>
                <a:cubicBezTo>
                  <a:pt x="1851" y="2975"/>
                  <a:pt x="1876" y="2975"/>
                  <a:pt x="1901" y="2975"/>
                </a:cubicBezTo>
                <a:cubicBezTo>
                  <a:pt x="1901" y="3000"/>
                  <a:pt x="1926" y="3100"/>
                  <a:pt x="1901" y="3125"/>
                </a:cubicBezTo>
                <a:cubicBezTo>
                  <a:pt x="1901" y="3150"/>
                  <a:pt x="1826" y="3175"/>
                  <a:pt x="1801" y="3175"/>
                </a:cubicBezTo>
                <a:cubicBezTo>
                  <a:pt x="1751" y="3200"/>
                  <a:pt x="1676" y="3300"/>
                  <a:pt x="1626" y="3350"/>
                </a:cubicBezTo>
                <a:cubicBezTo>
                  <a:pt x="1601" y="3400"/>
                  <a:pt x="1576" y="3425"/>
                  <a:pt x="1551" y="3450"/>
                </a:cubicBezTo>
                <a:cubicBezTo>
                  <a:pt x="1576" y="3450"/>
                  <a:pt x="1576" y="3450"/>
                  <a:pt x="1576" y="3450"/>
                </a:cubicBezTo>
                <a:cubicBezTo>
                  <a:pt x="1601" y="3450"/>
                  <a:pt x="1626" y="3450"/>
                  <a:pt x="1651" y="3475"/>
                </a:cubicBezTo>
                <a:cubicBezTo>
                  <a:pt x="1701" y="3525"/>
                  <a:pt x="1701" y="3550"/>
                  <a:pt x="1701" y="3550"/>
                </a:cubicBezTo>
                <a:cubicBezTo>
                  <a:pt x="1726" y="3550"/>
                  <a:pt x="1726" y="3501"/>
                  <a:pt x="1751" y="3525"/>
                </a:cubicBezTo>
                <a:cubicBezTo>
                  <a:pt x="1776" y="3575"/>
                  <a:pt x="1851" y="3601"/>
                  <a:pt x="1851" y="3625"/>
                </a:cubicBezTo>
                <a:cubicBezTo>
                  <a:pt x="1876" y="3625"/>
                  <a:pt x="1926" y="3650"/>
                  <a:pt x="1926" y="3701"/>
                </a:cubicBezTo>
                <a:cubicBezTo>
                  <a:pt x="1926" y="3725"/>
                  <a:pt x="1901" y="3775"/>
                  <a:pt x="1926" y="3825"/>
                </a:cubicBezTo>
                <a:cubicBezTo>
                  <a:pt x="1951" y="3825"/>
                  <a:pt x="1951" y="3801"/>
                  <a:pt x="1976" y="3801"/>
                </a:cubicBezTo>
              </a:path>
            </a:pathLst>
          </a:custGeom>
          <a:solidFill>
            <a:srgbClr val="000C47"/>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sp>
        <p:nvSpPr>
          <p:cNvPr id="1108" name="Freeform 109">
            <a:extLst>
              <a:ext uri="{FF2B5EF4-FFF2-40B4-BE49-F238E27FC236}">
                <a16:creationId xmlns:a16="http://schemas.microsoft.com/office/drawing/2014/main" id="{ACB0DC07-9CB7-5652-755D-28A28CD005D4}"/>
              </a:ext>
            </a:extLst>
          </p:cNvPr>
          <p:cNvSpPr>
            <a:spLocks noChangeArrowheads="1"/>
          </p:cNvSpPr>
          <p:nvPr/>
        </p:nvSpPr>
        <p:spPr bwMode="auto">
          <a:xfrm>
            <a:off x="5673347" y="4221378"/>
            <a:ext cx="358591" cy="510467"/>
          </a:xfrm>
          <a:custGeom>
            <a:avLst/>
            <a:gdLst>
              <a:gd name="T0" fmla="*/ 174 w 1126"/>
              <a:gd name="T1" fmla="*/ 1174 h 1601"/>
              <a:gd name="T2" fmla="*/ 174 w 1126"/>
              <a:gd name="T3" fmla="*/ 1174 h 1601"/>
              <a:gd name="T4" fmla="*/ 250 w 1126"/>
              <a:gd name="T5" fmla="*/ 1174 h 1601"/>
              <a:gd name="T6" fmla="*/ 300 w 1126"/>
              <a:gd name="T7" fmla="*/ 1225 h 1601"/>
              <a:gd name="T8" fmla="*/ 300 w 1126"/>
              <a:gd name="T9" fmla="*/ 1225 h 1601"/>
              <a:gd name="T10" fmla="*/ 400 w 1126"/>
              <a:gd name="T11" fmla="*/ 1225 h 1601"/>
              <a:gd name="T12" fmla="*/ 450 w 1126"/>
              <a:gd name="T13" fmla="*/ 1300 h 1601"/>
              <a:gd name="T14" fmla="*/ 500 w 1126"/>
              <a:gd name="T15" fmla="*/ 1350 h 1601"/>
              <a:gd name="T16" fmla="*/ 550 w 1126"/>
              <a:gd name="T17" fmla="*/ 1425 h 1601"/>
              <a:gd name="T18" fmla="*/ 650 w 1126"/>
              <a:gd name="T19" fmla="*/ 1425 h 1601"/>
              <a:gd name="T20" fmla="*/ 700 w 1126"/>
              <a:gd name="T21" fmla="*/ 1425 h 1601"/>
              <a:gd name="T22" fmla="*/ 774 w 1126"/>
              <a:gd name="T23" fmla="*/ 1425 h 1601"/>
              <a:gd name="T24" fmla="*/ 825 w 1126"/>
              <a:gd name="T25" fmla="*/ 1474 h 1601"/>
              <a:gd name="T26" fmla="*/ 774 w 1126"/>
              <a:gd name="T27" fmla="*/ 1550 h 1601"/>
              <a:gd name="T28" fmla="*/ 850 w 1126"/>
              <a:gd name="T29" fmla="*/ 1600 h 1601"/>
              <a:gd name="T30" fmla="*/ 850 w 1126"/>
              <a:gd name="T31" fmla="*/ 1600 h 1601"/>
              <a:gd name="T32" fmla="*/ 874 w 1126"/>
              <a:gd name="T33" fmla="*/ 1474 h 1601"/>
              <a:gd name="T34" fmla="*/ 900 w 1126"/>
              <a:gd name="T35" fmla="*/ 1350 h 1601"/>
              <a:gd name="T36" fmla="*/ 850 w 1126"/>
              <a:gd name="T37" fmla="*/ 1200 h 1601"/>
              <a:gd name="T38" fmla="*/ 900 w 1126"/>
              <a:gd name="T39" fmla="*/ 1150 h 1601"/>
              <a:gd name="T40" fmla="*/ 900 w 1126"/>
              <a:gd name="T41" fmla="*/ 1100 h 1601"/>
              <a:gd name="T42" fmla="*/ 874 w 1126"/>
              <a:gd name="T43" fmla="*/ 1050 h 1601"/>
              <a:gd name="T44" fmla="*/ 1000 w 1126"/>
              <a:gd name="T45" fmla="*/ 1050 h 1601"/>
              <a:gd name="T46" fmla="*/ 1100 w 1126"/>
              <a:gd name="T47" fmla="*/ 1000 h 1601"/>
              <a:gd name="T48" fmla="*/ 1100 w 1126"/>
              <a:gd name="T49" fmla="*/ 950 h 1601"/>
              <a:gd name="T50" fmla="*/ 1100 w 1126"/>
              <a:gd name="T51" fmla="*/ 874 h 1601"/>
              <a:gd name="T52" fmla="*/ 1050 w 1126"/>
              <a:gd name="T53" fmla="*/ 825 h 1601"/>
              <a:gd name="T54" fmla="*/ 1075 w 1126"/>
              <a:gd name="T55" fmla="*/ 650 h 1601"/>
              <a:gd name="T56" fmla="*/ 975 w 1126"/>
              <a:gd name="T57" fmla="*/ 625 h 1601"/>
              <a:gd name="T58" fmla="*/ 850 w 1126"/>
              <a:gd name="T59" fmla="*/ 550 h 1601"/>
              <a:gd name="T60" fmla="*/ 674 w 1126"/>
              <a:gd name="T61" fmla="*/ 550 h 1601"/>
              <a:gd name="T62" fmla="*/ 625 w 1126"/>
              <a:gd name="T63" fmla="*/ 425 h 1601"/>
              <a:gd name="T64" fmla="*/ 574 w 1126"/>
              <a:gd name="T65" fmla="*/ 349 h 1601"/>
              <a:gd name="T66" fmla="*/ 525 w 1126"/>
              <a:gd name="T67" fmla="*/ 325 h 1601"/>
              <a:gd name="T68" fmla="*/ 550 w 1126"/>
              <a:gd name="T69" fmla="*/ 300 h 1601"/>
              <a:gd name="T70" fmla="*/ 574 w 1126"/>
              <a:gd name="T71" fmla="*/ 225 h 1601"/>
              <a:gd name="T72" fmla="*/ 650 w 1126"/>
              <a:gd name="T73" fmla="*/ 125 h 1601"/>
              <a:gd name="T74" fmla="*/ 674 w 1126"/>
              <a:gd name="T75" fmla="*/ 99 h 1601"/>
              <a:gd name="T76" fmla="*/ 700 w 1126"/>
              <a:gd name="T77" fmla="*/ 74 h 1601"/>
              <a:gd name="T78" fmla="*/ 725 w 1126"/>
              <a:gd name="T79" fmla="*/ 25 h 1601"/>
              <a:gd name="T80" fmla="*/ 625 w 1126"/>
              <a:gd name="T81" fmla="*/ 74 h 1601"/>
              <a:gd name="T82" fmla="*/ 525 w 1126"/>
              <a:gd name="T83" fmla="*/ 125 h 1601"/>
              <a:gd name="T84" fmla="*/ 450 w 1126"/>
              <a:gd name="T85" fmla="*/ 149 h 1601"/>
              <a:gd name="T86" fmla="*/ 400 w 1126"/>
              <a:gd name="T87" fmla="*/ 149 h 1601"/>
              <a:gd name="T88" fmla="*/ 325 w 1126"/>
              <a:gd name="T89" fmla="*/ 225 h 1601"/>
              <a:gd name="T90" fmla="*/ 274 w 1126"/>
              <a:gd name="T91" fmla="*/ 300 h 1601"/>
              <a:gd name="T92" fmla="*/ 200 w 1126"/>
              <a:gd name="T93" fmla="*/ 425 h 1601"/>
              <a:gd name="T94" fmla="*/ 174 w 1126"/>
              <a:gd name="T95" fmla="*/ 425 h 1601"/>
              <a:gd name="T96" fmla="*/ 150 w 1126"/>
              <a:gd name="T97" fmla="*/ 449 h 1601"/>
              <a:gd name="T98" fmla="*/ 100 w 1126"/>
              <a:gd name="T99" fmla="*/ 525 h 1601"/>
              <a:gd name="T100" fmla="*/ 125 w 1126"/>
              <a:gd name="T101" fmla="*/ 550 h 1601"/>
              <a:gd name="T102" fmla="*/ 150 w 1126"/>
              <a:gd name="T103" fmla="*/ 625 h 1601"/>
              <a:gd name="T104" fmla="*/ 150 w 1126"/>
              <a:gd name="T105" fmla="*/ 674 h 1601"/>
              <a:gd name="T106" fmla="*/ 150 w 1126"/>
              <a:gd name="T107" fmla="*/ 825 h 1601"/>
              <a:gd name="T108" fmla="*/ 125 w 1126"/>
              <a:gd name="T109" fmla="*/ 900 h 1601"/>
              <a:gd name="T110" fmla="*/ 49 w 1126"/>
              <a:gd name="T111" fmla="*/ 950 h 1601"/>
              <a:gd name="T112" fmla="*/ 0 w 1126"/>
              <a:gd name="T113" fmla="*/ 1025 h 1601"/>
              <a:gd name="T114" fmla="*/ 0 w 1126"/>
              <a:gd name="T115" fmla="*/ 1050 h 1601"/>
              <a:gd name="T116" fmla="*/ 100 w 1126"/>
              <a:gd name="T117" fmla="*/ 1125 h 1601"/>
              <a:gd name="T118" fmla="*/ 174 w 1126"/>
              <a:gd name="T119" fmla="*/ 1174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6" h="1601">
                <a:moveTo>
                  <a:pt x="174" y="1174"/>
                </a:moveTo>
                <a:lnTo>
                  <a:pt x="174" y="1174"/>
                </a:lnTo>
                <a:cubicBezTo>
                  <a:pt x="200" y="1174"/>
                  <a:pt x="225" y="1174"/>
                  <a:pt x="250" y="1174"/>
                </a:cubicBezTo>
                <a:cubicBezTo>
                  <a:pt x="250" y="1150"/>
                  <a:pt x="274" y="1174"/>
                  <a:pt x="300" y="1225"/>
                </a:cubicBezTo>
                <a:lnTo>
                  <a:pt x="300" y="1225"/>
                </a:lnTo>
                <a:cubicBezTo>
                  <a:pt x="350" y="1225"/>
                  <a:pt x="374" y="1200"/>
                  <a:pt x="400" y="1225"/>
                </a:cubicBezTo>
                <a:cubicBezTo>
                  <a:pt x="425" y="1225"/>
                  <a:pt x="400" y="1300"/>
                  <a:pt x="450" y="1300"/>
                </a:cubicBezTo>
                <a:cubicBezTo>
                  <a:pt x="474" y="1300"/>
                  <a:pt x="500" y="1350"/>
                  <a:pt x="500" y="1350"/>
                </a:cubicBezTo>
                <a:cubicBezTo>
                  <a:pt x="500" y="1374"/>
                  <a:pt x="550" y="1400"/>
                  <a:pt x="550" y="1425"/>
                </a:cubicBezTo>
                <a:cubicBezTo>
                  <a:pt x="550" y="1450"/>
                  <a:pt x="625" y="1450"/>
                  <a:pt x="650" y="1425"/>
                </a:cubicBezTo>
                <a:cubicBezTo>
                  <a:pt x="674" y="1425"/>
                  <a:pt x="700" y="1425"/>
                  <a:pt x="700" y="1425"/>
                </a:cubicBezTo>
                <a:cubicBezTo>
                  <a:pt x="725" y="1425"/>
                  <a:pt x="750" y="1425"/>
                  <a:pt x="774" y="1425"/>
                </a:cubicBezTo>
                <a:cubicBezTo>
                  <a:pt x="774" y="1425"/>
                  <a:pt x="850" y="1450"/>
                  <a:pt x="825" y="1474"/>
                </a:cubicBezTo>
                <a:cubicBezTo>
                  <a:pt x="825" y="1499"/>
                  <a:pt x="774" y="1525"/>
                  <a:pt x="774" y="1550"/>
                </a:cubicBezTo>
                <a:cubicBezTo>
                  <a:pt x="800" y="1574"/>
                  <a:pt x="825" y="1574"/>
                  <a:pt x="850" y="1600"/>
                </a:cubicBezTo>
                <a:lnTo>
                  <a:pt x="850" y="1600"/>
                </a:lnTo>
                <a:cubicBezTo>
                  <a:pt x="874" y="1600"/>
                  <a:pt x="874" y="1499"/>
                  <a:pt x="874" y="1474"/>
                </a:cubicBezTo>
                <a:cubicBezTo>
                  <a:pt x="874" y="1450"/>
                  <a:pt x="900" y="1374"/>
                  <a:pt x="900" y="1350"/>
                </a:cubicBezTo>
                <a:cubicBezTo>
                  <a:pt x="925" y="1300"/>
                  <a:pt x="850" y="1250"/>
                  <a:pt x="850" y="1200"/>
                </a:cubicBezTo>
                <a:cubicBezTo>
                  <a:pt x="850" y="1125"/>
                  <a:pt x="874" y="1174"/>
                  <a:pt x="900" y="1150"/>
                </a:cubicBezTo>
                <a:cubicBezTo>
                  <a:pt x="950" y="1125"/>
                  <a:pt x="900" y="1100"/>
                  <a:pt x="900" y="1100"/>
                </a:cubicBezTo>
                <a:cubicBezTo>
                  <a:pt x="874" y="1100"/>
                  <a:pt x="850" y="1074"/>
                  <a:pt x="874" y="1050"/>
                </a:cubicBezTo>
                <a:cubicBezTo>
                  <a:pt x="874" y="1025"/>
                  <a:pt x="975" y="1050"/>
                  <a:pt x="1000" y="1050"/>
                </a:cubicBezTo>
                <a:cubicBezTo>
                  <a:pt x="1050" y="1050"/>
                  <a:pt x="1100" y="1000"/>
                  <a:pt x="1100" y="1000"/>
                </a:cubicBezTo>
                <a:cubicBezTo>
                  <a:pt x="1100" y="1000"/>
                  <a:pt x="1125" y="974"/>
                  <a:pt x="1100" y="950"/>
                </a:cubicBezTo>
                <a:cubicBezTo>
                  <a:pt x="1075" y="925"/>
                  <a:pt x="1075" y="900"/>
                  <a:pt x="1100" y="874"/>
                </a:cubicBezTo>
                <a:cubicBezTo>
                  <a:pt x="1125" y="874"/>
                  <a:pt x="1075" y="850"/>
                  <a:pt x="1050" y="825"/>
                </a:cubicBezTo>
                <a:cubicBezTo>
                  <a:pt x="1025" y="774"/>
                  <a:pt x="1050" y="700"/>
                  <a:pt x="1075" y="650"/>
                </a:cubicBezTo>
                <a:cubicBezTo>
                  <a:pt x="1100" y="600"/>
                  <a:pt x="1025" y="600"/>
                  <a:pt x="975" y="625"/>
                </a:cubicBezTo>
                <a:cubicBezTo>
                  <a:pt x="925" y="625"/>
                  <a:pt x="874" y="600"/>
                  <a:pt x="850" y="550"/>
                </a:cubicBezTo>
                <a:cubicBezTo>
                  <a:pt x="800" y="500"/>
                  <a:pt x="750" y="550"/>
                  <a:pt x="674" y="550"/>
                </a:cubicBezTo>
                <a:cubicBezTo>
                  <a:pt x="600" y="550"/>
                  <a:pt x="625" y="449"/>
                  <a:pt x="625" y="425"/>
                </a:cubicBezTo>
                <a:cubicBezTo>
                  <a:pt x="625" y="374"/>
                  <a:pt x="574" y="374"/>
                  <a:pt x="574" y="349"/>
                </a:cubicBezTo>
                <a:cubicBezTo>
                  <a:pt x="574" y="325"/>
                  <a:pt x="550" y="325"/>
                  <a:pt x="525" y="325"/>
                </a:cubicBezTo>
                <a:cubicBezTo>
                  <a:pt x="525" y="325"/>
                  <a:pt x="525" y="300"/>
                  <a:pt x="550" y="300"/>
                </a:cubicBezTo>
                <a:cubicBezTo>
                  <a:pt x="574" y="274"/>
                  <a:pt x="550" y="249"/>
                  <a:pt x="574" y="225"/>
                </a:cubicBezTo>
                <a:cubicBezTo>
                  <a:pt x="574" y="174"/>
                  <a:pt x="625" y="149"/>
                  <a:pt x="650" y="125"/>
                </a:cubicBezTo>
                <a:cubicBezTo>
                  <a:pt x="650" y="99"/>
                  <a:pt x="674" y="99"/>
                  <a:pt x="674" y="99"/>
                </a:cubicBezTo>
                <a:cubicBezTo>
                  <a:pt x="674" y="99"/>
                  <a:pt x="674" y="74"/>
                  <a:pt x="700" y="74"/>
                </a:cubicBezTo>
                <a:cubicBezTo>
                  <a:pt x="750" y="74"/>
                  <a:pt x="750" y="49"/>
                  <a:pt x="725" y="25"/>
                </a:cubicBezTo>
                <a:cubicBezTo>
                  <a:pt x="674" y="0"/>
                  <a:pt x="650" y="74"/>
                  <a:pt x="625" y="74"/>
                </a:cubicBezTo>
                <a:cubicBezTo>
                  <a:pt x="574" y="74"/>
                  <a:pt x="550" y="99"/>
                  <a:pt x="525" y="125"/>
                </a:cubicBezTo>
                <a:cubicBezTo>
                  <a:pt x="500" y="125"/>
                  <a:pt x="450" y="125"/>
                  <a:pt x="450" y="149"/>
                </a:cubicBezTo>
                <a:cubicBezTo>
                  <a:pt x="450" y="174"/>
                  <a:pt x="425" y="149"/>
                  <a:pt x="400" y="149"/>
                </a:cubicBezTo>
                <a:cubicBezTo>
                  <a:pt x="374" y="125"/>
                  <a:pt x="325" y="199"/>
                  <a:pt x="325" y="225"/>
                </a:cubicBezTo>
                <a:cubicBezTo>
                  <a:pt x="325" y="249"/>
                  <a:pt x="325" y="274"/>
                  <a:pt x="274" y="300"/>
                </a:cubicBezTo>
                <a:cubicBezTo>
                  <a:pt x="225" y="349"/>
                  <a:pt x="200" y="400"/>
                  <a:pt x="200" y="425"/>
                </a:cubicBezTo>
                <a:cubicBezTo>
                  <a:pt x="174" y="425"/>
                  <a:pt x="174" y="425"/>
                  <a:pt x="174" y="425"/>
                </a:cubicBezTo>
                <a:lnTo>
                  <a:pt x="150" y="449"/>
                </a:lnTo>
                <a:cubicBezTo>
                  <a:pt x="150" y="449"/>
                  <a:pt x="125" y="500"/>
                  <a:pt x="100" y="525"/>
                </a:cubicBezTo>
                <a:cubicBezTo>
                  <a:pt x="100" y="525"/>
                  <a:pt x="125" y="525"/>
                  <a:pt x="125" y="550"/>
                </a:cubicBezTo>
                <a:cubicBezTo>
                  <a:pt x="150" y="574"/>
                  <a:pt x="125" y="600"/>
                  <a:pt x="150" y="625"/>
                </a:cubicBezTo>
                <a:cubicBezTo>
                  <a:pt x="150" y="625"/>
                  <a:pt x="150" y="650"/>
                  <a:pt x="150" y="674"/>
                </a:cubicBezTo>
                <a:cubicBezTo>
                  <a:pt x="125" y="674"/>
                  <a:pt x="150" y="800"/>
                  <a:pt x="150" y="825"/>
                </a:cubicBezTo>
                <a:cubicBezTo>
                  <a:pt x="174" y="825"/>
                  <a:pt x="150" y="850"/>
                  <a:pt x="125" y="900"/>
                </a:cubicBezTo>
                <a:cubicBezTo>
                  <a:pt x="125" y="950"/>
                  <a:pt x="100" y="950"/>
                  <a:pt x="49" y="950"/>
                </a:cubicBezTo>
                <a:cubicBezTo>
                  <a:pt x="25" y="950"/>
                  <a:pt x="25" y="1025"/>
                  <a:pt x="0" y="1025"/>
                </a:cubicBezTo>
                <a:lnTo>
                  <a:pt x="0" y="1050"/>
                </a:lnTo>
                <a:cubicBezTo>
                  <a:pt x="25" y="1100"/>
                  <a:pt x="100" y="1125"/>
                  <a:pt x="100" y="1125"/>
                </a:cubicBezTo>
                <a:cubicBezTo>
                  <a:pt x="125" y="1125"/>
                  <a:pt x="150" y="1150"/>
                  <a:pt x="174" y="1174"/>
                </a:cubicBezTo>
              </a:path>
            </a:pathLst>
          </a:custGeom>
          <a:solidFill>
            <a:srgbClr val="000C47"/>
          </a:solidFill>
          <a:ln w="3175" cap="flat">
            <a:solidFill>
              <a:srgbClr val="39A3B5">
                <a:lumMod val="75000"/>
              </a:srgbClr>
            </a:solidFill>
            <a:bevel/>
            <a:headEnd/>
            <a:tailEnd/>
          </a:ln>
          <a:effectLst/>
        </p:spPr>
        <p:txBody>
          <a:bodyPr wrap="none"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171F"/>
              </a:solidFill>
              <a:effectLst/>
              <a:uLnTx/>
              <a:uFillTx/>
              <a:latin typeface="Microsoft Sans Serif"/>
            </a:endParaRPr>
          </a:p>
        </p:txBody>
      </p:sp>
      <p:cxnSp>
        <p:nvCxnSpPr>
          <p:cNvPr id="1111" name="Straight Connector 1110">
            <a:extLst>
              <a:ext uri="{FF2B5EF4-FFF2-40B4-BE49-F238E27FC236}">
                <a16:creationId xmlns:a16="http://schemas.microsoft.com/office/drawing/2014/main" id="{B2D96D77-FD74-9FE0-49AF-C74C3E91EEAE}"/>
              </a:ext>
            </a:extLst>
          </p:cNvPr>
          <p:cNvCxnSpPr>
            <a:cxnSpLocks/>
          </p:cNvCxnSpPr>
          <p:nvPr/>
        </p:nvCxnSpPr>
        <p:spPr>
          <a:xfrm flipH="1">
            <a:off x="5886905" y="1561239"/>
            <a:ext cx="2527117" cy="1772118"/>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118" name="Straight Connector 1117">
            <a:extLst>
              <a:ext uri="{FF2B5EF4-FFF2-40B4-BE49-F238E27FC236}">
                <a16:creationId xmlns:a16="http://schemas.microsoft.com/office/drawing/2014/main" id="{34D08BE9-3CB0-3790-C47E-562C21184F80}"/>
              </a:ext>
            </a:extLst>
          </p:cNvPr>
          <p:cNvCxnSpPr>
            <a:cxnSpLocks/>
          </p:cNvCxnSpPr>
          <p:nvPr/>
        </p:nvCxnSpPr>
        <p:spPr>
          <a:xfrm>
            <a:off x="2464980" y="2682241"/>
            <a:ext cx="2106341" cy="1141172"/>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121" name="Content Placeholder 4">
            <a:extLst>
              <a:ext uri="{FF2B5EF4-FFF2-40B4-BE49-F238E27FC236}">
                <a16:creationId xmlns:a16="http://schemas.microsoft.com/office/drawing/2014/main" id="{0AB0242E-1DFD-94B0-56A5-8733CE0E7F93}"/>
              </a:ext>
            </a:extLst>
          </p:cNvPr>
          <p:cNvSpPr txBox="1">
            <a:spLocks/>
          </p:cNvSpPr>
          <p:nvPr/>
        </p:nvSpPr>
        <p:spPr>
          <a:xfrm>
            <a:off x="8342476" y="1740768"/>
            <a:ext cx="3671055" cy="903139"/>
          </a:xfrm>
          <a:prstGeom prst="rect">
            <a:avLst/>
          </a:prstGeom>
        </p:spPr>
        <p:txBody>
          <a:bodyPr>
            <a:norm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pPr>
            <a:r>
              <a:rPr lang="en-US" sz="800" b="1" dirty="0">
                <a:latin typeface="+mj-lt"/>
              </a:rPr>
              <a:t>2023</a:t>
            </a:r>
            <a:r>
              <a:rPr lang="en-US" sz="800" dirty="0">
                <a:latin typeface="+mj-lt"/>
              </a:rPr>
              <a:t>: </a:t>
            </a:r>
            <a:r>
              <a:rPr lang="en-US" sz="800" dirty="0">
                <a:latin typeface="+mj-lt"/>
                <a:hlinkClick r:id="rId2"/>
              </a:rPr>
              <a:t>First experimental 5G Broadcast in Boston</a:t>
            </a:r>
            <a:r>
              <a:rPr lang="en-US" sz="800" dirty="0">
                <a:latin typeface="+mj-lt"/>
              </a:rPr>
              <a:t> by XGN </a:t>
            </a:r>
            <a:r>
              <a:rPr lang="en-US" sz="800" dirty="0">
                <a:solidFill>
                  <a:srgbClr val="0B2742"/>
                </a:solidFill>
                <a:latin typeface="+mj-lt"/>
              </a:rPr>
              <a:t>using existing infrastructure with no change in frequency, antenna, power output </a:t>
            </a:r>
          </a:p>
          <a:p>
            <a:pPr marL="0" indent="0">
              <a:lnSpc>
                <a:spcPct val="100000"/>
              </a:lnSpc>
              <a:spcBef>
                <a:spcPts val="0"/>
              </a:spcBef>
              <a:spcAft>
                <a:spcPts val="600"/>
              </a:spcAft>
              <a:buNone/>
            </a:pPr>
            <a:r>
              <a:rPr lang="en-US" sz="800" b="1" dirty="0">
                <a:highlight>
                  <a:srgbClr val="FFFF00"/>
                </a:highlight>
                <a:latin typeface="+mj-lt"/>
              </a:rPr>
              <a:t>2024-2025</a:t>
            </a:r>
            <a:r>
              <a:rPr lang="en-US" sz="800" dirty="0">
                <a:highlight>
                  <a:srgbClr val="FFFF00"/>
                </a:highlight>
                <a:latin typeface="+mj-lt"/>
              </a:rPr>
              <a:t>: XGN moved to Phase 2 and added three additional stations with experimental license to test SFN, emergency notifications, road sign update for emergency, first responder communication and channel bonding</a:t>
            </a:r>
          </a:p>
        </p:txBody>
      </p:sp>
      <p:pic>
        <p:nvPicPr>
          <p:cNvPr id="1122" name="Picture 1121">
            <a:extLst>
              <a:ext uri="{FF2B5EF4-FFF2-40B4-BE49-F238E27FC236}">
                <a16:creationId xmlns:a16="http://schemas.microsoft.com/office/drawing/2014/main" id="{09084117-7C5A-B731-3AF1-E2E3B2872CD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Lst>
          </a:blip>
          <a:stretch>
            <a:fillRect/>
          </a:stretch>
        </p:blipFill>
        <p:spPr>
          <a:xfrm>
            <a:off x="8594802" y="2927973"/>
            <a:ext cx="976324" cy="1122009"/>
          </a:xfrm>
          <a:prstGeom prst="rect">
            <a:avLst/>
          </a:prstGeom>
        </p:spPr>
      </p:pic>
      <p:pic>
        <p:nvPicPr>
          <p:cNvPr id="1123" name="Picture 1122">
            <a:extLst>
              <a:ext uri="{FF2B5EF4-FFF2-40B4-BE49-F238E27FC236}">
                <a16:creationId xmlns:a16="http://schemas.microsoft.com/office/drawing/2014/main" id="{661C3FEA-741B-CF47-AD56-787F0CC8F316}"/>
              </a:ext>
            </a:extLst>
          </p:cNvPr>
          <p:cNvPicPr>
            <a:picLocks noChangeAspect="1"/>
          </p:cNvPicPr>
          <p:nvPr/>
        </p:nvPicPr>
        <p:blipFill>
          <a:blip r:embed="rId5"/>
          <a:stretch>
            <a:fillRect/>
          </a:stretch>
        </p:blipFill>
        <p:spPr>
          <a:xfrm>
            <a:off x="9751906" y="2977438"/>
            <a:ext cx="1755834" cy="1072544"/>
          </a:xfrm>
          <a:prstGeom prst="rect">
            <a:avLst/>
          </a:prstGeom>
        </p:spPr>
      </p:pic>
      <p:cxnSp>
        <p:nvCxnSpPr>
          <p:cNvPr id="1130" name="Straight Connector 1129">
            <a:extLst>
              <a:ext uri="{FF2B5EF4-FFF2-40B4-BE49-F238E27FC236}">
                <a16:creationId xmlns:a16="http://schemas.microsoft.com/office/drawing/2014/main" id="{7BA7D7C4-7593-4133-A584-20CBFD4F095E}"/>
              </a:ext>
            </a:extLst>
          </p:cNvPr>
          <p:cNvCxnSpPr>
            <a:cxnSpLocks/>
          </p:cNvCxnSpPr>
          <p:nvPr/>
        </p:nvCxnSpPr>
        <p:spPr>
          <a:xfrm>
            <a:off x="2984612" y="4023186"/>
            <a:ext cx="2632480" cy="446507"/>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135" name="Straight Connector 1134">
            <a:extLst>
              <a:ext uri="{FF2B5EF4-FFF2-40B4-BE49-F238E27FC236}">
                <a16:creationId xmlns:a16="http://schemas.microsoft.com/office/drawing/2014/main" id="{E78EB4A2-7E40-6F81-9B41-94B215750DF3}"/>
              </a:ext>
            </a:extLst>
          </p:cNvPr>
          <p:cNvCxnSpPr>
            <a:cxnSpLocks/>
          </p:cNvCxnSpPr>
          <p:nvPr/>
        </p:nvCxnSpPr>
        <p:spPr>
          <a:xfrm flipH="1">
            <a:off x="7154718" y="4395119"/>
            <a:ext cx="1409448" cy="438362"/>
          </a:xfrm>
          <a:prstGeom prst="line">
            <a:avLst/>
          </a:prstGeom>
          <a:ln w="9525" cap="rnd">
            <a:solidFill>
              <a:srgbClr val="000C3F"/>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142" name="Content Placeholder 4">
            <a:extLst>
              <a:ext uri="{FF2B5EF4-FFF2-40B4-BE49-F238E27FC236}">
                <a16:creationId xmlns:a16="http://schemas.microsoft.com/office/drawing/2014/main" id="{0A0A271E-7CB5-04DE-69C0-971D6D95DB56}"/>
              </a:ext>
            </a:extLst>
          </p:cNvPr>
          <p:cNvSpPr txBox="1">
            <a:spLocks/>
          </p:cNvSpPr>
          <p:nvPr/>
        </p:nvSpPr>
        <p:spPr>
          <a:xfrm>
            <a:off x="199318" y="2759060"/>
            <a:ext cx="2909195" cy="441790"/>
          </a:xfrm>
          <a:prstGeom prst="rect">
            <a:avLst/>
          </a:prstGeom>
        </p:spPr>
        <p:txBody>
          <a:bodyPr>
            <a:norm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pPr>
            <a:r>
              <a:rPr lang="en-US" sz="800" b="1" dirty="0">
                <a:latin typeface="+mj-lt"/>
              </a:rPr>
              <a:t>2024</a:t>
            </a:r>
            <a:r>
              <a:rPr lang="en-US" sz="800" dirty="0">
                <a:latin typeface="+mj-lt"/>
              </a:rPr>
              <a:t>:  First  demo with Moto Edge phones in Mexico City</a:t>
            </a:r>
          </a:p>
          <a:p>
            <a:pPr marL="0" indent="0">
              <a:lnSpc>
                <a:spcPct val="100000"/>
              </a:lnSpc>
              <a:spcBef>
                <a:spcPts val="0"/>
              </a:spcBef>
              <a:spcAft>
                <a:spcPts val="600"/>
              </a:spcAft>
              <a:buNone/>
            </a:pPr>
            <a:r>
              <a:rPr lang="en-US" sz="800" b="1" dirty="0">
                <a:highlight>
                  <a:srgbClr val="FFFF00"/>
                </a:highlight>
                <a:latin typeface="+mj-lt"/>
              </a:rPr>
              <a:t>2025</a:t>
            </a:r>
            <a:r>
              <a:rPr lang="en-US" sz="800" dirty="0">
                <a:highlight>
                  <a:srgbClr val="FFFF00"/>
                </a:highlight>
                <a:latin typeface="+mj-lt"/>
              </a:rPr>
              <a:t>:  Larger trial covering center area of Mexico City</a:t>
            </a:r>
            <a:endParaRPr lang="en-US" sz="500" dirty="0">
              <a:highlight>
                <a:srgbClr val="FFFF00"/>
              </a:highlight>
            </a:endParaRPr>
          </a:p>
        </p:txBody>
      </p:sp>
      <p:sp>
        <p:nvSpPr>
          <p:cNvPr id="1143" name="Content Placeholder 4">
            <a:extLst>
              <a:ext uri="{FF2B5EF4-FFF2-40B4-BE49-F238E27FC236}">
                <a16:creationId xmlns:a16="http://schemas.microsoft.com/office/drawing/2014/main" id="{290B00DF-4CBF-6382-6947-CE2FF3347B82}"/>
              </a:ext>
            </a:extLst>
          </p:cNvPr>
          <p:cNvSpPr txBox="1">
            <a:spLocks/>
          </p:cNvSpPr>
          <p:nvPr/>
        </p:nvSpPr>
        <p:spPr>
          <a:xfrm>
            <a:off x="116650" y="4226477"/>
            <a:ext cx="3511025" cy="629275"/>
          </a:xfrm>
          <a:prstGeom prst="rect">
            <a:avLst/>
          </a:prstGeom>
        </p:spPr>
        <p:txBody>
          <a:bodyPr>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pPr>
            <a:r>
              <a:rPr lang="en-US" sz="800" b="1">
                <a:latin typeface="+mj-lt"/>
              </a:rPr>
              <a:t>2020-2021</a:t>
            </a:r>
            <a:r>
              <a:rPr lang="en-US" sz="800">
                <a:latin typeface="+mj-lt"/>
              </a:rPr>
              <a:t>:  Delivery of TV and Radio with Rel-14 </a:t>
            </a:r>
            <a:r>
              <a:rPr lang="en-US" sz="800">
                <a:latin typeface="+mj-lt"/>
                <a:hlinkClick r:id="rId6"/>
              </a:rPr>
              <a:t>5G broadcast trial </a:t>
            </a:r>
            <a:r>
              <a:rPr lang="en-US" sz="800">
                <a:latin typeface="+mj-lt"/>
              </a:rPr>
              <a:t>deployment in Santiago de Tolu </a:t>
            </a:r>
          </a:p>
          <a:p>
            <a:pPr marL="0" indent="0">
              <a:lnSpc>
                <a:spcPct val="100000"/>
              </a:lnSpc>
              <a:spcBef>
                <a:spcPts val="0"/>
              </a:spcBef>
              <a:spcAft>
                <a:spcPts val="600"/>
              </a:spcAft>
              <a:buNone/>
            </a:pPr>
            <a:r>
              <a:rPr lang="en-US" sz="800" b="1">
                <a:latin typeface="+mj-lt"/>
              </a:rPr>
              <a:t>2024</a:t>
            </a:r>
            <a:r>
              <a:rPr lang="en-US" sz="800">
                <a:latin typeface="+mj-lt"/>
              </a:rPr>
              <a:t>: First demonstration of </a:t>
            </a:r>
            <a:r>
              <a:rPr lang="en-US" sz="800">
                <a:latin typeface="+mj-lt"/>
                <a:hlinkClick r:id="rId7"/>
              </a:rPr>
              <a:t>5G Broadcast combined with ISDB-T </a:t>
            </a:r>
            <a:r>
              <a:rPr lang="en-US" sz="800">
                <a:latin typeface="+mj-lt"/>
              </a:rPr>
              <a:t>combined waveform</a:t>
            </a:r>
          </a:p>
        </p:txBody>
      </p:sp>
      <p:pic>
        <p:nvPicPr>
          <p:cNvPr id="1145" name="Picture 4">
            <a:extLst>
              <a:ext uri="{FF2B5EF4-FFF2-40B4-BE49-F238E27FC236}">
                <a16:creationId xmlns:a16="http://schemas.microsoft.com/office/drawing/2014/main" id="{04ADD39E-E069-345C-ADB1-61B2481B09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16055" y="4946669"/>
            <a:ext cx="1095001" cy="1460001"/>
          </a:xfrm>
          <a:prstGeom prst="rect">
            <a:avLst/>
          </a:prstGeom>
          <a:noFill/>
          <a:extLst>
            <a:ext uri="{909E8E84-426E-40DD-AFC4-6F175D3DCCD1}">
              <a14:hiddenFill xmlns:a14="http://schemas.microsoft.com/office/drawing/2010/main">
                <a:solidFill>
                  <a:srgbClr val="FFFFFF"/>
                </a:solidFill>
              </a14:hiddenFill>
            </a:ext>
          </a:extLst>
        </p:spPr>
      </p:pic>
      <p:pic>
        <p:nvPicPr>
          <p:cNvPr id="1146" name="Picture 6">
            <a:extLst>
              <a:ext uri="{FF2B5EF4-FFF2-40B4-BE49-F238E27FC236}">
                <a16:creationId xmlns:a16="http://schemas.microsoft.com/office/drawing/2014/main" id="{A0343EFB-9390-5B6E-E61D-A2F4F540DB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5161" r="2746" b="25425"/>
          <a:stretch/>
        </p:blipFill>
        <p:spPr bwMode="auto">
          <a:xfrm>
            <a:off x="10352614" y="5292750"/>
            <a:ext cx="1660917" cy="1131601"/>
          </a:xfrm>
          <a:prstGeom prst="rect">
            <a:avLst/>
          </a:prstGeom>
          <a:noFill/>
          <a:extLst>
            <a:ext uri="{909E8E84-426E-40DD-AFC4-6F175D3DCCD1}">
              <a14:hiddenFill xmlns:a14="http://schemas.microsoft.com/office/drawing/2010/main">
                <a:solidFill>
                  <a:srgbClr val="FFFFFF"/>
                </a:solidFill>
              </a14:hiddenFill>
            </a:ext>
          </a:extLst>
        </p:spPr>
      </p:pic>
      <p:sp>
        <p:nvSpPr>
          <p:cNvPr id="1147" name="Content Placeholder 4">
            <a:extLst>
              <a:ext uri="{FF2B5EF4-FFF2-40B4-BE49-F238E27FC236}">
                <a16:creationId xmlns:a16="http://schemas.microsoft.com/office/drawing/2014/main" id="{6E075C47-E935-98DA-2B26-8886D696A024}"/>
              </a:ext>
            </a:extLst>
          </p:cNvPr>
          <p:cNvSpPr txBox="1">
            <a:spLocks/>
          </p:cNvSpPr>
          <p:nvPr/>
        </p:nvSpPr>
        <p:spPr>
          <a:xfrm>
            <a:off x="8614285" y="4549030"/>
            <a:ext cx="3399246" cy="621562"/>
          </a:xfrm>
          <a:prstGeom prst="rect">
            <a:avLst/>
          </a:prstGeom>
        </p:spPr>
        <p:txBody>
          <a:bodyPr>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200" kern="1200" baseline="0">
                <a:solidFill>
                  <a:schemeClr val="tx2"/>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marL="0" indent="0">
              <a:lnSpc>
                <a:spcPct val="100000"/>
              </a:lnSpc>
              <a:spcBef>
                <a:spcPts val="0"/>
              </a:spcBef>
              <a:spcAft>
                <a:spcPts val="600"/>
              </a:spcAft>
              <a:buNone/>
            </a:pPr>
            <a:r>
              <a:rPr lang="en-US" sz="800" b="1" dirty="0">
                <a:latin typeface="+mj-lt"/>
              </a:rPr>
              <a:t>2023</a:t>
            </a:r>
            <a:r>
              <a:rPr lang="en-US" sz="800" dirty="0">
                <a:latin typeface="+mj-lt"/>
              </a:rPr>
              <a:t>:  </a:t>
            </a:r>
            <a:r>
              <a:rPr lang="en-US" sz="800" dirty="0">
                <a:latin typeface="+mj-lt"/>
                <a:hlinkClick r:id="rId10"/>
              </a:rPr>
              <a:t>Multi-angle 5G Broadcast demo </a:t>
            </a:r>
            <a:r>
              <a:rPr lang="en-US" sz="800" dirty="0">
                <a:latin typeface="+mj-lt"/>
              </a:rPr>
              <a:t>during Rio Open</a:t>
            </a:r>
          </a:p>
          <a:p>
            <a:pPr marL="0" indent="0">
              <a:lnSpc>
                <a:spcPct val="100000"/>
              </a:lnSpc>
              <a:spcBef>
                <a:spcPts val="0"/>
              </a:spcBef>
              <a:spcAft>
                <a:spcPts val="600"/>
              </a:spcAft>
              <a:buNone/>
            </a:pPr>
            <a:r>
              <a:rPr lang="en-US" sz="800" b="1" dirty="0">
                <a:latin typeface="+mj-lt"/>
              </a:rPr>
              <a:t>2024</a:t>
            </a:r>
            <a:r>
              <a:rPr lang="en-US" sz="800" dirty="0">
                <a:latin typeface="+mj-lt"/>
              </a:rPr>
              <a:t>: </a:t>
            </a:r>
            <a:r>
              <a:rPr lang="en-US" sz="800" dirty="0">
                <a:latin typeface="+mj-lt"/>
                <a:hlinkClick r:id="rId11"/>
              </a:rPr>
              <a:t>Demo at Set Expo </a:t>
            </a:r>
            <a:r>
              <a:rPr lang="en-US" sz="800" dirty="0">
                <a:latin typeface="+mj-lt"/>
              </a:rPr>
              <a:t>in collaboration between Claro, Globo, Motorola, Rohde &amp; Schwarz and Qualcomm</a:t>
            </a:r>
          </a:p>
        </p:txBody>
      </p:sp>
      <p:pic>
        <p:nvPicPr>
          <p:cNvPr id="1148" name="Imagem 8" descr="Interface gráfica do usuário, Site&#10;&#10;Descrição gerada automaticamente">
            <a:extLst>
              <a:ext uri="{FF2B5EF4-FFF2-40B4-BE49-F238E27FC236}">
                <a16:creationId xmlns:a16="http://schemas.microsoft.com/office/drawing/2014/main" id="{11A44688-EA03-AABE-FA13-0B3A8B719DD7}"/>
              </a:ext>
            </a:extLst>
          </p:cNvPr>
          <p:cNvPicPr>
            <a:picLocks noChangeAspect="1"/>
          </p:cNvPicPr>
          <p:nvPr/>
        </p:nvPicPr>
        <p:blipFill>
          <a:blip r:embed="rId12" cstate="email">
            <a:extLst>
              <a:ext uri="{28A0092B-C50C-407E-A947-70E740481C1C}">
                <a14:useLocalDpi xmlns:a14="http://schemas.microsoft.com/office/drawing/2010/main"/>
              </a:ext>
            </a:extLst>
          </a:blip>
          <a:srcRect l="27583" t="5042" b="30689"/>
          <a:stretch/>
        </p:blipFill>
        <p:spPr>
          <a:xfrm>
            <a:off x="8614285" y="5315910"/>
            <a:ext cx="1658992" cy="1123752"/>
          </a:xfrm>
          <a:prstGeom prst="rect">
            <a:avLst/>
          </a:prstGeom>
        </p:spPr>
      </p:pic>
      <p:pic>
        <p:nvPicPr>
          <p:cNvPr id="5" name="Picture 4">
            <a:extLst>
              <a:ext uri="{FF2B5EF4-FFF2-40B4-BE49-F238E27FC236}">
                <a16:creationId xmlns:a16="http://schemas.microsoft.com/office/drawing/2014/main" id="{35B724B6-7797-2CBB-578F-6BF0AAC1DC3E}"/>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37007" y="4908529"/>
            <a:ext cx="4092479" cy="1886218"/>
          </a:xfrm>
          <a:prstGeom prst="rect">
            <a:avLst/>
          </a:prstGeom>
        </p:spPr>
      </p:pic>
      <p:sp>
        <p:nvSpPr>
          <p:cNvPr id="4" name="Footer Placeholder 3">
            <a:extLst>
              <a:ext uri="{FF2B5EF4-FFF2-40B4-BE49-F238E27FC236}">
                <a16:creationId xmlns:a16="http://schemas.microsoft.com/office/drawing/2014/main" id="{EA3F9F11-D490-316E-FAB1-A7D49F96EAAB}"/>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81108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261DF75-165C-6E16-7B9B-39552AF20FF8}"/>
              </a:ext>
            </a:extLst>
          </p:cNvPr>
          <p:cNvPicPr>
            <a:picLocks noChangeAspect="1"/>
          </p:cNvPicPr>
          <p:nvPr/>
        </p:nvPicPr>
        <p:blipFill>
          <a:blip r:embed="rId2"/>
          <a:stretch>
            <a:fillRect/>
          </a:stretch>
        </p:blipFill>
        <p:spPr>
          <a:xfrm>
            <a:off x="4288666" y="1885575"/>
            <a:ext cx="2286000" cy="1339269"/>
          </a:xfrm>
          <a:prstGeom prst="rect">
            <a:avLst/>
          </a:prstGeom>
        </p:spPr>
      </p:pic>
      <p:pic>
        <p:nvPicPr>
          <p:cNvPr id="19" name="Grafik 1">
            <a:extLst>
              <a:ext uri="{FF2B5EF4-FFF2-40B4-BE49-F238E27FC236}">
                <a16:creationId xmlns:a16="http://schemas.microsoft.com/office/drawing/2014/main" id="{7FB09AFA-F6EA-4F09-E5A9-39A967B5F3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51559" y="1075675"/>
            <a:ext cx="914400" cy="196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D50C51C6-5AAD-F7B7-EF20-CDA9BE393DF3}"/>
              </a:ext>
            </a:extLst>
          </p:cNvPr>
          <p:cNvPicPr>
            <a:picLocks noChangeAspect="1"/>
          </p:cNvPicPr>
          <p:nvPr/>
        </p:nvPicPr>
        <p:blipFill>
          <a:blip r:embed="rId4"/>
          <a:stretch>
            <a:fillRect/>
          </a:stretch>
        </p:blipFill>
        <p:spPr>
          <a:xfrm>
            <a:off x="9842376" y="4057099"/>
            <a:ext cx="2194560" cy="1200221"/>
          </a:xfrm>
          <a:prstGeom prst="rect">
            <a:avLst/>
          </a:prstGeom>
        </p:spPr>
      </p:pic>
      <p:pic>
        <p:nvPicPr>
          <p:cNvPr id="20" name="Picture 19">
            <a:extLst>
              <a:ext uri="{FF2B5EF4-FFF2-40B4-BE49-F238E27FC236}">
                <a16:creationId xmlns:a16="http://schemas.microsoft.com/office/drawing/2014/main" id="{C47A607F-00A6-459F-BE57-65C56B6C1AFE}"/>
              </a:ext>
            </a:extLst>
          </p:cNvPr>
          <p:cNvPicPr>
            <a:picLocks noChangeAspect="1"/>
          </p:cNvPicPr>
          <p:nvPr/>
        </p:nvPicPr>
        <p:blipFill>
          <a:blip r:embed="rId5"/>
          <a:stretch>
            <a:fillRect/>
          </a:stretch>
        </p:blipFill>
        <p:spPr>
          <a:xfrm>
            <a:off x="4284616" y="4156433"/>
            <a:ext cx="2241880" cy="1095425"/>
          </a:xfrm>
          <a:prstGeom prst="rect">
            <a:avLst/>
          </a:prstGeom>
        </p:spPr>
      </p:pic>
      <p:sp>
        <p:nvSpPr>
          <p:cNvPr id="3" name="Title 2">
            <a:extLst>
              <a:ext uri="{FF2B5EF4-FFF2-40B4-BE49-F238E27FC236}">
                <a16:creationId xmlns:a16="http://schemas.microsoft.com/office/drawing/2014/main" id="{7D578F91-5395-485C-B6D8-9A8638CACF1E}"/>
              </a:ext>
            </a:extLst>
          </p:cNvPr>
          <p:cNvSpPr>
            <a:spLocks noGrp="1"/>
          </p:cNvSpPr>
          <p:nvPr>
            <p:ph type="title"/>
          </p:nvPr>
        </p:nvSpPr>
        <p:spPr>
          <a:xfrm>
            <a:off x="321647" y="289502"/>
            <a:ext cx="11187112" cy="455189"/>
          </a:xfrm>
        </p:spPr>
        <p:txBody>
          <a:bodyPr/>
          <a:lstStyle/>
          <a:p>
            <a:r>
              <a:rPr lang="en-US"/>
              <a:t>Selected use cases</a:t>
            </a:r>
          </a:p>
        </p:txBody>
      </p:sp>
      <p:sp>
        <p:nvSpPr>
          <p:cNvPr id="5" name="Text Placeholder 4">
            <a:extLst>
              <a:ext uri="{FF2B5EF4-FFF2-40B4-BE49-F238E27FC236}">
                <a16:creationId xmlns:a16="http://schemas.microsoft.com/office/drawing/2014/main" id="{0F8A5AB2-84B7-48FE-82C1-B2DEF9B4F625}"/>
              </a:ext>
            </a:extLst>
          </p:cNvPr>
          <p:cNvSpPr>
            <a:spLocks noGrp="1"/>
          </p:cNvSpPr>
          <p:nvPr>
            <p:ph type="body" sz="quarter" idx="15"/>
          </p:nvPr>
        </p:nvSpPr>
        <p:spPr/>
        <p:txBody>
          <a:bodyPr/>
          <a:lstStyle/>
          <a:p>
            <a:r>
              <a:rPr lang="en-US"/>
              <a:t>Enhanced broadcast use cases with 5G broadcast</a:t>
            </a:r>
          </a:p>
        </p:txBody>
      </p:sp>
      <p:sp>
        <p:nvSpPr>
          <p:cNvPr id="9" name="Rectangle: Rounded Corners 8">
            <a:extLst>
              <a:ext uri="{FF2B5EF4-FFF2-40B4-BE49-F238E27FC236}">
                <a16:creationId xmlns:a16="http://schemas.microsoft.com/office/drawing/2014/main" id="{7DE42E9B-8BAC-488A-8C0F-470F22F3F714}"/>
              </a:ext>
            </a:extLst>
          </p:cNvPr>
          <p:cNvSpPr/>
          <p:nvPr/>
        </p:nvSpPr>
        <p:spPr>
          <a:xfrm>
            <a:off x="302986" y="962648"/>
            <a:ext cx="4920342" cy="124283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One-way communication directly to handsets</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More cost efficient than unicast (RAN and CDN)</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Live sports, special events, general programming</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Key for massive events (e.g. World Cup)</a:t>
            </a:r>
          </a:p>
        </p:txBody>
      </p:sp>
      <p:sp>
        <p:nvSpPr>
          <p:cNvPr id="10" name="Rectangle: Rounded Corners 9">
            <a:extLst>
              <a:ext uri="{FF2B5EF4-FFF2-40B4-BE49-F238E27FC236}">
                <a16:creationId xmlns:a16="http://schemas.microsoft.com/office/drawing/2014/main" id="{00FC3BD4-9F71-4599-87BA-5C9371A3D6E6}"/>
              </a:ext>
            </a:extLst>
          </p:cNvPr>
          <p:cNvSpPr/>
          <p:nvPr/>
        </p:nvSpPr>
        <p:spPr>
          <a:xfrm>
            <a:off x="321647" y="971231"/>
            <a:ext cx="4904918"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Linear TV and Radio</a:t>
            </a:r>
          </a:p>
        </p:txBody>
      </p:sp>
      <p:sp>
        <p:nvSpPr>
          <p:cNvPr id="11" name="Rectangle: Rounded Corners 10">
            <a:extLst>
              <a:ext uri="{FF2B5EF4-FFF2-40B4-BE49-F238E27FC236}">
                <a16:creationId xmlns:a16="http://schemas.microsoft.com/office/drawing/2014/main" id="{6A6DBE9C-1019-4AC0-8506-77B7C5967D44}"/>
              </a:ext>
            </a:extLst>
          </p:cNvPr>
          <p:cNvSpPr/>
          <p:nvPr/>
        </p:nvSpPr>
        <p:spPr>
          <a:xfrm>
            <a:off x="321646" y="3300712"/>
            <a:ext cx="4901681" cy="124283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Combine linear video with interactivity.</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Linear content from broadcaster, unicast using mobile network.</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Comments, ratings, e-commerce, advertising</a:t>
            </a:r>
          </a:p>
        </p:txBody>
      </p:sp>
      <p:sp>
        <p:nvSpPr>
          <p:cNvPr id="12" name="Rectangle: Rounded Corners 11">
            <a:extLst>
              <a:ext uri="{FF2B5EF4-FFF2-40B4-BE49-F238E27FC236}">
                <a16:creationId xmlns:a16="http://schemas.microsoft.com/office/drawing/2014/main" id="{53395F49-394F-4200-8FA6-D3FED4EB4048}"/>
              </a:ext>
            </a:extLst>
          </p:cNvPr>
          <p:cNvSpPr/>
          <p:nvPr/>
        </p:nvSpPr>
        <p:spPr>
          <a:xfrm>
            <a:off x="340308" y="3309295"/>
            <a:ext cx="4886315"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Interactive media</a:t>
            </a:r>
          </a:p>
        </p:txBody>
      </p:sp>
      <p:sp>
        <p:nvSpPr>
          <p:cNvPr id="15" name="Rectangle: Rounded Corners 14">
            <a:extLst>
              <a:ext uri="{FF2B5EF4-FFF2-40B4-BE49-F238E27FC236}">
                <a16:creationId xmlns:a16="http://schemas.microsoft.com/office/drawing/2014/main" id="{BFE2A067-5F7B-4441-92F2-B1632B178BE6}"/>
              </a:ext>
            </a:extLst>
          </p:cNvPr>
          <p:cNvSpPr/>
          <p:nvPr/>
        </p:nvSpPr>
        <p:spPr>
          <a:xfrm>
            <a:off x="6845179" y="961563"/>
            <a:ext cx="4398540" cy="12377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Emergency notifications to smartphones from broadcast infrastructure.</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Possibility of sending text-only notifications and multimedia content</a:t>
            </a:r>
          </a:p>
        </p:txBody>
      </p:sp>
      <p:sp>
        <p:nvSpPr>
          <p:cNvPr id="16" name="Rectangle: Rounded Corners 15">
            <a:extLst>
              <a:ext uri="{FF2B5EF4-FFF2-40B4-BE49-F238E27FC236}">
                <a16:creationId xmlns:a16="http://schemas.microsoft.com/office/drawing/2014/main" id="{798E1065-2831-44BD-B4D1-95226B624ABE}"/>
              </a:ext>
            </a:extLst>
          </p:cNvPr>
          <p:cNvSpPr/>
          <p:nvPr/>
        </p:nvSpPr>
        <p:spPr>
          <a:xfrm>
            <a:off x="6863022" y="970147"/>
            <a:ext cx="4384752" cy="26462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Emergency messages</a:t>
            </a:r>
          </a:p>
        </p:txBody>
      </p:sp>
      <p:sp>
        <p:nvSpPr>
          <p:cNvPr id="17" name="Rectangle: Rounded Corners 16">
            <a:extLst>
              <a:ext uri="{FF2B5EF4-FFF2-40B4-BE49-F238E27FC236}">
                <a16:creationId xmlns:a16="http://schemas.microsoft.com/office/drawing/2014/main" id="{A010C85B-A533-4DD3-A3FE-7FC05F2D565B}"/>
              </a:ext>
            </a:extLst>
          </p:cNvPr>
          <p:cNvSpPr/>
          <p:nvPr/>
        </p:nvSpPr>
        <p:spPr>
          <a:xfrm>
            <a:off x="6846081" y="3292918"/>
            <a:ext cx="4920342" cy="126107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Software / firmware upgrades.</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Download and storage of popular content:</a:t>
            </a:r>
          </a:p>
          <a:p>
            <a:pPr marL="742950" marR="0" lvl="1"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TV shows</a:t>
            </a:r>
          </a:p>
          <a:p>
            <a:pPr marL="742950" marR="0" lvl="1"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Viral” videos in social media.</a:t>
            </a:r>
          </a:p>
        </p:txBody>
      </p:sp>
      <p:sp>
        <p:nvSpPr>
          <p:cNvPr id="18" name="Rectangle: Rounded Corners 17">
            <a:extLst>
              <a:ext uri="{FF2B5EF4-FFF2-40B4-BE49-F238E27FC236}">
                <a16:creationId xmlns:a16="http://schemas.microsoft.com/office/drawing/2014/main" id="{F2DDC56B-78EE-49AD-A96B-5702B4B913DF}"/>
              </a:ext>
            </a:extLst>
          </p:cNvPr>
          <p:cNvSpPr/>
          <p:nvPr/>
        </p:nvSpPr>
        <p:spPr>
          <a:xfrm>
            <a:off x="6864742" y="3301500"/>
            <a:ext cx="4904918"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General file download</a:t>
            </a:r>
          </a:p>
        </p:txBody>
      </p:sp>
      <p:sp>
        <p:nvSpPr>
          <p:cNvPr id="4" name="Footer Placeholder 1">
            <a:extLst>
              <a:ext uri="{FF2B5EF4-FFF2-40B4-BE49-F238E27FC236}">
                <a16:creationId xmlns:a16="http://schemas.microsoft.com/office/drawing/2014/main" id="{694284B4-3DA7-DD02-C500-A5501519C0A5}"/>
              </a:ext>
            </a:extLst>
          </p:cNvPr>
          <p:cNvSpPr txBox="1">
            <a:spLocks/>
          </p:cNvSpPr>
          <p:nvPr/>
        </p:nvSpPr>
        <p:spPr>
          <a:xfrm>
            <a:off x="396623" y="5090505"/>
            <a:ext cx="10489691" cy="11817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accent6">
                    <a:lumMod val="75000"/>
                  </a:schemeClr>
                </a:solidFill>
              </a:rPr>
              <a:t>IBC 2024, Amsterdam, The Netherlands</a:t>
            </a:r>
          </a:p>
        </p:txBody>
      </p:sp>
      <p:sp>
        <p:nvSpPr>
          <p:cNvPr id="2" name="Footer Placeholder 1">
            <a:extLst>
              <a:ext uri="{FF2B5EF4-FFF2-40B4-BE49-F238E27FC236}">
                <a16:creationId xmlns:a16="http://schemas.microsoft.com/office/drawing/2014/main" id="{A7D58EEC-D1E7-9552-C2EB-14348123F54A}"/>
              </a:ext>
            </a:extLst>
          </p:cNvPr>
          <p:cNvSpPr>
            <a:spLocks noGrp="1"/>
          </p:cNvSpPr>
          <p:nvPr>
            <p:ph type="ftr" sz="quarter" idx="3"/>
          </p:nvPr>
        </p:nvSpPr>
        <p:spPr/>
        <p:txBody>
          <a:bodyPr/>
          <a:lstStyle/>
          <a:p>
            <a:r>
              <a:rPr lang="en-US"/>
              <a:t>5G Broadcast Conference</a:t>
            </a:r>
          </a:p>
        </p:txBody>
      </p:sp>
    </p:spTree>
    <p:extLst>
      <p:ext uri="{BB962C8B-B14F-4D97-AF65-F5344CB8AC3E}">
        <p14:creationId xmlns:p14="http://schemas.microsoft.com/office/powerpoint/2010/main" val="2958255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11th FOKUS Media Web Symposium | Remo Vogel">
            <a:extLst>
              <a:ext uri="{FF2B5EF4-FFF2-40B4-BE49-F238E27FC236}">
                <a16:creationId xmlns:a16="http://schemas.microsoft.com/office/drawing/2014/main" id="{B9FBF2A7-AE35-D19B-CCCC-73928FD81A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38379" y="4579040"/>
            <a:ext cx="2227739" cy="222773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r. Roland Beutler – 5G Masters">
            <a:extLst>
              <a:ext uri="{FF2B5EF4-FFF2-40B4-BE49-F238E27FC236}">
                <a16:creationId xmlns:a16="http://schemas.microsoft.com/office/drawing/2014/main" id="{2D7BE2B2-5678-56C3-EFFA-D301DD188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807" y="2705984"/>
            <a:ext cx="1439949" cy="2162176"/>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5F63792C-C17C-4E85-A6D8-6FFA15195372}"/>
              </a:ext>
            </a:extLst>
          </p:cNvPr>
          <p:cNvSpPr/>
          <p:nvPr/>
        </p:nvSpPr>
        <p:spPr>
          <a:xfrm>
            <a:off x="2777456" y="2422141"/>
            <a:ext cx="3437891" cy="1317559"/>
          </a:xfrm>
          <a:prstGeom prst="wedgeEllipseCallout">
            <a:avLst>
              <a:gd name="adj1" fmla="val -68428"/>
              <a:gd name="adj2" fmla="val 569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B107 is not sufficient, I need the entire UHF band defined in 3GPP</a:t>
            </a:r>
            <a:endParaRPr lang="en-US" dirty="0" err="1">
              <a:solidFill>
                <a:schemeClr val="bg1"/>
              </a:solidFill>
              <a:latin typeface="Microsoft Sans Serif"/>
              <a:cs typeface="Microsoft Sans Serif" panose="020B0604020202020204" pitchFamily="34" charset="0"/>
            </a:endParaRPr>
          </a:p>
        </p:txBody>
      </p:sp>
      <p:pic>
        <p:nvPicPr>
          <p:cNvPr id="1030" name="Picture 6" descr="Profile photo of Mark Aitken">
            <a:extLst>
              <a:ext uri="{FF2B5EF4-FFF2-40B4-BE49-F238E27FC236}">
                <a16:creationId xmlns:a16="http://schemas.microsoft.com/office/drawing/2014/main" id="{8CB796DB-CCB6-27E8-0856-71DEEB41DA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72663" y="285751"/>
            <a:ext cx="1709737" cy="17097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1AE909D-D732-5EB9-9B29-D7DBB23A631C}"/>
              </a:ext>
            </a:extLst>
          </p:cNvPr>
          <p:cNvSpPr txBox="1"/>
          <p:nvPr/>
        </p:nvSpPr>
        <p:spPr>
          <a:xfrm>
            <a:off x="3048000" y="3972173"/>
            <a:ext cx="6096000" cy="369332"/>
          </a:xfrm>
          <a:prstGeom prst="rect">
            <a:avLst/>
          </a:prstGeom>
          <a:noFill/>
        </p:spPr>
        <p:txBody>
          <a:bodyPr wrap="square">
            <a:spAutoFit/>
          </a:bodyPr>
          <a:lstStyle/>
          <a:p>
            <a:endParaRPr lang="en-US" dirty="0"/>
          </a:p>
        </p:txBody>
      </p:sp>
      <p:sp>
        <p:nvSpPr>
          <p:cNvPr id="11" name="Speech Bubble: Oval 10">
            <a:extLst>
              <a:ext uri="{FF2B5EF4-FFF2-40B4-BE49-F238E27FC236}">
                <a16:creationId xmlns:a16="http://schemas.microsoft.com/office/drawing/2014/main" id="{1C207936-1642-0C7D-A427-0451E80D6865}"/>
              </a:ext>
            </a:extLst>
          </p:cNvPr>
          <p:cNvSpPr/>
          <p:nvPr/>
        </p:nvSpPr>
        <p:spPr>
          <a:xfrm>
            <a:off x="6535823" y="165957"/>
            <a:ext cx="3192549" cy="1346943"/>
          </a:xfrm>
          <a:prstGeom prst="wedgeEllipseCallout">
            <a:avLst>
              <a:gd name="adj1" fmla="val 77674"/>
              <a:gd name="adj2" fmla="val 3198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TSC3.0 the only reasonable course as the underlying nature of D2M</a:t>
            </a:r>
          </a:p>
        </p:txBody>
      </p:sp>
      <p:sp>
        <p:nvSpPr>
          <p:cNvPr id="12" name="Speech Bubble: Oval 11">
            <a:extLst>
              <a:ext uri="{FF2B5EF4-FFF2-40B4-BE49-F238E27FC236}">
                <a16:creationId xmlns:a16="http://schemas.microsoft.com/office/drawing/2014/main" id="{D854D937-22C3-F506-5CED-9839DCA64919}"/>
              </a:ext>
            </a:extLst>
          </p:cNvPr>
          <p:cNvSpPr/>
          <p:nvPr/>
        </p:nvSpPr>
        <p:spPr>
          <a:xfrm>
            <a:off x="6945093" y="4975130"/>
            <a:ext cx="2543175" cy="1850992"/>
          </a:xfrm>
          <a:prstGeom prst="wedgeEllipseCallout">
            <a:avLst>
              <a:gd name="adj1" fmla="val 102547"/>
              <a:gd name="adj2" fmla="val -269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I am building a DVB-I large scale trial. How can we add 5G Broadcast?</a:t>
            </a:r>
            <a:endParaRPr lang="en-US" dirty="0" err="1">
              <a:solidFill>
                <a:schemeClr val="bg1"/>
              </a:solidFill>
              <a:latin typeface="Microsoft Sans Serif"/>
              <a:cs typeface="Microsoft Sans Serif" panose="020B0604020202020204" pitchFamily="34" charset="0"/>
            </a:endParaRPr>
          </a:p>
        </p:txBody>
      </p:sp>
      <p:pic>
        <p:nvPicPr>
          <p:cNvPr id="1036" name="Picture 12" descr="Bill Christian (@billchristiantv) / X">
            <a:extLst>
              <a:ext uri="{FF2B5EF4-FFF2-40B4-BE49-F238E27FC236}">
                <a16:creationId xmlns:a16="http://schemas.microsoft.com/office/drawing/2014/main" id="{6EAFDFC3-C1C3-74EC-F028-383D91BB50A9}"/>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l="29480" t="17222" r="23646"/>
          <a:stretch/>
        </p:blipFill>
        <p:spPr bwMode="auto">
          <a:xfrm>
            <a:off x="487797" y="13443"/>
            <a:ext cx="1977716" cy="2619375"/>
          </a:xfrm>
          <a:prstGeom prst="rect">
            <a:avLst/>
          </a:prstGeom>
          <a:extLst>
            <a:ext uri="{909E8E84-426E-40DD-AFC4-6F175D3DCCD1}">
              <a14:hiddenFill xmlns:a14="http://schemas.microsoft.com/office/drawing/2010/main">
                <a:solidFill>
                  <a:srgbClr val="FFFFFF"/>
                </a:solidFill>
              </a14:hiddenFill>
            </a:ext>
          </a:extLst>
        </p:spPr>
      </p:pic>
      <p:sp>
        <p:nvSpPr>
          <p:cNvPr id="13" name="Speech Bubble: Oval 12">
            <a:extLst>
              <a:ext uri="{FF2B5EF4-FFF2-40B4-BE49-F238E27FC236}">
                <a16:creationId xmlns:a16="http://schemas.microsoft.com/office/drawing/2014/main" id="{E56DA59E-7643-89C4-A898-FD177A4959A9}"/>
              </a:ext>
            </a:extLst>
          </p:cNvPr>
          <p:cNvSpPr/>
          <p:nvPr/>
        </p:nvSpPr>
        <p:spPr>
          <a:xfrm>
            <a:off x="2680204" y="3972173"/>
            <a:ext cx="3829051" cy="1217849"/>
          </a:xfrm>
          <a:prstGeom prst="wedgeEllipseCallout">
            <a:avLst>
              <a:gd name="adj1" fmla="val -59473"/>
              <a:gd name="adj2" fmla="val -4550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5G Broadcast and unicast combined is a MUST including low latency</a:t>
            </a:r>
            <a:endParaRPr lang="en-US" dirty="0" err="1">
              <a:solidFill>
                <a:schemeClr val="bg1"/>
              </a:solidFill>
              <a:latin typeface="Microsoft Sans Serif"/>
              <a:cs typeface="Microsoft Sans Serif" panose="020B0604020202020204" pitchFamily="34" charset="0"/>
            </a:endParaRPr>
          </a:p>
        </p:txBody>
      </p:sp>
      <p:pic>
        <p:nvPicPr>
          <p:cNvPr id="1038" name="Picture 14" descr="11th FOKUS Media Web Symposium | Johann Mika">
            <a:extLst>
              <a:ext uri="{FF2B5EF4-FFF2-40B4-BE49-F238E27FC236}">
                <a16:creationId xmlns:a16="http://schemas.microsoft.com/office/drawing/2014/main" id="{F0C842C1-BCF6-3654-331B-7228AF1277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7797" y="4975130"/>
            <a:ext cx="1771328" cy="1771328"/>
          </a:xfrm>
          <a:prstGeom prst="rect">
            <a:avLst/>
          </a:prstGeom>
          <a:noFill/>
          <a:extLst>
            <a:ext uri="{909E8E84-426E-40DD-AFC4-6F175D3DCCD1}">
              <a14:hiddenFill xmlns:a14="http://schemas.microsoft.com/office/drawing/2010/main">
                <a:solidFill>
                  <a:srgbClr val="FFFFFF"/>
                </a:solidFill>
              </a14:hiddenFill>
            </a:ext>
          </a:extLst>
        </p:spPr>
      </p:pic>
      <p:sp>
        <p:nvSpPr>
          <p:cNvPr id="14" name="Speech Bubble: Oval 13">
            <a:extLst>
              <a:ext uri="{FF2B5EF4-FFF2-40B4-BE49-F238E27FC236}">
                <a16:creationId xmlns:a16="http://schemas.microsoft.com/office/drawing/2014/main" id="{64E76C18-9C97-A620-AF8E-745EBC51B879}"/>
              </a:ext>
            </a:extLst>
          </p:cNvPr>
          <p:cNvSpPr/>
          <p:nvPr/>
        </p:nvSpPr>
        <p:spPr>
          <a:xfrm>
            <a:off x="2706772" y="5590955"/>
            <a:ext cx="3829051" cy="1217849"/>
          </a:xfrm>
          <a:prstGeom prst="wedgeEllipseCallout">
            <a:avLst>
              <a:gd name="adj1" fmla="val -79870"/>
              <a:gd name="adj2" fmla="val -1735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What features will be included in the first set of commercial chipsets?</a:t>
            </a:r>
            <a:endParaRPr lang="en-US" dirty="0" err="1">
              <a:solidFill>
                <a:schemeClr val="bg1"/>
              </a:solidFill>
              <a:latin typeface="Microsoft Sans Serif"/>
              <a:cs typeface="Microsoft Sans Serif" panose="020B0604020202020204" pitchFamily="34" charset="0"/>
            </a:endParaRPr>
          </a:p>
        </p:txBody>
      </p:sp>
      <p:pic>
        <p:nvPicPr>
          <p:cNvPr id="1040" name="Picture 16" descr="27.10.23 - 5G-MAG participates at GATIS' Global 5G Broadcast Summit">
            <a:extLst>
              <a:ext uri="{FF2B5EF4-FFF2-40B4-BE49-F238E27FC236}">
                <a16:creationId xmlns:a16="http://schemas.microsoft.com/office/drawing/2014/main" id="{FFE50796-1484-94D4-C2ED-037B00CFFE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38379" y="2153292"/>
            <a:ext cx="2093064" cy="1183222"/>
          </a:xfrm>
          <a:prstGeom prst="rect">
            <a:avLst/>
          </a:prstGeom>
          <a:noFill/>
          <a:extLst>
            <a:ext uri="{909E8E84-426E-40DD-AFC4-6F175D3DCCD1}">
              <a14:hiddenFill xmlns:a14="http://schemas.microsoft.com/office/drawing/2010/main">
                <a:solidFill>
                  <a:srgbClr val="FFFFFF"/>
                </a:solidFill>
              </a14:hiddenFill>
            </a:ext>
          </a:extLst>
        </p:spPr>
      </p:pic>
      <p:sp>
        <p:nvSpPr>
          <p:cNvPr id="15" name="Speech Bubble: Oval 14">
            <a:extLst>
              <a:ext uri="{FF2B5EF4-FFF2-40B4-BE49-F238E27FC236}">
                <a16:creationId xmlns:a16="http://schemas.microsoft.com/office/drawing/2014/main" id="{7C383E6C-EEF1-34D9-6614-82B018AA7274}"/>
              </a:ext>
            </a:extLst>
          </p:cNvPr>
          <p:cNvSpPr/>
          <p:nvPr/>
        </p:nvSpPr>
        <p:spPr>
          <a:xfrm>
            <a:off x="6132972" y="1589934"/>
            <a:ext cx="3022241" cy="1850992"/>
          </a:xfrm>
          <a:prstGeom prst="wedgeEllipseCallout">
            <a:avLst>
              <a:gd name="adj1" fmla="val 80450"/>
              <a:gd name="adj2" fmla="val 12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How can we launch 5G Broadcast emergency services?</a:t>
            </a:r>
            <a:endParaRPr lang="en-US" dirty="0" err="1">
              <a:solidFill>
                <a:schemeClr val="bg1"/>
              </a:solidFill>
              <a:latin typeface="Microsoft Sans Serif"/>
              <a:cs typeface="Microsoft Sans Serif" panose="020B0604020202020204" pitchFamily="34" charset="0"/>
            </a:endParaRPr>
          </a:p>
        </p:txBody>
      </p:sp>
      <p:sp>
        <p:nvSpPr>
          <p:cNvPr id="7" name="Speech Bubble: Oval 6">
            <a:extLst>
              <a:ext uri="{FF2B5EF4-FFF2-40B4-BE49-F238E27FC236}">
                <a16:creationId xmlns:a16="http://schemas.microsoft.com/office/drawing/2014/main" id="{55FFDD39-B637-BC43-4BF4-F7D878C98536}"/>
              </a:ext>
            </a:extLst>
          </p:cNvPr>
          <p:cNvSpPr/>
          <p:nvPr/>
        </p:nvSpPr>
        <p:spPr>
          <a:xfrm>
            <a:off x="2829556" y="476433"/>
            <a:ext cx="3437891" cy="1609298"/>
          </a:xfrm>
          <a:prstGeom prst="wedgeEllipseCallout">
            <a:avLst>
              <a:gd name="adj1" fmla="val -80159"/>
              <a:gd name="adj2" fmla="val -2451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I may have a regulator requirement to distribute some ATSC signal on my broadcast carrier</a:t>
            </a:r>
            <a:endParaRPr lang="en-US" dirty="0" err="1">
              <a:solidFill>
                <a:schemeClr val="bg1"/>
              </a:solidFill>
              <a:latin typeface="Microsoft Sans Serif"/>
              <a:cs typeface="Microsoft Sans Serif" panose="020B0604020202020204" pitchFamily="34" charset="0"/>
            </a:endParaRPr>
          </a:p>
        </p:txBody>
      </p:sp>
      <p:sp>
        <p:nvSpPr>
          <p:cNvPr id="17" name="Footer Placeholder 16">
            <a:extLst>
              <a:ext uri="{FF2B5EF4-FFF2-40B4-BE49-F238E27FC236}">
                <a16:creationId xmlns:a16="http://schemas.microsoft.com/office/drawing/2014/main" id="{A4C5DDE9-E57C-8425-8960-BC882E1D02CC}"/>
              </a:ext>
            </a:extLst>
          </p:cNvPr>
          <p:cNvSpPr>
            <a:spLocks noGrp="1"/>
          </p:cNvSpPr>
          <p:nvPr>
            <p:ph type="ftr" sz="quarter" idx="10"/>
          </p:nvPr>
        </p:nvSpPr>
        <p:spPr/>
        <p:txBody>
          <a:bodyPr/>
          <a:lstStyle/>
          <a:p>
            <a:r>
              <a:rPr lang="en-US"/>
              <a:t>5G Broadcast Conference</a:t>
            </a:r>
          </a:p>
        </p:txBody>
      </p:sp>
      <p:pic>
        <p:nvPicPr>
          <p:cNvPr id="1026" name="Picture 2" descr="Globoplay: Novelas, séries e + – Apps bei Google Play">
            <a:extLst>
              <a:ext uri="{FF2B5EF4-FFF2-40B4-BE49-F238E27FC236}">
                <a16:creationId xmlns:a16="http://schemas.microsoft.com/office/drawing/2014/main" id="{2355A8D6-D895-25BF-3D43-37D530B3E8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34926" y="3401084"/>
            <a:ext cx="1096517" cy="1096517"/>
          </a:xfrm>
          <a:prstGeom prst="rect">
            <a:avLst/>
          </a:prstGeom>
          <a:noFill/>
          <a:extLst>
            <a:ext uri="{909E8E84-426E-40DD-AFC4-6F175D3DCCD1}">
              <a14:hiddenFill xmlns:a14="http://schemas.microsoft.com/office/drawing/2010/main">
                <a:solidFill>
                  <a:srgbClr val="FFFFFF"/>
                </a:solidFill>
              </a14:hiddenFill>
            </a:ext>
          </a:extLst>
        </p:spPr>
      </p:pic>
      <p:sp>
        <p:nvSpPr>
          <p:cNvPr id="2" name="Speech Bubble: Oval 1">
            <a:extLst>
              <a:ext uri="{FF2B5EF4-FFF2-40B4-BE49-F238E27FC236}">
                <a16:creationId xmlns:a16="http://schemas.microsoft.com/office/drawing/2014/main" id="{32238111-EFE1-DD94-1627-F7E2093042DC}"/>
              </a:ext>
            </a:extLst>
          </p:cNvPr>
          <p:cNvSpPr/>
          <p:nvPr/>
        </p:nvSpPr>
        <p:spPr>
          <a:xfrm>
            <a:off x="6758955" y="3517959"/>
            <a:ext cx="2655589" cy="1400301"/>
          </a:xfrm>
          <a:prstGeom prst="wedgeEllipseCallout">
            <a:avLst>
              <a:gd name="adj1" fmla="val 101566"/>
              <a:gd name="adj2" fmla="val -22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I want to re-use my existing app/player</a:t>
            </a:r>
            <a:endParaRPr lang="en-US" dirty="0" err="1">
              <a:solidFill>
                <a:schemeClr val="bg1"/>
              </a:solidFill>
              <a:latin typeface="Microsoft Sans Serif"/>
              <a:cs typeface="Microsoft Sans Serif" panose="020B0604020202020204" pitchFamily="34" charset="0"/>
            </a:endParaRPr>
          </a:p>
        </p:txBody>
      </p:sp>
      <p:sp>
        <p:nvSpPr>
          <p:cNvPr id="3" name="L-Shape 2">
            <a:extLst>
              <a:ext uri="{FF2B5EF4-FFF2-40B4-BE49-F238E27FC236}">
                <a16:creationId xmlns:a16="http://schemas.microsoft.com/office/drawing/2014/main" id="{09CDC0EF-F0EE-65B5-75B4-B138F408347A}"/>
              </a:ext>
            </a:extLst>
          </p:cNvPr>
          <p:cNvSpPr/>
          <p:nvPr/>
        </p:nvSpPr>
        <p:spPr>
          <a:xfrm rot="18122002">
            <a:off x="3812933" y="623461"/>
            <a:ext cx="1284565" cy="885299"/>
          </a:xfrm>
          <a:prstGeom prst="corner">
            <a:avLst>
              <a:gd name="adj1" fmla="val 31752"/>
              <a:gd name="adj2" fmla="val 4139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L-Shape 3">
            <a:extLst>
              <a:ext uri="{FF2B5EF4-FFF2-40B4-BE49-F238E27FC236}">
                <a16:creationId xmlns:a16="http://schemas.microsoft.com/office/drawing/2014/main" id="{B543F7B3-6E03-E119-0A21-29C7BD188973}"/>
              </a:ext>
            </a:extLst>
          </p:cNvPr>
          <p:cNvSpPr/>
          <p:nvPr/>
        </p:nvSpPr>
        <p:spPr>
          <a:xfrm rot="18122002">
            <a:off x="3756883" y="2427831"/>
            <a:ext cx="1284565" cy="885299"/>
          </a:xfrm>
          <a:prstGeom prst="corner">
            <a:avLst>
              <a:gd name="adj1" fmla="val 31752"/>
              <a:gd name="adj2" fmla="val 4139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 name="L-Shape 4">
            <a:extLst>
              <a:ext uri="{FF2B5EF4-FFF2-40B4-BE49-F238E27FC236}">
                <a16:creationId xmlns:a16="http://schemas.microsoft.com/office/drawing/2014/main" id="{701DF0A7-1BBD-A64C-8A43-35B14E06DEE7}"/>
              </a:ext>
            </a:extLst>
          </p:cNvPr>
          <p:cNvSpPr/>
          <p:nvPr/>
        </p:nvSpPr>
        <p:spPr>
          <a:xfrm rot="18122002">
            <a:off x="3781507" y="3907866"/>
            <a:ext cx="1284565" cy="885299"/>
          </a:xfrm>
          <a:prstGeom prst="corner">
            <a:avLst>
              <a:gd name="adj1" fmla="val 31752"/>
              <a:gd name="adj2" fmla="val 4139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6" name="L-Shape 5">
            <a:extLst>
              <a:ext uri="{FF2B5EF4-FFF2-40B4-BE49-F238E27FC236}">
                <a16:creationId xmlns:a16="http://schemas.microsoft.com/office/drawing/2014/main" id="{4E2D01F3-C5EB-1CB1-A242-10F67000ACB9}"/>
              </a:ext>
            </a:extLst>
          </p:cNvPr>
          <p:cNvSpPr/>
          <p:nvPr/>
        </p:nvSpPr>
        <p:spPr>
          <a:xfrm rot="18122002">
            <a:off x="3756884" y="5584854"/>
            <a:ext cx="1284565" cy="885299"/>
          </a:xfrm>
          <a:prstGeom prst="corner">
            <a:avLst>
              <a:gd name="adj1" fmla="val 31752"/>
              <a:gd name="adj2" fmla="val 41397"/>
            </a:avLst>
          </a:prstGeom>
          <a:solidFill>
            <a:srgbClr val="FFFF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9" name="L-Shape 8">
            <a:extLst>
              <a:ext uri="{FF2B5EF4-FFF2-40B4-BE49-F238E27FC236}">
                <a16:creationId xmlns:a16="http://schemas.microsoft.com/office/drawing/2014/main" id="{6D5E4949-A39B-DB18-C77F-3367A425CF3C}"/>
              </a:ext>
            </a:extLst>
          </p:cNvPr>
          <p:cNvSpPr/>
          <p:nvPr/>
        </p:nvSpPr>
        <p:spPr>
          <a:xfrm rot="18122002">
            <a:off x="7444465" y="5341619"/>
            <a:ext cx="1284565" cy="885299"/>
          </a:xfrm>
          <a:prstGeom prst="corner">
            <a:avLst>
              <a:gd name="adj1" fmla="val 31752"/>
              <a:gd name="adj2" fmla="val 4139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6" name="L-Shape 15">
            <a:extLst>
              <a:ext uri="{FF2B5EF4-FFF2-40B4-BE49-F238E27FC236}">
                <a16:creationId xmlns:a16="http://schemas.microsoft.com/office/drawing/2014/main" id="{7B8C3E95-F960-92C4-CC39-DE6F347666A2}"/>
              </a:ext>
            </a:extLst>
          </p:cNvPr>
          <p:cNvSpPr/>
          <p:nvPr/>
        </p:nvSpPr>
        <p:spPr>
          <a:xfrm rot="18122002">
            <a:off x="7387354" y="3646236"/>
            <a:ext cx="1284565" cy="885299"/>
          </a:xfrm>
          <a:prstGeom prst="corner">
            <a:avLst>
              <a:gd name="adj1" fmla="val 31752"/>
              <a:gd name="adj2" fmla="val 41397"/>
            </a:avLst>
          </a:prstGeom>
          <a:solidFill>
            <a:srgbClr val="FFFF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8" name="L-Shape 17">
            <a:extLst>
              <a:ext uri="{FF2B5EF4-FFF2-40B4-BE49-F238E27FC236}">
                <a16:creationId xmlns:a16="http://schemas.microsoft.com/office/drawing/2014/main" id="{9489AF83-9A99-CDF2-8B7D-A6B63AA17937}"/>
              </a:ext>
            </a:extLst>
          </p:cNvPr>
          <p:cNvSpPr/>
          <p:nvPr/>
        </p:nvSpPr>
        <p:spPr>
          <a:xfrm rot="18122002">
            <a:off x="7016948" y="1890033"/>
            <a:ext cx="1284565" cy="885299"/>
          </a:xfrm>
          <a:prstGeom prst="corner">
            <a:avLst>
              <a:gd name="adj1" fmla="val 31752"/>
              <a:gd name="adj2" fmla="val 4139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9" name="L-Shape 18">
            <a:extLst>
              <a:ext uri="{FF2B5EF4-FFF2-40B4-BE49-F238E27FC236}">
                <a16:creationId xmlns:a16="http://schemas.microsoft.com/office/drawing/2014/main" id="{A399FC5B-97E9-C3DD-15DF-42BF2222B60D}"/>
              </a:ext>
            </a:extLst>
          </p:cNvPr>
          <p:cNvSpPr/>
          <p:nvPr/>
        </p:nvSpPr>
        <p:spPr>
          <a:xfrm rot="18122002">
            <a:off x="7387353" y="192955"/>
            <a:ext cx="1284565" cy="885299"/>
          </a:xfrm>
          <a:prstGeom prst="corner">
            <a:avLst>
              <a:gd name="adj1" fmla="val 31752"/>
              <a:gd name="adj2" fmla="val 4139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229974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4"/>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1000"/>
                                  </p:stCondLst>
                                  <p:childTnLst>
                                    <p:set>
                                      <p:cBhvr>
                                        <p:cTn id="12" dur="1" fill="hold">
                                          <p:stCondLst>
                                            <p:cond delay="0"/>
                                          </p:stCondLst>
                                        </p:cTn>
                                        <p:tgtEl>
                                          <p:spTgt spid="5"/>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grpId="0" nodeType="afterEffect">
                                  <p:stCondLst>
                                    <p:cond delay="1000"/>
                                  </p:stCondLst>
                                  <p:childTnLst>
                                    <p:set>
                                      <p:cBhvr>
                                        <p:cTn id="18" dur="1" fill="hold">
                                          <p:stCondLst>
                                            <p:cond delay="0"/>
                                          </p:stCondLst>
                                        </p:cTn>
                                        <p:tgtEl>
                                          <p:spTgt spid="19"/>
                                        </p:tgtEl>
                                        <p:attrNameLst>
                                          <p:attrName>style.visibility</p:attrName>
                                        </p:attrNameLst>
                                      </p:cBhvr>
                                      <p:to>
                                        <p:strVal val="visible"/>
                                      </p:to>
                                    </p:set>
                                  </p:childTnLst>
                                </p:cTn>
                              </p:par>
                            </p:childTnLst>
                          </p:cTn>
                        </p:par>
                        <p:par>
                          <p:cTn id="19" fill="hold">
                            <p:stCondLst>
                              <p:cond delay="4000"/>
                            </p:stCondLst>
                            <p:childTnLst>
                              <p:par>
                                <p:cTn id="20" presetID="1" presetClass="entr" presetSubtype="0" fill="hold" grpId="0" nodeType="afterEffect">
                                  <p:stCondLst>
                                    <p:cond delay="1000"/>
                                  </p:stCondLst>
                                  <p:childTnLst>
                                    <p:set>
                                      <p:cBhvr>
                                        <p:cTn id="21" dur="1" fill="hold">
                                          <p:stCondLst>
                                            <p:cond delay="0"/>
                                          </p:stCondLst>
                                        </p:cTn>
                                        <p:tgtEl>
                                          <p:spTgt spid="18"/>
                                        </p:tgtEl>
                                        <p:attrNameLst>
                                          <p:attrName>style.visibility</p:attrName>
                                        </p:attrNameLst>
                                      </p:cBhvr>
                                      <p:to>
                                        <p:strVal val="visible"/>
                                      </p:to>
                                    </p:set>
                                  </p:childTnLst>
                                </p:cTn>
                              </p:par>
                            </p:childTnLst>
                          </p:cTn>
                        </p:par>
                        <p:par>
                          <p:cTn id="22" fill="hold">
                            <p:stCondLst>
                              <p:cond delay="5000"/>
                            </p:stCondLst>
                            <p:childTnLst>
                              <p:par>
                                <p:cTn id="23" presetID="1" presetClass="entr" presetSubtype="0" fill="hold" grpId="0" nodeType="afterEffect">
                                  <p:stCondLst>
                                    <p:cond delay="1000"/>
                                  </p:stCondLst>
                                  <p:childTnLst>
                                    <p:set>
                                      <p:cBhvr>
                                        <p:cTn id="24" dur="1" fill="hold">
                                          <p:stCondLst>
                                            <p:cond delay="0"/>
                                          </p:stCondLst>
                                        </p:cTn>
                                        <p:tgtEl>
                                          <p:spTgt spid="16"/>
                                        </p:tgtEl>
                                        <p:attrNameLst>
                                          <p:attrName>style.visibility</p:attrName>
                                        </p:attrNameLst>
                                      </p:cBhvr>
                                      <p:to>
                                        <p:strVal val="visible"/>
                                      </p:to>
                                    </p:set>
                                  </p:childTnLst>
                                </p:cTn>
                              </p:par>
                            </p:childTnLst>
                          </p:cTn>
                        </p:par>
                        <p:par>
                          <p:cTn id="25" fill="hold">
                            <p:stCondLst>
                              <p:cond delay="6000"/>
                            </p:stCondLst>
                            <p:childTnLst>
                              <p:par>
                                <p:cTn id="26" presetID="1" presetClass="entr" presetSubtype="0" fill="hold" grpId="0" nodeType="afterEffect">
                                  <p:stCondLst>
                                    <p:cond delay="1000"/>
                                  </p:stCondLst>
                                  <p:childTnLst>
                                    <p:set>
                                      <p:cBhvr>
                                        <p:cTn id="27"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9" grpId="0" animBg="1"/>
      <p:bldP spid="16" grpId="0" animBg="1"/>
      <p:bldP spid="18" grpId="0" animBg="1"/>
      <p:bldP spid="1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Title 1">
            <a:extLst>
              <a:ext uri="{FF2B5EF4-FFF2-40B4-BE49-F238E27FC236}">
                <a16:creationId xmlns:a16="http://schemas.microsoft.com/office/drawing/2014/main" id="{26377D24-04E0-D5F6-2A50-9313DB4DA94A}"/>
              </a:ext>
            </a:extLst>
          </p:cNvPr>
          <p:cNvSpPr>
            <a:spLocks noGrp="1" noChangeArrowheads="1"/>
          </p:cNvSpPr>
          <p:nvPr>
            <p:ph type="title"/>
          </p:nvPr>
        </p:nvSpPr>
        <p:spPr>
          <a:xfrm>
            <a:off x="495300" y="591778"/>
            <a:ext cx="11186584" cy="413639"/>
          </a:xfrm>
        </p:spPr>
        <p:txBody>
          <a:bodyPr/>
          <a:lstStyle/>
          <a:p>
            <a:r>
              <a:rPr lang="en-US" altLang="en-US" sz="3200"/>
              <a:t>Re-use of existing apps and players &amp; frequency switching</a:t>
            </a:r>
          </a:p>
        </p:txBody>
      </p:sp>
      <p:sp>
        <p:nvSpPr>
          <p:cNvPr id="4" name="Subtitle 3">
            <a:extLst>
              <a:ext uri="{FF2B5EF4-FFF2-40B4-BE49-F238E27FC236}">
                <a16:creationId xmlns:a16="http://schemas.microsoft.com/office/drawing/2014/main" id="{99EC810C-1A23-5117-E6BC-743132E55B9D}"/>
              </a:ext>
            </a:extLst>
          </p:cNvPr>
          <p:cNvSpPr>
            <a:spLocks noGrp="1"/>
          </p:cNvSpPr>
          <p:nvPr>
            <p:ph type="subTitle" idx="1"/>
          </p:nvPr>
        </p:nvSpPr>
        <p:spPr>
          <a:xfrm>
            <a:off x="493185" y="1087967"/>
            <a:ext cx="11188700" cy="236347"/>
          </a:xfrm>
        </p:spPr>
        <p:txBody>
          <a:bodyPr/>
          <a:lstStyle/>
          <a:p>
            <a:pPr>
              <a:defRPr/>
            </a:pPr>
            <a:r>
              <a:rPr lang="de-DE" altLang="en-US"/>
              <a:t>Re-</a:t>
            </a:r>
            <a:r>
              <a:rPr lang="de-DE" altLang="en-US" err="1"/>
              <a:t>usable</a:t>
            </a:r>
            <a:r>
              <a:rPr lang="de-DE" altLang="en-US"/>
              <a:t> </a:t>
            </a:r>
            <a:r>
              <a:rPr lang="de-DE" altLang="en-US" err="1"/>
              <a:t>components</a:t>
            </a:r>
            <a:r>
              <a:rPr lang="de-DE" altLang="en-US"/>
              <a:t>, </a:t>
            </a:r>
            <a:r>
              <a:rPr lang="de-DE" altLang="en-US" err="1"/>
              <a:t>device</a:t>
            </a:r>
            <a:r>
              <a:rPr lang="de-DE" altLang="en-US"/>
              <a:t>-internal </a:t>
            </a:r>
            <a:r>
              <a:rPr lang="de-DE" altLang="en-US" err="1"/>
              <a:t>interfaces</a:t>
            </a:r>
            <a:r>
              <a:rPr lang="de-DE" altLang="en-US"/>
              <a:t> and APIs, </a:t>
            </a:r>
            <a:r>
              <a:rPr lang="de-DE" altLang="en-US" err="1"/>
              <a:t>combination</a:t>
            </a:r>
            <a:r>
              <a:rPr lang="de-DE" altLang="en-US"/>
              <a:t> </a:t>
            </a:r>
            <a:r>
              <a:rPr lang="de-DE" altLang="en-US" err="1"/>
              <a:t>with</a:t>
            </a:r>
            <a:r>
              <a:rPr lang="de-DE" altLang="en-US"/>
              <a:t> </a:t>
            </a:r>
            <a:r>
              <a:rPr lang="de-DE" altLang="en-US" err="1"/>
              <a:t>advanced</a:t>
            </a:r>
            <a:r>
              <a:rPr lang="de-DE" altLang="en-US"/>
              <a:t> </a:t>
            </a:r>
            <a:r>
              <a:rPr lang="de-DE" altLang="en-US" err="1"/>
              <a:t>unicast</a:t>
            </a:r>
            <a:r>
              <a:rPr lang="de-DE" altLang="en-US"/>
              <a:t> </a:t>
            </a:r>
            <a:r>
              <a:rPr lang="de-DE" altLang="en-US" err="1"/>
              <a:t>technologies</a:t>
            </a:r>
            <a:r>
              <a:rPr lang="de-DE" altLang="en-US"/>
              <a:t> </a:t>
            </a:r>
            <a:endParaRPr altLang="en-US"/>
          </a:p>
        </p:txBody>
      </p:sp>
      <p:sp>
        <p:nvSpPr>
          <p:cNvPr id="5" name="Footer Placeholder 4">
            <a:extLst>
              <a:ext uri="{FF2B5EF4-FFF2-40B4-BE49-F238E27FC236}">
                <a16:creationId xmlns:a16="http://schemas.microsoft.com/office/drawing/2014/main" id="{84277861-5D35-C841-D473-5F7F28FE3C62}"/>
              </a:ext>
            </a:extLst>
          </p:cNvPr>
          <p:cNvSpPr>
            <a:spLocks noGrp="1"/>
          </p:cNvSpPr>
          <p:nvPr>
            <p:ph type="ftr" sz="quarter" idx="15"/>
          </p:nvPr>
        </p:nvSpPr>
        <p:spPr>
          <a:xfrm>
            <a:off x="371475" y="4899025"/>
            <a:ext cx="7867650" cy="88900"/>
          </a:xfrm>
          <a:prstGeom prst="rect">
            <a:avLst/>
          </a:prstGeom>
        </p:spPr>
        <p:txBody>
          <a:bodyPr vert="horz" wrap="square" lIns="0" tIns="0" rIns="0" bIns="0" rtlCol="0" anchor="b">
            <a:spAutoFit/>
          </a:bodyPr>
          <a:lstStyle>
            <a:defPPr>
              <a:defRPr lang="en-US"/>
            </a:defPPr>
            <a:lvl1pPr marL="0" algn="l" defTabSz="514350" rtl="0" eaLnBrk="1" fontAlgn="base" latinLnBrk="0" hangingPunct="1">
              <a:lnSpc>
                <a:spcPct val="96000"/>
              </a:lnSpc>
              <a:spcBef>
                <a:spcPts val="0"/>
              </a:spcBef>
              <a:spcAft>
                <a:spcPts val="169"/>
              </a:spcAft>
              <a:buClr>
                <a:srgbClr val="3253DC"/>
              </a:buClr>
              <a:buFont typeface="Arial" panose="020B0604020202020204" pitchFamily="34" charset="0"/>
              <a:buNone/>
              <a:defRPr lang="en-US" sz="600" kern="1200" baseline="0">
                <a:solidFill>
                  <a:schemeClr val="accent5">
                    <a:lumMod val="60000"/>
                    <a:lumOff val="40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Source Sans Pro Light" panose="020B0403030403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ource Sans Pro Light" panose="020B0403030403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ource Sans Pro Light" panose="020B0403030403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ource Sans Pro Light" panose="020B0403030403020204" pitchFamily="34" charset="0"/>
                <a:ea typeface="+mn-ea"/>
                <a:cs typeface="+mn-cs"/>
              </a:defRPr>
            </a:lvl5pPr>
            <a:lvl6pPr marL="2286000" algn="l" defTabSz="914400" rtl="0" eaLnBrk="1" latinLnBrk="0" hangingPunct="1">
              <a:defRPr kern="1200">
                <a:solidFill>
                  <a:schemeClr val="tx1"/>
                </a:solidFill>
                <a:latin typeface="Source Sans Pro Light" panose="020B0403030403020204" pitchFamily="34" charset="0"/>
                <a:ea typeface="+mn-ea"/>
                <a:cs typeface="+mn-cs"/>
              </a:defRPr>
            </a:lvl6pPr>
            <a:lvl7pPr marL="2743200" algn="l" defTabSz="914400" rtl="0" eaLnBrk="1" latinLnBrk="0" hangingPunct="1">
              <a:defRPr kern="1200">
                <a:solidFill>
                  <a:schemeClr val="tx1"/>
                </a:solidFill>
                <a:latin typeface="Source Sans Pro Light" panose="020B0403030403020204" pitchFamily="34" charset="0"/>
                <a:ea typeface="+mn-ea"/>
                <a:cs typeface="+mn-cs"/>
              </a:defRPr>
            </a:lvl7pPr>
            <a:lvl8pPr marL="3200400" algn="l" defTabSz="914400" rtl="0" eaLnBrk="1" latinLnBrk="0" hangingPunct="1">
              <a:defRPr kern="1200">
                <a:solidFill>
                  <a:schemeClr val="tx1"/>
                </a:solidFill>
                <a:latin typeface="Source Sans Pro Light" panose="020B0403030403020204" pitchFamily="34" charset="0"/>
                <a:ea typeface="+mn-ea"/>
                <a:cs typeface="+mn-cs"/>
              </a:defRPr>
            </a:lvl8pPr>
            <a:lvl9pPr marL="3657600" algn="l" defTabSz="914400" rtl="0" eaLnBrk="1" latinLnBrk="0" hangingPunct="1">
              <a:defRPr kern="1200">
                <a:solidFill>
                  <a:schemeClr val="tx1"/>
                </a:solidFill>
                <a:latin typeface="Source Sans Pro Light" panose="020B0403030403020204" pitchFamily="34" charset="0"/>
                <a:ea typeface="+mn-ea"/>
                <a:cs typeface="+mn-cs"/>
              </a:defRPr>
            </a:lvl9pPr>
          </a:lstStyle>
          <a:p>
            <a:pPr>
              <a:defRPr/>
            </a:pPr>
            <a:r>
              <a:rPr lang="en-US"/>
              <a:t>5G Broadcast Conference</a:t>
            </a:r>
            <a:endParaRPr/>
          </a:p>
        </p:txBody>
      </p:sp>
      <p:sp>
        <p:nvSpPr>
          <p:cNvPr id="2" name="Rectangle 11">
            <a:extLst>
              <a:ext uri="{FF2B5EF4-FFF2-40B4-BE49-F238E27FC236}">
                <a16:creationId xmlns:a16="http://schemas.microsoft.com/office/drawing/2014/main" id="{4CEF0BDF-F011-148A-C91E-4AAACF296AAB}"/>
              </a:ext>
            </a:extLst>
          </p:cNvPr>
          <p:cNvSpPr>
            <a:spLocks noChangeArrowheads="1"/>
          </p:cNvSpPr>
          <p:nvPr/>
        </p:nvSpPr>
        <p:spPr bwMode="auto">
          <a:xfrm>
            <a:off x="1423619" y="1429789"/>
            <a:ext cx="8999331"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lstStyle/>
          <a:p>
            <a:pPr algn="ctr" defTabSz="914377">
              <a:lnSpc>
                <a:spcPct val="85000"/>
              </a:lnSpc>
              <a:defRPr/>
            </a:pPr>
            <a:r>
              <a:rPr lang="en-US" sz="1700">
                <a:solidFill>
                  <a:prstClr val="white"/>
                </a:solidFill>
              </a:rPr>
              <a:t>Application Processor</a:t>
            </a:r>
          </a:p>
        </p:txBody>
      </p:sp>
      <p:sp>
        <p:nvSpPr>
          <p:cNvPr id="3" name="Rectangle 11">
            <a:extLst>
              <a:ext uri="{FF2B5EF4-FFF2-40B4-BE49-F238E27FC236}">
                <a16:creationId xmlns:a16="http://schemas.microsoft.com/office/drawing/2014/main" id="{76605643-2274-EDB2-8E9F-09C7B49AD41C}"/>
              </a:ext>
            </a:extLst>
          </p:cNvPr>
          <p:cNvSpPr>
            <a:spLocks noChangeArrowheads="1"/>
          </p:cNvSpPr>
          <p:nvPr/>
        </p:nvSpPr>
        <p:spPr bwMode="auto">
          <a:xfrm>
            <a:off x="1642636" y="1929447"/>
            <a:ext cx="8597800" cy="489517"/>
          </a:xfrm>
          <a:prstGeom prst="roundRect">
            <a:avLst/>
          </a:prstGeom>
          <a:solidFill>
            <a:schemeClr val="bg1">
              <a:lumMod val="8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377">
              <a:lnSpc>
                <a:spcPct val="85000"/>
              </a:lnSpc>
              <a:defRPr/>
            </a:pPr>
            <a:r>
              <a:rPr lang="en-US" sz="1200">
                <a:solidFill>
                  <a:srgbClr val="13171F">
                    <a:lumMod val="85000"/>
                    <a:lumOff val="15000"/>
                  </a:srgbClr>
                </a:solidFill>
              </a:rPr>
              <a:t>Applications</a:t>
            </a:r>
          </a:p>
        </p:txBody>
      </p:sp>
      <p:sp>
        <p:nvSpPr>
          <p:cNvPr id="6" name="Rectangle 12">
            <a:extLst>
              <a:ext uri="{FF2B5EF4-FFF2-40B4-BE49-F238E27FC236}">
                <a16:creationId xmlns:a16="http://schemas.microsoft.com/office/drawing/2014/main" id="{8DEA87E1-3364-ECBD-4A79-74C2EBE0EA44}"/>
              </a:ext>
            </a:extLst>
          </p:cNvPr>
          <p:cNvSpPr>
            <a:spLocks noChangeArrowheads="1"/>
          </p:cNvSpPr>
          <p:nvPr/>
        </p:nvSpPr>
        <p:spPr bwMode="auto">
          <a:xfrm>
            <a:off x="2131484" y="2012951"/>
            <a:ext cx="2209800" cy="287867"/>
          </a:xfrm>
          <a:prstGeom prst="roundRect">
            <a:avLst/>
          </a:prstGeom>
          <a:solidFill>
            <a:schemeClr val="bg2">
              <a:lumMod val="60000"/>
              <a:lumOff val="40000"/>
            </a:schemeClr>
          </a:solidFill>
          <a:ln>
            <a:noFill/>
          </a:ln>
        </p:spPr>
        <p:txBody>
          <a:bodyPr lIns="45720" tIns="45720" rIns="45720" bIns="45720" anchor="ctr" anchorCtr="1"/>
          <a:lstStyle/>
          <a:p>
            <a:pPr defTabSz="914377">
              <a:lnSpc>
                <a:spcPct val="85000"/>
              </a:lnSpc>
              <a:defRPr/>
            </a:pPr>
            <a:r>
              <a:rPr lang="en-US" sz="1100" dirty="0">
                <a:solidFill>
                  <a:srgbClr val="13171F"/>
                </a:solidFill>
                <a:latin typeface="Microsoft Sans Serif"/>
              </a:rPr>
              <a:t>Streaming App</a:t>
            </a:r>
          </a:p>
        </p:txBody>
      </p:sp>
      <p:sp>
        <p:nvSpPr>
          <p:cNvPr id="7" name="Rectangle 12">
            <a:extLst>
              <a:ext uri="{FF2B5EF4-FFF2-40B4-BE49-F238E27FC236}">
                <a16:creationId xmlns:a16="http://schemas.microsoft.com/office/drawing/2014/main" id="{2A5BE9E0-6BAF-E4DD-8DC5-795C81D2B152}"/>
              </a:ext>
            </a:extLst>
          </p:cNvPr>
          <p:cNvSpPr>
            <a:spLocks noChangeArrowheads="1"/>
          </p:cNvSpPr>
          <p:nvPr/>
        </p:nvSpPr>
        <p:spPr bwMode="auto">
          <a:xfrm>
            <a:off x="4506385" y="2021418"/>
            <a:ext cx="1356783" cy="289983"/>
          </a:xfrm>
          <a:prstGeom prst="roundRect">
            <a:avLst/>
          </a:prstGeom>
          <a:solidFill>
            <a:schemeClr val="bg1">
              <a:lumMod val="65000"/>
            </a:schemeClr>
          </a:solidFill>
          <a:ln>
            <a:noFill/>
          </a:ln>
        </p:spPr>
        <p:txBody>
          <a:bodyPr lIns="45720" tIns="45720" rIns="45720" bIns="45720" anchor="ctr" anchorCtr="1"/>
          <a:lstStyle/>
          <a:p>
            <a:pPr defTabSz="914377">
              <a:lnSpc>
                <a:spcPct val="85000"/>
              </a:lnSpc>
              <a:defRPr/>
            </a:pPr>
            <a:r>
              <a:rPr lang="en-US" sz="1100">
                <a:solidFill>
                  <a:srgbClr val="F7F8FA"/>
                </a:solidFill>
                <a:latin typeface="Microsoft Sans Serif"/>
              </a:rPr>
              <a:t>File Download App</a:t>
            </a:r>
          </a:p>
        </p:txBody>
      </p:sp>
      <p:sp>
        <p:nvSpPr>
          <p:cNvPr id="419853" name="Rectangle 12">
            <a:extLst>
              <a:ext uri="{FF2B5EF4-FFF2-40B4-BE49-F238E27FC236}">
                <a16:creationId xmlns:a16="http://schemas.microsoft.com/office/drawing/2014/main" id="{7FB79D47-AF14-BA5A-9FFC-34CAE185BD11}"/>
              </a:ext>
            </a:extLst>
          </p:cNvPr>
          <p:cNvSpPr>
            <a:spLocks noChangeArrowheads="1"/>
          </p:cNvSpPr>
          <p:nvPr/>
        </p:nvSpPr>
        <p:spPr bwMode="auto">
          <a:xfrm>
            <a:off x="1642534" y="2643717"/>
            <a:ext cx="8597900" cy="2664883"/>
          </a:xfrm>
          <a:prstGeom prst="roundRect">
            <a:avLst>
              <a:gd name="adj" fmla="val 10657"/>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34295" tIns="34295" rIns="34295" bIns="34295" anchor="b"/>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algn="ctr" eaLnBrk="1" hangingPunct="1">
              <a:lnSpc>
                <a:spcPct val="85000"/>
              </a:lnSpc>
              <a:spcBef>
                <a:spcPct val="0"/>
              </a:spcBef>
              <a:buClrTx/>
              <a:buFontTx/>
              <a:buNone/>
            </a:pPr>
            <a:r>
              <a:rPr lang="en-US" altLang="en-US" sz="1200">
                <a:solidFill>
                  <a:srgbClr val="13171F"/>
                </a:solidFill>
              </a:rPr>
              <a:t>HLOS</a:t>
            </a:r>
          </a:p>
        </p:txBody>
      </p:sp>
      <p:sp>
        <p:nvSpPr>
          <p:cNvPr id="9" name="Rectangle 13">
            <a:extLst>
              <a:ext uri="{FF2B5EF4-FFF2-40B4-BE49-F238E27FC236}">
                <a16:creationId xmlns:a16="http://schemas.microsoft.com/office/drawing/2014/main" id="{52BFB9E5-9024-C621-8F86-07094BAC06BC}"/>
              </a:ext>
            </a:extLst>
          </p:cNvPr>
          <p:cNvSpPr>
            <a:spLocks noChangeArrowheads="1"/>
          </p:cNvSpPr>
          <p:nvPr/>
        </p:nvSpPr>
        <p:spPr bwMode="auto">
          <a:xfrm>
            <a:off x="3386667" y="2747433"/>
            <a:ext cx="6750051" cy="2514600"/>
          </a:xfrm>
          <a:prstGeom prst="roundRect">
            <a:avLst>
              <a:gd name="adj" fmla="val 9125"/>
            </a:avLst>
          </a:prstGeom>
          <a:solidFill>
            <a:schemeClr val="accent3"/>
          </a:solidFill>
          <a:ln>
            <a:noFill/>
          </a:ln>
        </p:spPr>
        <p:txBody>
          <a:bodyPr vert="vert" lIns="45720" tIns="45720" rIns="45720" bIns="45720" anchorCtr="1"/>
          <a:lstStyle/>
          <a:p>
            <a:pPr algn="ctr" defTabSz="914377">
              <a:lnSpc>
                <a:spcPct val="85000"/>
              </a:lnSpc>
              <a:defRPr/>
            </a:pPr>
            <a:r>
              <a:rPr lang="en-US" sz="1000" b="1">
                <a:solidFill>
                  <a:srgbClr val="F7F8FA"/>
                </a:solidFill>
                <a:latin typeface="Microsoft Sans Serif"/>
              </a:rPr>
              <a:t>MBMS Client</a:t>
            </a:r>
            <a:endParaRPr lang="en-US" sz="1100">
              <a:solidFill>
                <a:srgbClr val="F7F8FA"/>
              </a:solidFill>
              <a:latin typeface="Microsoft Sans Serif"/>
            </a:endParaRPr>
          </a:p>
        </p:txBody>
      </p:sp>
      <p:grpSp>
        <p:nvGrpSpPr>
          <p:cNvPr id="419855" name="Group 224">
            <a:extLst>
              <a:ext uri="{FF2B5EF4-FFF2-40B4-BE49-F238E27FC236}">
                <a16:creationId xmlns:a16="http://schemas.microsoft.com/office/drawing/2014/main" id="{7F638D10-1C6D-764B-1BB8-31307D9CE131}"/>
              </a:ext>
            </a:extLst>
          </p:cNvPr>
          <p:cNvGrpSpPr>
            <a:grpSpLocks/>
          </p:cNvGrpSpPr>
          <p:nvPr/>
        </p:nvGrpSpPr>
        <p:grpSpPr bwMode="auto">
          <a:xfrm>
            <a:off x="4144434" y="3039533"/>
            <a:ext cx="2791884" cy="287867"/>
            <a:chOff x="2373084" y="2857585"/>
            <a:chExt cx="3557794" cy="288925"/>
          </a:xfrm>
        </p:grpSpPr>
        <p:sp>
          <p:nvSpPr>
            <p:cNvPr id="11" name="Rectangle 12">
              <a:extLst>
                <a:ext uri="{FF2B5EF4-FFF2-40B4-BE49-F238E27FC236}">
                  <a16:creationId xmlns:a16="http://schemas.microsoft.com/office/drawing/2014/main" id="{B49A5804-A266-C1C0-4294-DDA555F2EB18}"/>
                </a:ext>
              </a:extLst>
            </p:cNvPr>
            <p:cNvSpPr>
              <a:spLocks noChangeArrowheads="1"/>
            </p:cNvSpPr>
            <p:nvPr/>
          </p:nvSpPr>
          <p:spPr bwMode="auto">
            <a:xfrm>
              <a:off x="2373084" y="2857585"/>
              <a:ext cx="1737088" cy="288925"/>
            </a:xfrm>
            <a:prstGeom prst="roundRect">
              <a:avLst/>
            </a:prstGeom>
            <a:solidFill>
              <a:srgbClr val="FFFF00"/>
            </a:solidFill>
            <a:ln>
              <a:noFill/>
            </a:ln>
          </p:spPr>
          <p:txBody>
            <a:bodyPr lIns="45720" tIns="45720" rIns="45720" bIns="45720" anchor="ctr" anchorCtr="1"/>
            <a:lstStyle/>
            <a:p>
              <a:pPr defTabSz="914377">
                <a:lnSpc>
                  <a:spcPct val="85000"/>
                </a:lnSpc>
                <a:defRPr/>
              </a:pPr>
              <a:r>
                <a:rPr lang="en-US" sz="900" dirty="0">
                  <a:solidFill>
                    <a:srgbClr val="13171F">
                      <a:lumMod val="85000"/>
                      <a:lumOff val="15000"/>
                    </a:srgbClr>
                  </a:solidFill>
                  <a:latin typeface="Microsoft Sans Serif"/>
                </a:rPr>
                <a:t>Streaming Service</a:t>
              </a:r>
            </a:p>
          </p:txBody>
        </p:sp>
        <p:sp>
          <p:nvSpPr>
            <p:cNvPr id="12" name="Rectangle 12">
              <a:extLst>
                <a:ext uri="{FF2B5EF4-FFF2-40B4-BE49-F238E27FC236}">
                  <a16:creationId xmlns:a16="http://schemas.microsoft.com/office/drawing/2014/main" id="{15F8D066-58D1-7B8B-7DEF-941F823F2922}"/>
                </a:ext>
              </a:extLst>
            </p:cNvPr>
            <p:cNvSpPr>
              <a:spLocks noChangeArrowheads="1"/>
            </p:cNvSpPr>
            <p:nvPr/>
          </p:nvSpPr>
          <p:spPr bwMode="auto">
            <a:xfrm>
              <a:off x="4199185" y="2857585"/>
              <a:ext cx="1731693" cy="288925"/>
            </a:xfrm>
            <a:prstGeom prst="roundRect">
              <a:avLst/>
            </a:prstGeom>
            <a:solidFill>
              <a:srgbClr val="FFFFFF"/>
            </a:solidFill>
            <a:ln>
              <a:noFill/>
            </a:ln>
          </p:spPr>
          <p:txBody>
            <a:bodyPr lIns="45720" tIns="45720" rIns="45720" bIns="45720" anchor="ctr" anchorCtr="1"/>
            <a:lstStyle/>
            <a:p>
              <a:pPr defTabSz="914377">
                <a:lnSpc>
                  <a:spcPct val="85000"/>
                </a:lnSpc>
                <a:defRPr/>
              </a:pPr>
              <a:r>
                <a:rPr lang="en-US" sz="900">
                  <a:solidFill>
                    <a:srgbClr val="13171F">
                      <a:lumMod val="85000"/>
                      <a:lumOff val="15000"/>
                    </a:srgbClr>
                  </a:solidFill>
                  <a:latin typeface="Microsoft Sans Serif"/>
                </a:rPr>
                <a:t>File Download Service</a:t>
              </a:r>
            </a:p>
          </p:txBody>
        </p:sp>
      </p:grpSp>
      <p:sp>
        <p:nvSpPr>
          <p:cNvPr id="13" name="Rectangle 12">
            <a:extLst>
              <a:ext uri="{FF2B5EF4-FFF2-40B4-BE49-F238E27FC236}">
                <a16:creationId xmlns:a16="http://schemas.microsoft.com/office/drawing/2014/main" id="{F11D4E19-9E52-C933-428E-58A3799F8FE9}"/>
              </a:ext>
            </a:extLst>
          </p:cNvPr>
          <p:cNvSpPr>
            <a:spLocks noChangeArrowheads="1"/>
          </p:cNvSpPr>
          <p:nvPr/>
        </p:nvSpPr>
        <p:spPr bwMode="auto">
          <a:xfrm>
            <a:off x="3494617" y="3454401"/>
            <a:ext cx="759883" cy="463551"/>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Local DASH Server</a:t>
            </a:r>
          </a:p>
        </p:txBody>
      </p:sp>
      <p:sp>
        <p:nvSpPr>
          <p:cNvPr id="14" name="Rectangle 12">
            <a:extLst>
              <a:ext uri="{FF2B5EF4-FFF2-40B4-BE49-F238E27FC236}">
                <a16:creationId xmlns:a16="http://schemas.microsoft.com/office/drawing/2014/main" id="{63B14DD8-8988-D426-ABFA-6E57350C0AEB}"/>
              </a:ext>
            </a:extLst>
          </p:cNvPr>
          <p:cNvSpPr>
            <a:spLocks noChangeArrowheads="1"/>
          </p:cNvSpPr>
          <p:nvPr/>
        </p:nvSpPr>
        <p:spPr bwMode="auto">
          <a:xfrm>
            <a:off x="4163485" y="4764618"/>
            <a:ext cx="4396316" cy="336549"/>
          </a:xfrm>
          <a:prstGeom prst="roundRect">
            <a:avLst/>
          </a:prstGeom>
          <a:solidFill>
            <a:srgbClr val="FFFF00"/>
          </a:solidFill>
          <a:ln>
            <a:noFill/>
          </a:ln>
        </p:spPr>
        <p:txBody>
          <a:bodyPr lIns="45720" tIns="45720" rIns="45720" bIns="45720" anchor="ctr" anchorCtr="1"/>
          <a:lstStyle/>
          <a:p>
            <a:pPr algn="ctr" defTabSz="914377">
              <a:lnSpc>
                <a:spcPct val="85000"/>
              </a:lnSpc>
              <a:defRPr/>
            </a:pPr>
            <a:r>
              <a:rPr lang="en-US" sz="900">
                <a:solidFill>
                  <a:srgbClr val="13171F">
                    <a:lumMod val="85000"/>
                    <a:lumOff val="15000"/>
                  </a:srgbClr>
                </a:solidFill>
                <a:latin typeface="Microsoft Sans Serif"/>
              </a:rPr>
              <a:t>Service Discovery</a:t>
            </a:r>
          </a:p>
        </p:txBody>
      </p:sp>
      <p:sp>
        <p:nvSpPr>
          <p:cNvPr id="15" name="Rectangle 12">
            <a:extLst>
              <a:ext uri="{FF2B5EF4-FFF2-40B4-BE49-F238E27FC236}">
                <a16:creationId xmlns:a16="http://schemas.microsoft.com/office/drawing/2014/main" id="{21E0A010-92F8-E7B8-7DB1-AB9243B014E6}"/>
              </a:ext>
            </a:extLst>
          </p:cNvPr>
          <p:cNvSpPr>
            <a:spLocks noChangeArrowheads="1"/>
          </p:cNvSpPr>
          <p:nvPr/>
        </p:nvSpPr>
        <p:spPr bwMode="auto">
          <a:xfrm>
            <a:off x="5575300" y="3454401"/>
            <a:ext cx="645584" cy="463551"/>
          </a:xfrm>
          <a:prstGeom prst="roundRect">
            <a:avLst/>
          </a:prstGeom>
          <a:solidFill>
            <a:schemeClr val="bg1"/>
          </a:solidFill>
          <a:ln>
            <a:noFill/>
          </a:ln>
        </p:spPr>
        <p:txBody>
          <a:bodyPr lIns="45720" tIns="45720" rIns="45720" bIns="45720" anchor="ctr" anchorCtr="1"/>
          <a:lstStyle/>
          <a:p>
            <a:pPr algn="ctr" defTabSz="914377">
              <a:lnSpc>
                <a:spcPct val="85000"/>
              </a:lnSpc>
              <a:defRPr/>
            </a:pPr>
            <a:r>
              <a:rPr lang="en-US" sz="900">
                <a:solidFill>
                  <a:srgbClr val="000000"/>
                </a:solidFill>
                <a:latin typeface="Microsoft Sans Serif"/>
              </a:rPr>
              <a:t>File </a:t>
            </a:r>
            <a:br>
              <a:rPr lang="en-US" sz="900">
                <a:solidFill>
                  <a:srgbClr val="000000"/>
                </a:solidFill>
                <a:latin typeface="Microsoft Sans Serif"/>
              </a:rPr>
            </a:br>
            <a:r>
              <a:rPr lang="en-US" sz="900">
                <a:solidFill>
                  <a:srgbClr val="000000"/>
                </a:solidFill>
                <a:latin typeface="Microsoft Sans Serif"/>
              </a:rPr>
              <a:t>Repair</a:t>
            </a:r>
          </a:p>
        </p:txBody>
      </p:sp>
      <p:sp>
        <p:nvSpPr>
          <p:cNvPr id="16" name="Rectangle 12">
            <a:extLst>
              <a:ext uri="{FF2B5EF4-FFF2-40B4-BE49-F238E27FC236}">
                <a16:creationId xmlns:a16="http://schemas.microsoft.com/office/drawing/2014/main" id="{606145CA-8949-D1F0-74C9-5E43488F0DD6}"/>
              </a:ext>
            </a:extLst>
          </p:cNvPr>
          <p:cNvSpPr>
            <a:spLocks noChangeArrowheads="1"/>
          </p:cNvSpPr>
          <p:nvPr/>
        </p:nvSpPr>
        <p:spPr bwMode="auto">
          <a:xfrm>
            <a:off x="6256867" y="3454401"/>
            <a:ext cx="679451" cy="463551"/>
          </a:xfrm>
          <a:prstGeom prst="roundRect">
            <a:avLst/>
          </a:prstGeom>
          <a:solidFill>
            <a:schemeClr val="bg1"/>
          </a:solidFill>
          <a:ln>
            <a:noFill/>
          </a:ln>
        </p:spPr>
        <p:txBody>
          <a:bodyPr lIns="45720" tIns="45720" rIns="45720" bIns="45720" anchor="ctr" anchorCtr="1"/>
          <a:lstStyle/>
          <a:p>
            <a:pPr algn="ctr" defTabSz="914377">
              <a:lnSpc>
                <a:spcPct val="85000"/>
              </a:lnSpc>
              <a:defRPr/>
            </a:pPr>
            <a:r>
              <a:rPr lang="en-US" sz="900">
                <a:solidFill>
                  <a:srgbClr val="000000"/>
                </a:solidFill>
                <a:latin typeface="Microsoft Sans Serif"/>
              </a:rPr>
              <a:t>Reception Reporting</a:t>
            </a:r>
          </a:p>
        </p:txBody>
      </p:sp>
      <p:sp>
        <p:nvSpPr>
          <p:cNvPr id="17" name="Rectangle 12">
            <a:extLst>
              <a:ext uri="{FF2B5EF4-FFF2-40B4-BE49-F238E27FC236}">
                <a16:creationId xmlns:a16="http://schemas.microsoft.com/office/drawing/2014/main" id="{772C4ED5-AE34-519E-899A-9B2213B2FC93}"/>
              </a:ext>
            </a:extLst>
          </p:cNvPr>
          <p:cNvSpPr>
            <a:spLocks noChangeArrowheads="1"/>
          </p:cNvSpPr>
          <p:nvPr/>
        </p:nvSpPr>
        <p:spPr bwMode="auto">
          <a:xfrm>
            <a:off x="4144434" y="4044951"/>
            <a:ext cx="2764367" cy="522816"/>
          </a:xfrm>
          <a:prstGeom prst="roundRect">
            <a:avLst/>
          </a:prstGeom>
          <a:solidFill>
            <a:srgbClr val="FFFF00"/>
          </a:solidFill>
          <a:ln>
            <a:noFill/>
          </a:ln>
        </p:spPr>
        <p:txBody>
          <a:bodyPr lIns="45720" tIns="45720" rIns="45720" bIns="45720" anchorCtr="1"/>
          <a:lstStyle/>
          <a:p>
            <a:pPr defTabSz="914377">
              <a:lnSpc>
                <a:spcPct val="85000"/>
              </a:lnSpc>
              <a:defRPr/>
            </a:pPr>
            <a:r>
              <a:rPr lang="en-US" sz="900">
                <a:solidFill>
                  <a:srgbClr val="13171F">
                    <a:lumMod val="85000"/>
                    <a:lumOff val="15000"/>
                  </a:srgbClr>
                </a:solidFill>
                <a:latin typeface="Microsoft Sans Serif"/>
              </a:rPr>
              <a:t>Object Distribution Function</a:t>
            </a:r>
          </a:p>
        </p:txBody>
      </p:sp>
      <p:sp>
        <p:nvSpPr>
          <p:cNvPr id="419861" name="Rectangle 12">
            <a:extLst>
              <a:ext uri="{FF2B5EF4-FFF2-40B4-BE49-F238E27FC236}">
                <a16:creationId xmlns:a16="http://schemas.microsoft.com/office/drawing/2014/main" id="{F54AC289-2BFD-EB68-26A6-8271AB1DB38B}"/>
              </a:ext>
            </a:extLst>
          </p:cNvPr>
          <p:cNvSpPr>
            <a:spLocks noChangeArrowheads="1"/>
          </p:cNvSpPr>
          <p:nvPr/>
        </p:nvSpPr>
        <p:spPr bwMode="auto">
          <a:xfrm>
            <a:off x="4275667" y="4305301"/>
            <a:ext cx="1140884" cy="218017"/>
          </a:xfrm>
          <a:prstGeom prst="roundRect">
            <a:avLst>
              <a:gd name="adj" fmla="val 16667"/>
            </a:avLst>
          </a:prstGeom>
          <a:solidFill>
            <a:srgbClr val="FFFF00"/>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2D374A"/>
                </a:solidFill>
              </a:rPr>
              <a:t>FLUTE</a:t>
            </a:r>
          </a:p>
        </p:txBody>
      </p:sp>
      <p:sp>
        <p:nvSpPr>
          <p:cNvPr id="19" name="Rectangle 12">
            <a:extLst>
              <a:ext uri="{FF2B5EF4-FFF2-40B4-BE49-F238E27FC236}">
                <a16:creationId xmlns:a16="http://schemas.microsoft.com/office/drawing/2014/main" id="{1BE9225B-02A0-E91B-A9E0-D87CF98FC37D}"/>
              </a:ext>
            </a:extLst>
          </p:cNvPr>
          <p:cNvSpPr>
            <a:spLocks noChangeArrowheads="1"/>
          </p:cNvSpPr>
          <p:nvPr/>
        </p:nvSpPr>
        <p:spPr bwMode="auto">
          <a:xfrm>
            <a:off x="2057400" y="3014134"/>
            <a:ext cx="908051" cy="1104900"/>
          </a:xfrm>
          <a:prstGeom prst="roundRect">
            <a:avLst/>
          </a:prstGeom>
          <a:solidFill>
            <a:schemeClr val="bg2">
              <a:lumMod val="60000"/>
              <a:lumOff val="40000"/>
            </a:schemeClr>
          </a:solidFill>
          <a:ln>
            <a:noFill/>
          </a:ln>
        </p:spPr>
        <p:txBody>
          <a:bodyPr lIns="45720" tIns="45720" rIns="45720" bIns="45720" anchorCtr="1"/>
          <a:lstStyle/>
          <a:p>
            <a:pPr algn="ctr" defTabSz="914377">
              <a:lnSpc>
                <a:spcPct val="85000"/>
              </a:lnSpc>
              <a:defRPr/>
            </a:pPr>
            <a:r>
              <a:rPr lang="en-US" sz="900" dirty="0">
                <a:solidFill>
                  <a:srgbClr val="13171F"/>
                </a:solidFill>
                <a:latin typeface="Microsoft Sans Serif"/>
              </a:rPr>
              <a:t>Multimedia System</a:t>
            </a:r>
          </a:p>
        </p:txBody>
      </p:sp>
      <p:sp>
        <p:nvSpPr>
          <p:cNvPr id="20" name="Rectangle 12">
            <a:extLst>
              <a:ext uri="{FF2B5EF4-FFF2-40B4-BE49-F238E27FC236}">
                <a16:creationId xmlns:a16="http://schemas.microsoft.com/office/drawing/2014/main" id="{13A869C7-D813-E539-4B52-C4612DCF6B25}"/>
              </a:ext>
            </a:extLst>
          </p:cNvPr>
          <p:cNvSpPr>
            <a:spLocks noChangeArrowheads="1"/>
          </p:cNvSpPr>
          <p:nvPr/>
        </p:nvSpPr>
        <p:spPr bwMode="auto">
          <a:xfrm>
            <a:off x="2203451" y="3452285"/>
            <a:ext cx="615949" cy="461433"/>
          </a:xfrm>
          <a:prstGeom prst="roundRect">
            <a:avLst/>
          </a:prstGeom>
          <a:solidFill>
            <a:schemeClr val="bg2">
              <a:lumMod val="40000"/>
              <a:lumOff val="60000"/>
            </a:schemeClr>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DASH Client</a:t>
            </a:r>
          </a:p>
        </p:txBody>
      </p:sp>
      <p:sp>
        <p:nvSpPr>
          <p:cNvPr id="21" name="Rectangle 12">
            <a:extLst>
              <a:ext uri="{FF2B5EF4-FFF2-40B4-BE49-F238E27FC236}">
                <a16:creationId xmlns:a16="http://schemas.microsoft.com/office/drawing/2014/main" id="{6DBFB354-20EA-1FE3-425D-A6098B0FD80B}"/>
              </a:ext>
            </a:extLst>
          </p:cNvPr>
          <p:cNvSpPr>
            <a:spLocks noChangeArrowheads="1"/>
          </p:cNvSpPr>
          <p:nvPr/>
        </p:nvSpPr>
        <p:spPr bwMode="auto">
          <a:xfrm>
            <a:off x="2065867" y="4392085"/>
            <a:ext cx="891117" cy="402167"/>
          </a:xfrm>
          <a:prstGeom prst="roundRect">
            <a:avLst/>
          </a:prstGeom>
          <a:solidFill>
            <a:schemeClr val="bg2">
              <a:lumMod val="40000"/>
              <a:lumOff val="60000"/>
            </a:schemeClr>
          </a:solidFill>
          <a:ln>
            <a:noFill/>
          </a:ln>
        </p:spPr>
        <p:txBody>
          <a:bodyPr lIns="45720" tIns="45720" rIns="45720" bIns="45720" anchor="ctr" anchorCtr="1"/>
          <a:lstStyle/>
          <a:p>
            <a:pPr algn="ctr" defTabSz="914377">
              <a:lnSpc>
                <a:spcPct val="85000"/>
              </a:lnSpc>
              <a:defRPr/>
            </a:pPr>
            <a:r>
              <a:rPr lang="en-US" sz="900" dirty="0">
                <a:solidFill>
                  <a:srgbClr val="13171F">
                    <a:lumMod val="85000"/>
                    <a:lumOff val="15000"/>
                  </a:srgbClr>
                </a:solidFill>
                <a:latin typeface="Microsoft Sans Serif"/>
              </a:rPr>
              <a:t>HTTP/TCP</a:t>
            </a:r>
          </a:p>
        </p:txBody>
      </p:sp>
      <p:sp>
        <p:nvSpPr>
          <p:cNvPr id="22" name="Rectangle 12">
            <a:extLst>
              <a:ext uri="{FF2B5EF4-FFF2-40B4-BE49-F238E27FC236}">
                <a16:creationId xmlns:a16="http://schemas.microsoft.com/office/drawing/2014/main" id="{3113C52C-81E0-8B6B-DBEC-A802C5169061}"/>
              </a:ext>
            </a:extLst>
          </p:cNvPr>
          <p:cNvSpPr>
            <a:spLocks noChangeArrowheads="1"/>
          </p:cNvSpPr>
          <p:nvPr/>
        </p:nvSpPr>
        <p:spPr bwMode="auto">
          <a:xfrm>
            <a:off x="6934201" y="5528733"/>
            <a:ext cx="960967" cy="366184"/>
          </a:xfrm>
          <a:prstGeom prst="roundRect">
            <a:avLst/>
          </a:prstGeom>
          <a:solidFill>
            <a:srgbClr val="FFFF00"/>
          </a:solid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P Stack</a:t>
            </a:r>
            <a:br>
              <a:rPr lang="en-US" sz="900" dirty="0">
                <a:solidFill>
                  <a:srgbClr val="13171F"/>
                </a:solidFill>
                <a:latin typeface="Microsoft Sans Serif"/>
              </a:rPr>
            </a:br>
            <a:r>
              <a:rPr lang="en-US" sz="900" dirty="0">
                <a:solidFill>
                  <a:srgbClr val="13171F"/>
                </a:solidFill>
                <a:latin typeface="Microsoft Sans Serif"/>
              </a:rPr>
              <a:t>(with multicast)</a:t>
            </a:r>
          </a:p>
        </p:txBody>
      </p:sp>
      <p:sp>
        <p:nvSpPr>
          <p:cNvPr id="23" name="Rectangle 12">
            <a:extLst>
              <a:ext uri="{FF2B5EF4-FFF2-40B4-BE49-F238E27FC236}">
                <a16:creationId xmlns:a16="http://schemas.microsoft.com/office/drawing/2014/main" id="{6AEE05C3-F1CE-ED1E-E2D3-3134561FBDC5}"/>
              </a:ext>
            </a:extLst>
          </p:cNvPr>
          <p:cNvSpPr>
            <a:spLocks noChangeArrowheads="1"/>
          </p:cNvSpPr>
          <p:nvPr/>
        </p:nvSpPr>
        <p:spPr bwMode="auto">
          <a:xfrm>
            <a:off x="4074585" y="5596467"/>
            <a:ext cx="958849" cy="366184"/>
          </a:xfrm>
          <a:prstGeom prst="roundRect">
            <a:avLst/>
          </a:prstGeom>
          <a:solidFill>
            <a:srgbClr val="FFFF00"/>
          </a:solidFill>
          <a:ln>
            <a:noFill/>
          </a:ln>
        </p:spPr>
        <p:txBody>
          <a:bodyPr lIns="34295" tIns="34295" rIns="34295" bIns="34295" anchor="ctr" anchorCtr="1"/>
          <a:lstStyle/>
          <a:p>
            <a:pPr algn="ctr" defTabSz="914377">
              <a:lnSpc>
                <a:spcPct val="85000"/>
              </a:lnSpc>
              <a:defRPr/>
            </a:pPr>
            <a:r>
              <a:rPr lang="en-US" sz="900">
                <a:solidFill>
                  <a:srgbClr val="13171F"/>
                </a:solidFill>
                <a:latin typeface="Microsoft Sans Serif"/>
              </a:rPr>
              <a:t>eMBMS Service</a:t>
            </a:r>
          </a:p>
        </p:txBody>
      </p:sp>
      <p:cxnSp>
        <p:nvCxnSpPr>
          <p:cNvPr id="24" name="Straight Arrow Connector 23">
            <a:extLst>
              <a:ext uri="{FF2B5EF4-FFF2-40B4-BE49-F238E27FC236}">
                <a16:creationId xmlns:a16="http://schemas.microsoft.com/office/drawing/2014/main" id="{2C7F5575-4065-D012-B2E6-5E2AF5B1167C}"/>
              </a:ext>
            </a:extLst>
          </p:cNvPr>
          <p:cNvCxnSpPr>
            <a:cxnSpLocks/>
            <a:stCxn id="23" idx="0"/>
          </p:cNvCxnSpPr>
          <p:nvPr/>
        </p:nvCxnSpPr>
        <p:spPr>
          <a:xfrm flipV="1">
            <a:off x="4552951" y="5101167"/>
            <a:ext cx="0" cy="49530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6">
            <a:extLst>
              <a:ext uri="{FF2B5EF4-FFF2-40B4-BE49-F238E27FC236}">
                <a16:creationId xmlns:a16="http://schemas.microsoft.com/office/drawing/2014/main" id="{E092AE05-6A0B-6E3F-84C0-0F24D86BD7DB}"/>
              </a:ext>
            </a:extLst>
          </p:cNvPr>
          <p:cNvCxnSpPr>
            <a:cxnSpLocks/>
            <a:stCxn id="14" idx="3"/>
          </p:cNvCxnSpPr>
          <p:nvPr/>
        </p:nvCxnSpPr>
        <p:spPr>
          <a:xfrm flipV="1">
            <a:off x="8559801" y="2300818"/>
            <a:ext cx="1284817" cy="2633133"/>
          </a:xfrm>
          <a:prstGeom prst="bentConnector2">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04428F1-549B-A06E-83FE-74D3253AC9C6}"/>
              </a:ext>
            </a:extLst>
          </p:cNvPr>
          <p:cNvCxnSpPr>
            <a:cxnSpLocks/>
          </p:cNvCxnSpPr>
          <p:nvPr/>
        </p:nvCxnSpPr>
        <p:spPr>
          <a:xfrm flipV="1">
            <a:off x="2510367" y="2300818"/>
            <a:ext cx="0" cy="713316"/>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F3212FF-EE75-EE5D-C02E-52ED33523027}"/>
              </a:ext>
            </a:extLst>
          </p:cNvPr>
          <p:cNvCxnSpPr>
            <a:cxnSpLocks/>
            <a:stCxn id="13" idx="1"/>
            <a:endCxn id="20" idx="3"/>
          </p:cNvCxnSpPr>
          <p:nvPr/>
        </p:nvCxnSpPr>
        <p:spPr>
          <a:xfrm flipH="1" flipV="1">
            <a:off x="2819401" y="3683000"/>
            <a:ext cx="675217" cy="2117"/>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1BB4FF6-8EBE-924E-F25A-0B49A81843EC}"/>
              </a:ext>
            </a:extLst>
          </p:cNvPr>
          <p:cNvCxnSpPr>
            <a:cxnSpLocks/>
          </p:cNvCxnSpPr>
          <p:nvPr/>
        </p:nvCxnSpPr>
        <p:spPr>
          <a:xfrm flipV="1">
            <a:off x="4552951" y="5922433"/>
            <a:ext cx="0" cy="364067"/>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85C738A-8960-76EF-09FC-37C627DF8FA3}"/>
              </a:ext>
            </a:extLst>
          </p:cNvPr>
          <p:cNvCxnSpPr>
            <a:cxnSpLocks/>
            <a:endCxn id="22" idx="2"/>
          </p:cNvCxnSpPr>
          <p:nvPr/>
        </p:nvCxnSpPr>
        <p:spPr>
          <a:xfrm flipV="1">
            <a:off x="7414684" y="5894918"/>
            <a:ext cx="0" cy="3661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56A603C-62D0-FEA4-74DF-E615CEE51662}"/>
              </a:ext>
            </a:extLst>
          </p:cNvPr>
          <p:cNvCxnSpPr>
            <a:cxnSpLocks/>
          </p:cNvCxnSpPr>
          <p:nvPr/>
        </p:nvCxnSpPr>
        <p:spPr>
          <a:xfrm flipH="1" flipV="1">
            <a:off x="2533651" y="3913718"/>
            <a:ext cx="0" cy="478367"/>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12">
            <a:extLst>
              <a:ext uri="{FF2B5EF4-FFF2-40B4-BE49-F238E27FC236}">
                <a16:creationId xmlns:a16="http://schemas.microsoft.com/office/drawing/2014/main" id="{F353E3FA-9DC8-1291-C34F-8B83DDF5B3DC}"/>
              </a:ext>
            </a:extLst>
          </p:cNvPr>
          <p:cNvSpPr>
            <a:spLocks noChangeArrowheads="1"/>
          </p:cNvSpPr>
          <p:nvPr/>
        </p:nvSpPr>
        <p:spPr bwMode="auto">
          <a:xfrm>
            <a:off x="5022852" y="2444751"/>
            <a:ext cx="323849" cy="226483"/>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13171F">
                    <a:lumMod val="85000"/>
                    <a:lumOff val="15000"/>
                  </a:srgbClr>
                </a:solidFill>
                <a:latin typeface="Microsoft Sans Serif"/>
              </a:rPr>
              <a:t>I-1</a:t>
            </a:r>
          </a:p>
        </p:txBody>
      </p:sp>
      <p:sp>
        <p:nvSpPr>
          <p:cNvPr id="32" name="Rectangle 12">
            <a:extLst>
              <a:ext uri="{FF2B5EF4-FFF2-40B4-BE49-F238E27FC236}">
                <a16:creationId xmlns:a16="http://schemas.microsoft.com/office/drawing/2014/main" id="{CB4FAB36-2FBE-6D48-AEC5-2F2575B356A1}"/>
              </a:ext>
            </a:extLst>
          </p:cNvPr>
          <p:cNvSpPr>
            <a:spLocks noChangeArrowheads="1"/>
          </p:cNvSpPr>
          <p:nvPr/>
        </p:nvSpPr>
        <p:spPr bwMode="auto">
          <a:xfrm>
            <a:off x="4607984" y="5122334"/>
            <a:ext cx="270933" cy="198967"/>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F7F8FA"/>
                </a:solidFill>
                <a:latin typeface="Microsoft Sans Serif"/>
              </a:rPr>
              <a:t>I-2</a:t>
            </a:r>
          </a:p>
        </p:txBody>
      </p:sp>
      <p:sp>
        <p:nvSpPr>
          <p:cNvPr id="33" name="Rectangle 12">
            <a:extLst>
              <a:ext uri="{FF2B5EF4-FFF2-40B4-BE49-F238E27FC236}">
                <a16:creationId xmlns:a16="http://schemas.microsoft.com/office/drawing/2014/main" id="{A0938506-9DAE-51E8-8D9D-B0B34413884F}"/>
              </a:ext>
            </a:extLst>
          </p:cNvPr>
          <p:cNvSpPr>
            <a:spLocks noChangeArrowheads="1"/>
          </p:cNvSpPr>
          <p:nvPr/>
        </p:nvSpPr>
        <p:spPr bwMode="auto">
          <a:xfrm>
            <a:off x="3244851" y="3507318"/>
            <a:ext cx="230716" cy="190500"/>
          </a:xfrm>
          <a:prstGeom prst="rect">
            <a:avLst/>
          </a:prstGeom>
          <a:no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4</a:t>
            </a:r>
          </a:p>
        </p:txBody>
      </p:sp>
      <p:sp>
        <p:nvSpPr>
          <p:cNvPr id="34" name="Rectangle 12">
            <a:extLst>
              <a:ext uri="{FF2B5EF4-FFF2-40B4-BE49-F238E27FC236}">
                <a16:creationId xmlns:a16="http://schemas.microsoft.com/office/drawing/2014/main" id="{BC3EBF18-71F7-CAF7-A8AC-435E84285457}"/>
              </a:ext>
            </a:extLst>
          </p:cNvPr>
          <p:cNvSpPr>
            <a:spLocks noChangeArrowheads="1"/>
          </p:cNvSpPr>
          <p:nvPr/>
        </p:nvSpPr>
        <p:spPr bwMode="auto">
          <a:xfrm>
            <a:off x="3735917" y="6251519"/>
            <a:ext cx="6687031"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nchor="ctr"/>
          <a:lstStyle/>
          <a:p>
            <a:pPr algn="ctr" defTabSz="914377">
              <a:lnSpc>
                <a:spcPct val="85000"/>
              </a:lnSpc>
              <a:defRPr/>
            </a:pPr>
            <a:r>
              <a:rPr lang="en-US" sz="1100">
                <a:solidFill>
                  <a:srgbClr val="13171F"/>
                </a:solidFill>
              </a:rPr>
              <a:t>LTE Modem</a:t>
            </a:r>
          </a:p>
        </p:txBody>
      </p:sp>
      <p:sp>
        <p:nvSpPr>
          <p:cNvPr id="35" name="Rectangle 12">
            <a:extLst>
              <a:ext uri="{FF2B5EF4-FFF2-40B4-BE49-F238E27FC236}">
                <a16:creationId xmlns:a16="http://schemas.microsoft.com/office/drawing/2014/main" id="{4F5E4112-8E87-496D-5B3E-028466DBEE0A}"/>
              </a:ext>
            </a:extLst>
          </p:cNvPr>
          <p:cNvSpPr>
            <a:spLocks noChangeArrowheads="1"/>
          </p:cNvSpPr>
          <p:nvPr/>
        </p:nvSpPr>
        <p:spPr bwMode="auto">
          <a:xfrm>
            <a:off x="7414684" y="5173134"/>
            <a:ext cx="270933" cy="198967"/>
          </a:xfrm>
          <a:prstGeom prst="rect">
            <a:avLst/>
          </a:prstGeom>
          <a:noFill/>
          <a:ln>
            <a:noFill/>
          </a:ln>
        </p:spPr>
        <p:txBody>
          <a:bodyPr lIns="34295" tIns="34295" rIns="34295" bIns="34295" anchor="ctr" anchorCtr="1"/>
          <a:lstStyle/>
          <a:p>
            <a:pPr algn="ctr" defTabSz="914377">
              <a:lnSpc>
                <a:spcPct val="85000"/>
              </a:lnSpc>
              <a:defRPr/>
            </a:pPr>
            <a:r>
              <a:rPr lang="en-US" sz="900">
                <a:solidFill>
                  <a:srgbClr val="F7F8FA"/>
                </a:solidFill>
                <a:latin typeface="Microsoft Sans Serif"/>
              </a:rPr>
              <a:t>I-3</a:t>
            </a:r>
          </a:p>
        </p:txBody>
      </p:sp>
      <p:sp>
        <p:nvSpPr>
          <p:cNvPr id="36" name="Rectangle 12">
            <a:extLst>
              <a:ext uri="{FF2B5EF4-FFF2-40B4-BE49-F238E27FC236}">
                <a16:creationId xmlns:a16="http://schemas.microsoft.com/office/drawing/2014/main" id="{E5548B74-0183-359C-D82A-57684819BEEC}"/>
              </a:ext>
            </a:extLst>
          </p:cNvPr>
          <p:cNvSpPr>
            <a:spLocks noChangeArrowheads="1"/>
          </p:cNvSpPr>
          <p:nvPr/>
        </p:nvSpPr>
        <p:spPr bwMode="auto">
          <a:xfrm>
            <a:off x="7004051" y="3039533"/>
            <a:ext cx="1361016" cy="287867"/>
          </a:xfrm>
          <a:prstGeom prst="roundRect">
            <a:avLst/>
          </a:prstGeom>
          <a:solidFill>
            <a:srgbClr val="FFFFFF"/>
          </a:solidFill>
          <a:ln>
            <a:noFill/>
          </a:ln>
        </p:spPr>
        <p:txBody>
          <a:bodyPr lIns="45720" tIns="45720" rIns="45720" bIns="45720" anchor="ctr" anchorCtr="1"/>
          <a:lstStyle/>
          <a:p>
            <a:pPr defTabSz="914377">
              <a:lnSpc>
                <a:spcPct val="85000"/>
              </a:lnSpc>
              <a:defRPr/>
            </a:pPr>
            <a:r>
              <a:rPr lang="en-US" sz="900">
                <a:solidFill>
                  <a:srgbClr val="13171F">
                    <a:lumMod val="85000"/>
                    <a:lumOff val="15000"/>
                  </a:srgbClr>
                </a:solidFill>
                <a:latin typeface="Microsoft Sans Serif"/>
              </a:rPr>
              <a:t>Transparent Service</a:t>
            </a:r>
          </a:p>
        </p:txBody>
      </p:sp>
      <p:sp>
        <p:nvSpPr>
          <p:cNvPr id="37" name="Rectangle 12">
            <a:extLst>
              <a:ext uri="{FF2B5EF4-FFF2-40B4-BE49-F238E27FC236}">
                <a16:creationId xmlns:a16="http://schemas.microsoft.com/office/drawing/2014/main" id="{89990F78-6BC6-0F70-6FAD-658BD1C3EB90}"/>
              </a:ext>
            </a:extLst>
          </p:cNvPr>
          <p:cNvSpPr>
            <a:spLocks noChangeArrowheads="1"/>
          </p:cNvSpPr>
          <p:nvPr/>
        </p:nvSpPr>
        <p:spPr bwMode="auto">
          <a:xfrm>
            <a:off x="8434918" y="3035300"/>
            <a:ext cx="1358900" cy="287867"/>
          </a:xfrm>
          <a:prstGeom prst="roundRect">
            <a:avLst/>
          </a:prstGeom>
          <a:solidFill>
            <a:srgbClr val="FFFFFF"/>
          </a:solidFill>
          <a:ln>
            <a:noFill/>
          </a:ln>
        </p:spPr>
        <p:txBody>
          <a:bodyPr lIns="45720" tIns="45720" rIns="45720" bIns="45720" anchor="ctr" anchorCtr="1"/>
          <a:lstStyle/>
          <a:p>
            <a:pPr defTabSz="914377">
              <a:lnSpc>
                <a:spcPct val="85000"/>
              </a:lnSpc>
              <a:defRPr/>
            </a:pPr>
            <a:r>
              <a:rPr lang="en-US" sz="900">
                <a:solidFill>
                  <a:srgbClr val="13171F">
                    <a:lumMod val="85000"/>
                    <a:lumOff val="15000"/>
                  </a:srgbClr>
                </a:solidFill>
                <a:latin typeface="Microsoft Sans Serif"/>
              </a:rPr>
              <a:t>Group Communication</a:t>
            </a:r>
          </a:p>
        </p:txBody>
      </p:sp>
      <p:sp>
        <p:nvSpPr>
          <p:cNvPr id="38" name="Rectangle 12">
            <a:extLst>
              <a:ext uri="{FF2B5EF4-FFF2-40B4-BE49-F238E27FC236}">
                <a16:creationId xmlns:a16="http://schemas.microsoft.com/office/drawing/2014/main" id="{8F5DF4BA-A7B4-C936-EC14-1FC787063C2D}"/>
              </a:ext>
            </a:extLst>
          </p:cNvPr>
          <p:cNvSpPr>
            <a:spLocks noChangeArrowheads="1"/>
          </p:cNvSpPr>
          <p:nvPr/>
        </p:nvSpPr>
        <p:spPr bwMode="auto">
          <a:xfrm>
            <a:off x="6322485" y="4036484"/>
            <a:ext cx="2112433" cy="522816"/>
          </a:xfrm>
          <a:prstGeom prst="roundRect">
            <a:avLst/>
          </a:prstGeom>
          <a:solidFill>
            <a:srgbClr val="FFFFFF"/>
          </a:solidFill>
          <a:ln>
            <a:noFill/>
          </a:ln>
        </p:spPr>
        <p:txBody>
          <a:bodyPr lIns="45720" tIns="45720" rIns="45720" bIns="45720" anchorCtr="1"/>
          <a:lstStyle/>
          <a:p>
            <a:pPr defTabSz="914377">
              <a:lnSpc>
                <a:spcPct val="85000"/>
              </a:lnSpc>
              <a:defRPr/>
            </a:pPr>
            <a:r>
              <a:rPr lang="en-US" sz="900">
                <a:solidFill>
                  <a:srgbClr val="13171F">
                    <a:lumMod val="85000"/>
                    <a:lumOff val="15000"/>
                  </a:srgbClr>
                </a:solidFill>
                <a:latin typeface="Microsoft Sans Serif"/>
              </a:rPr>
              <a:t>Packet Distribution Function</a:t>
            </a:r>
          </a:p>
        </p:txBody>
      </p:sp>
      <p:sp>
        <p:nvSpPr>
          <p:cNvPr id="419884" name="Rectangle 12">
            <a:extLst>
              <a:ext uri="{FF2B5EF4-FFF2-40B4-BE49-F238E27FC236}">
                <a16:creationId xmlns:a16="http://schemas.microsoft.com/office/drawing/2014/main" id="{4F2CC427-65F5-43AC-A68A-6815769CB278}"/>
              </a:ext>
            </a:extLst>
          </p:cNvPr>
          <p:cNvSpPr>
            <a:spLocks noChangeArrowheads="1"/>
          </p:cNvSpPr>
          <p:nvPr/>
        </p:nvSpPr>
        <p:spPr bwMode="auto">
          <a:xfrm>
            <a:off x="5666318" y="4305301"/>
            <a:ext cx="1138767" cy="218017"/>
          </a:xfrm>
          <a:prstGeom prst="roundRect">
            <a:avLst>
              <a:gd name="adj" fmla="val 16667"/>
            </a:avLst>
          </a:prstGeom>
          <a:solidFill>
            <a:srgbClr val="FFFF00"/>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000000"/>
                </a:solidFill>
              </a:rPr>
              <a:t>FEC</a:t>
            </a:r>
          </a:p>
        </p:txBody>
      </p:sp>
      <p:sp>
        <p:nvSpPr>
          <p:cNvPr id="419885" name="Rectangle 12">
            <a:extLst>
              <a:ext uri="{FF2B5EF4-FFF2-40B4-BE49-F238E27FC236}">
                <a16:creationId xmlns:a16="http://schemas.microsoft.com/office/drawing/2014/main" id="{65FF4185-A6EB-733D-82DF-8882054A581D}"/>
              </a:ext>
            </a:extLst>
          </p:cNvPr>
          <p:cNvSpPr>
            <a:spLocks noChangeArrowheads="1"/>
          </p:cNvSpPr>
          <p:nvPr/>
        </p:nvSpPr>
        <p:spPr bwMode="auto">
          <a:xfrm>
            <a:off x="7040034" y="4305301"/>
            <a:ext cx="1138767" cy="218017"/>
          </a:xfrm>
          <a:prstGeom prst="roundRect">
            <a:avLst>
              <a:gd name="adj" fmla="val 16667"/>
            </a:avLst>
          </a:prstGeom>
          <a:solidFill>
            <a:schemeClr val="bg1"/>
          </a:solidFill>
          <a:ln w="9525">
            <a:solidFill>
              <a:schemeClr val="tx1"/>
            </a:solidFill>
            <a:miter lim="800000"/>
            <a:headEnd/>
            <a:tailEnd/>
          </a:ln>
        </p:spPr>
        <p:txBody>
          <a:bodyPr lIns="45720" tIns="45720" rIns="45720" bIns="45720" anchor="ctr" anchorCtr="1"/>
          <a:lstStyle>
            <a:lvl1pPr defTabSz="685800">
              <a:lnSpc>
                <a:spcPct val="107000"/>
              </a:lnSpc>
              <a:spcBef>
                <a:spcPts val="900"/>
              </a:spcBef>
              <a:buClr>
                <a:schemeClr val="accent1"/>
              </a:buClr>
              <a:buFont typeface="Arial" panose="020B0604020202020204" pitchFamily="34" charset="0"/>
              <a:buChar char="•"/>
              <a:defRPr sz="1500">
                <a:solidFill>
                  <a:schemeClr val="tx1"/>
                </a:solidFill>
                <a:latin typeface="Microsoft Sans Serif" panose="020B0604020202020204" pitchFamily="34" charset="0"/>
              </a:defRPr>
            </a:lvl1pPr>
            <a:lvl2pPr marL="742950" indent="-285750" defTabSz="685800">
              <a:lnSpc>
                <a:spcPct val="107000"/>
              </a:lnSpc>
              <a:buClr>
                <a:srgbClr val="2D374A"/>
              </a:buClr>
              <a:buFont typeface="Arial" panose="020B0604020202020204" pitchFamily="34" charset="0"/>
              <a:buChar char="•"/>
              <a:defRPr sz="1500">
                <a:solidFill>
                  <a:schemeClr val="tx1"/>
                </a:solidFill>
                <a:latin typeface="Microsoft Sans Serif" panose="020B0604020202020204" pitchFamily="34" charset="0"/>
              </a:defRPr>
            </a:lvl2pPr>
            <a:lvl3pPr marL="1143000" indent="-228600" defTabSz="685800">
              <a:lnSpc>
                <a:spcPct val="107000"/>
              </a:lnSpc>
              <a:buClr>
                <a:srgbClr val="2D374A"/>
              </a:buClr>
              <a:buFont typeface="Microsoft Sans Serif" panose="020B0604020202020204" pitchFamily="34" charset="0"/>
              <a:buChar char="•"/>
              <a:defRPr sz="1300">
                <a:solidFill>
                  <a:schemeClr val="tx1"/>
                </a:solidFill>
                <a:latin typeface="Microsoft Sans Serif" panose="020B0604020202020204" pitchFamily="34" charset="0"/>
              </a:defRPr>
            </a:lvl3pPr>
            <a:lvl4pPr marL="1600200" indent="-228600" defTabSz="685800">
              <a:lnSpc>
                <a:spcPct val="107000"/>
              </a:lnSpc>
              <a:buClr>
                <a:srgbClr val="2D374A"/>
              </a:buClr>
              <a:buFont typeface="Arial" panose="020B0604020202020204" pitchFamily="34" charset="0"/>
              <a:buChar char="•"/>
              <a:defRPr sz="1300">
                <a:solidFill>
                  <a:schemeClr val="tx1"/>
                </a:solidFill>
                <a:latin typeface="Microsoft Sans Serif" panose="020B0604020202020204" pitchFamily="34" charset="0"/>
              </a:defRPr>
            </a:lvl4pPr>
            <a:lvl5pPr marL="2057400" indent="-228600" defTabSz="685800">
              <a:lnSpc>
                <a:spcPct val="96000"/>
              </a:lnSpc>
              <a:spcBef>
                <a:spcPts val="1350"/>
              </a:spcBef>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5pPr>
            <a:lvl6pPr marL="25146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6pPr>
            <a:lvl7pPr marL="29718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7pPr>
            <a:lvl8pPr marL="34290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8pPr>
            <a:lvl9pPr marL="3886200" indent="-228600" defTabSz="685800" eaLnBrk="0" fontAlgn="base" hangingPunct="0">
              <a:lnSpc>
                <a:spcPct val="96000"/>
              </a:lnSpc>
              <a:spcBef>
                <a:spcPts val="1350"/>
              </a:spcBef>
              <a:spcAft>
                <a:spcPct val="0"/>
              </a:spcAft>
              <a:buClr>
                <a:srgbClr val="595959"/>
              </a:buClr>
              <a:buFont typeface="Microsoft Sans Serif" panose="020B0604020202020204" pitchFamily="34" charset="0"/>
              <a:buChar char="​"/>
              <a:defRPr sz="2100">
                <a:solidFill>
                  <a:schemeClr val="tx1"/>
                </a:solidFill>
                <a:latin typeface="Microsoft Sans Serif" panose="020B0604020202020204" pitchFamily="34" charset="0"/>
              </a:defRPr>
            </a:lvl9pPr>
          </a:lstStyle>
          <a:p>
            <a:pPr eaLnBrk="1" hangingPunct="1">
              <a:lnSpc>
                <a:spcPct val="85000"/>
              </a:lnSpc>
              <a:spcBef>
                <a:spcPct val="0"/>
              </a:spcBef>
              <a:buClrTx/>
              <a:buFontTx/>
              <a:buNone/>
            </a:pPr>
            <a:r>
              <a:rPr lang="en-US" altLang="en-US" sz="800">
                <a:solidFill>
                  <a:srgbClr val="2D374A"/>
                </a:solidFill>
              </a:rPr>
              <a:t>Transparent</a:t>
            </a:r>
          </a:p>
        </p:txBody>
      </p:sp>
      <p:sp>
        <p:nvSpPr>
          <p:cNvPr id="41" name="Rectangle 12">
            <a:extLst>
              <a:ext uri="{FF2B5EF4-FFF2-40B4-BE49-F238E27FC236}">
                <a16:creationId xmlns:a16="http://schemas.microsoft.com/office/drawing/2014/main" id="{7BC950EC-E7B9-532F-F7ED-D5615E653A86}"/>
              </a:ext>
            </a:extLst>
          </p:cNvPr>
          <p:cNvSpPr>
            <a:spLocks noChangeArrowheads="1"/>
          </p:cNvSpPr>
          <p:nvPr/>
        </p:nvSpPr>
        <p:spPr bwMode="auto">
          <a:xfrm>
            <a:off x="7004051" y="2032000"/>
            <a:ext cx="1356783" cy="289984"/>
          </a:xfrm>
          <a:prstGeom prst="roundRect">
            <a:avLst/>
          </a:prstGeom>
          <a:solidFill>
            <a:schemeClr val="bg1">
              <a:lumMod val="65000"/>
            </a:schemeClr>
          </a:solidFill>
          <a:ln>
            <a:noFill/>
          </a:ln>
        </p:spPr>
        <p:txBody>
          <a:bodyPr lIns="45720" tIns="45720" rIns="45720" bIns="45720" anchor="ctr" anchorCtr="1"/>
          <a:lstStyle/>
          <a:p>
            <a:pPr defTabSz="914377">
              <a:lnSpc>
                <a:spcPct val="85000"/>
              </a:lnSpc>
              <a:defRPr/>
            </a:pPr>
            <a:r>
              <a:rPr lang="en-US" sz="1100">
                <a:solidFill>
                  <a:srgbClr val="F7F8FA"/>
                </a:solidFill>
                <a:latin typeface="Microsoft Sans Serif"/>
              </a:rPr>
              <a:t>IPTV app</a:t>
            </a:r>
          </a:p>
        </p:txBody>
      </p:sp>
      <p:cxnSp>
        <p:nvCxnSpPr>
          <p:cNvPr id="42" name="Straight Arrow Connector 41">
            <a:extLst>
              <a:ext uri="{FF2B5EF4-FFF2-40B4-BE49-F238E27FC236}">
                <a16:creationId xmlns:a16="http://schemas.microsoft.com/office/drawing/2014/main" id="{5E76E2D4-FA06-37F3-798F-FAA05885859D}"/>
              </a:ext>
            </a:extLst>
          </p:cNvPr>
          <p:cNvCxnSpPr>
            <a:cxnSpLocks/>
            <a:stCxn id="22" idx="0"/>
          </p:cNvCxnSpPr>
          <p:nvPr/>
        </p:nvCxnSpPr>
        <p:spPr>
          <a:xfrm flipH="1" flipV="1">
            <a:off x="7414684" y="5101167"/>
            <a:ext cx="0" cy="427567"/>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12">
            <a:extLst>
              <a:ext uri="{FF2B5EF4-FFF2-40B4-BE49-F238E27FC236}">
                <a16:creationId xmlns:a16="http://schemas.microsoft.com/office/drawing/2014/main" id="{29A3BDF4-6429-4131-010A-7C0974725326}"/>
              </a:ext>
            </a:extLst>
          </p:cNvPr>
          <p:cNvSpPr>
            <a:spLocks noChangeArrowheads="1"/>
          </p:cNvSpPr>
          <p:nvPr/>
        </p:nvSpPr>
        <p:spPr bwMode="auto">
          <a:xfrm>
            <a:off x="8807451" y="2029885"/>
            <a:ext cx="1354667" cy="289983"/>
          </a:xfrm>
          <a:prstGeom prst="roundRect">
            <a:avLst/>
          </a:prstGeom>
          <a:solidFill>
            <a:schemeClr val="bg1">
              <a:lumMod val="65000"/>
            </a:schemeClr>
          </a:solidFill>
          <a:ln>
            <a:noFill/>
          </a:ln>
        </p:spPr>
        <p:txBody>
          <a:bodyPr lIns="45720" tIns="45720" rIns="45720" bIns="45720" anchor="ctr" anchorCtr="1"/>
          <a:lstStyle/>
          <a:p>
            <a:pPr defTabSz="914377">
              <a:lnSpc>
                <a:spcPct val="85000"/>
              </a:lnSpc>
              <a:defRPr/>
            </a:pPr>
            <a:r>
              <a:rPr lang="en-US" sz="1100">
                <a:solidFill>
                  <a:srgbClr val="F7F8FA"/>
                </a:solidFill>
                <a:latin typeface="Microsoft Sans Serif"/>
              </a:rPr>
              <a:t>Service Discovery</a:t>
            </a:r>
          </a:p>
        </p:txBody>
      </p:sp>
      <p:sp>
        <p:nvSpPr>
          <p:cNvPr id="44" name="Rectangle 12">
            <a:extLst>
              <a:ext uri="{FF2B5EF4-FFF2-40B4-BE49-F238E27FC236}">
                <a16:creationId xmlns:a16="http://schemas.microsoft.com/office/drawing/2014/main" id="{577E938F-5D99-6447-1546-C11E04E08C87}"/>
              </a:ext>
            </a:extLst>
          </p:cNvPr>
          <p:cNvSpPr>
            <a:spLocks noChangeArrowheads="1"/>
          </p:cNvSpPr>
          <p:nvPr/>
        </p:nvSpPr>
        <p:spPr bwMode="auto">
          <a:xfrm>
            <a:off x="727655" y="6260286"/>
            <a:ext cx="2813691"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anchor="ctr"/>
          <a:lstStyle/>
          <a:p>
            <a:pPr algn="ctr" defTabSz="914377">
              <a:lnSpc>
                <a:spcPct val="85000"/>
              </a:lnSpc>
              <a:defRPr/>
            </a:pPr>
            <a:r>
              <a:rPr lang="en-US" sz="1100" dirty="0">
                <a:solidFill>
                  <a:srgbClr val="13171F"/>
                </a:solidFill>
              </a:rPr>
              <a:t>NR/LTE/</a:t>
            </a:r>
            <a:r>
              <a:rPr lang="en-US" sz="1100" dirty="0" err="1">
                <a:solidFill>
                  <a:srgbClr val="13171F"/>
                </a:solidFill>
              </a:rPr>
              <a:t>WiFi</a:t>
            </a:r>
            <a:endParaRPr lang="en-US" sz="1100" dirty="0">
              <a:solidFill>
                <a:srgbClr val="13171F"/>
              </a:solidFill>
            </a:endParaRPr>
          </a:p>
        </p:txBody>
      </p:sp>
      <p:sp>
        <p:nvSpPr>
          <p:cNvPr id="45" name="Rectangle 12">
            <a:extLst>
              <a:ext uri="{FF2B5EF4-FFF2-40B4-BE49-F238E27FC236}">
                <a16:creationId xmlns:a16="http://schemas.microsoft.com/office/drawing/2014/main" id="{D3D5F88F-094B-6D62-A6D9-944C64BDD70F}"/>
              </a:ext>
            </a:extLst>
          </p:cNvPr>
          <p:cNvSpPr>
            <a:spLocks noChangeArrowheads="1"/>
          </p:cNvSpPr>
          <p:nvPr/>
        </p:nvSpPr>
        <p:spPr bwMode="auto">
          <a:xfrm>
            <a:off x="2038351" y="5528733"/>
            <a:ext cx="960967" cy="366184"/>
          </a:xfrm>
          <a:prstGeom prst="roundRect">
            <a:avLst/>
          </a:prstGeom>
          <a:solidFill>
            <a:srgbClr val="FFFF00"/>
          </a:solidFill>
          <a:ln>
            <a:noFill/>
          </a:ln>
        </p:spPr>
        <p:txBody>
          <a:bodyPr lIns="34295" tIns="34295" rIns="34295" bIns="34295" anchor="ctr" anchorCtr="1"/>
          <a:lstStyle/>
          <a:p>
            <a:pPr algn="ctr" defTabSz="914377">
              <a:lnSpc>
                <a:spcPct val="85000"/>
              </a:lnSpc>
              <a:defRPr/>
            </a:pPr>
            <a:r>
              <a:rPr lang="en-US" sz="900" dirty="0">
                <a:solidFill>
                  <a:srgbClr val="13171F"/>
                </a:solidFill>
                <a:latin typeface="Microsoft Sans Serif"/>
              </a:rPr>
              <a:t>IP Stack</a:t>
            </a:r>
            <a:br>
              <a:rPr lang="en-US" sz="900" dirty="0">
                <a:solidFill>
                  <a:srgbClr val="13171F"/>
                </a:solidFill>
                <a:latin typeface="Microsoft Sans Serif"/>
              </a:rPr>
            </a:br>
            <a:r>
              <a:rPr lang="en-US" sz="900" dirty="0">
                <a:solidFill>
                  <a:srgbClr val="13171F"/>
                </a:solidFill>
                <a:latin typeface="Microsoft Sans Serif"/>
              </a:rPr>
              <a:t>(unicast)</a:t>
            </a:r>
          </a:p>
        </p:txBody>
      </p:sp>
      <p:cxnSp>
        <p:nvCxnSpPr>
          <p:cNvPr id="46" name="Straight Arrow Connector 45">
            <a:extLst>
              <a:ext uri="{FF2B5EF4-FFF2-40B4-BE49-F238E27FC236}">
                <a16:creationId xmlns:a16="http://schemas.microsoft.com/office/drawing/2014/main" id="{54D8F0CD-2F57-2B7D-1339-484528EF524C}"/>
              </a:ext>
            </a:extLst>
          </p:cNvPr>
          <p:cNvCxnSpPr>
            <a:cxnSpLocks/>
            <a:endCxn id="45" idx="2"/>
          </p:cNvCxnSpPr>
          <p:nvPr/>
        </p:nvCxnSpPr>
        <p:spPr>
          <a:xfrm flipV="1">
            <a:off x="2518833" y="5894918"/>
            <a:ext cx="0" cy="3661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C82D9F9-81A4-084A-5400-6B185BAB3E7C}"/>
              </a:ext>
            </a:extLst>
          </p:cNvPr>
          <p:cNvCxnSpPr>
            <a:cxnSpLocks/>
            <a:stCxn id="45" idx="0"/>
            <a:endCxn id="21" idx="2"/>
          </p:cNvCxnSpPr>
          <p:nvPr/>
        </p:nvCxnSpPr>
        <p:spPr>
          <a:xfrm flipH="1" flipV="1">
            <a:off x="2510367" y="4794251"/>
            <a:ext cx="8467" cy="734483"/>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0ADD017-AA57-EF2B-DF8B-D437025E660B}"/>
              </a:ext>
            </a:extLst>
          </p:cNvPr>
          <p:cNvCxnSpPr>
            <a:cxnSpLocks/>
            <a:stCxn id="9" idx="2"/>
            <a:endCxn id="45" idx="3"/>
          </p:cNvCxnSpPr>
          <p:nvPr/>
        </p:nvCxnSpPr>
        <p:spPr>
          <a:xfrm rot="5400000">
            <a:off x="4655609" y="3605742"/>
            <a:ext cx="450851" cy="3763433"/>
          </a:xfrm>
          <a:prstGeom prst="bentConnector2">
            <a:avLst/>
          </a:prstGeom>
          <a:ln w="38100" cap="rnd">
            <a:solidFill>
              <a:schemeClr val="bg2">
                <a:lumMod val="75000"/>
              </a:schemeClr>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C3C92557-8598-9426-EAA0-B720F07959A1}"/>
              </a:ext>
            </a:extLst>
          </p:cNvPr>
          <p:cNvCxnSpPr>
            <a:cxnSpLocks/>
            <a:stCxn id="19" idx="1"/>
            <a:endCxn id="45" idx="1"/>
          </p:cNvCxnSpPr>
          <p:nvPr/>
        </p:nvCxnSpPr>
        <p:spPr>
          <a:xfrm rot="10800000" flipV="1">
            <a:off x="2038352" y="3566585"/>
            <a:ext cx="19049" cy="2144183"/>
          </a:xfrm>
          <a:prstGeom prst="bentConnector3">
            <a:avLst>
              <a:gd name="adj1" fmla="val 1700056"/>
            </a:avLst>
          </a:prstGeom>
          <a:ln w="38100" cap="rnd">
            <a:solidFill>
              <a:schemeClr val="bg2">
                <a:lumMod val="75000"/>
              </a:schemeClr>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1804938-7A5C-1A22-A0D4-D5857A008E9D}"/>
              </a:ext>
            </a:extLst>
          </p:cNvPr>
          <p:cNvCxnSpPr>
            <a:cxnSpLocks/>
            <a:stCxn id="6" idx="1"/>
            <a:endCxn id="45" idx="1"/>
          </p:cNvCxnSpPr>
          <p:nvPr/>
        </p:nvCxnSpPr>
        <p:spPr>
          <a:xfrm rot="10800000" flipV="1">
            <a:off x="2038351" y="2156884"/>
            <a:ext cx="93133" cy="3556000"/>
          </a:xfrm>
          <a:prstGeom prst="bentConnector3">
            <a:avLst>
              <a:gd name="adj1" fmla="val 881928"/>
            </a:avLst>
          </a:prstGeom>
          <a:ln w="38100" cap="rnd">
            <a:solidFill>
              <a:schemeClr val="bg2">
                <a:lumMod val="75000"/>
              </a:schemeClr>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91A2C373-804D-0B12-4307-B7A6CFEF57A9}"/>
              </a:ext>
            </a:extLst>
          </p:cNvPr>
          <p:cNvSpPr>
            <a:spLocks noGrp="1" noChangeArrowheads="1"/>
          </p:cNvSpPr>
          <p:nvPr>
            <p:ph sz="quarter" idx="14"/>
          </p:nvPr>
        </p:nvSpPr>
        <p:spPr>
          <a:xfrm>
            <a:off x="8332259" y="1952233"/>
            <a:ext cx="3896706" cy="3511550"/>
          </a:xfrm>
          <a:solidFill>
            <a:srgbClr val="FFFF00"/>
          </a:solidFill>
        </p:spPr>
        <p:txBody>
          <a:bodyPr>
            <a:normAutofit fontScale="85000" lnSpcReduction="10000"/>
          </a:bodyPr>
          <a:lstStyle/>
          <a:p>
            <a:pPr marL="0" indent="0">
              <a:lnSpc>
                <a:spcPct val="120000"/>
              </a:lnSpc>
              <a:spcBef>
                <a:spcPct val="0"/>
              </a:spcBef>
              <a:buNone/>
              <a:defRPr/>
            </a:pPr>
            <a:r>
              <a:rPr lang="en-US" altLang="en-US" sz="1800" b="1" dirty="0">
                <a:solidFill>
                  <a:schemeClr val="bg2"/>
                </a:solidFill>
              </a:rPr>
              <a:t>Work in Progress</a:t>
            </a:r>
          </a:p>
          <a:p>
            <a:pPr>
              <a:lnSpc>
                <a:spcPct val="120000"/>
              </a:lnSpc>
              <a:spcBef>
                <a:spcPct val="0"/>
              </a:spcBef>
              <a:defRPr/>
            </a:pPr>
            <a:r>
              <a:rPr lang="en-US" altLang="en-US" sz="1800" b="1" dirty="0">
                <a:solidFill>
                  <a:schemeClr val="bg2"/>
                </a:solidFill>
              </a:rPr>
              <a:t>Broadcast only playback</a:t>
            </a:r>
          </a:p>
          <a:p>
            <a:pPr>
              <a:lnSpc>
                <a:spcPct val="120000"/>
              </a:lnSpc>
              <a:spcBef>
                <a:spcPct val="0"/>
              </a:spcBef>
              <a:defRPr/>
            </a:pPr>
            <a:r>
              <a:rPr lang="en-US" altLang="en-US" sz="1800" dirty="0"/>
              <a:t>DASH and HLS Support</a:t>
            </a:r>
          </a:p>
          <a:p>
            <a:pPr>
              <a:lnSpc>
                <a:spcPct val="120000"/>
              </a:lnSpc>
              <a:spcBef>
                <a:spcPct val="0"/>
              </a:spcBef>
              <a:defRPr/>
            </a:pPr>
            <a:r>
              <a:rPr lang="en-US" altLang="en-US" sz="1800" dirty="0"/>
              <a:t>Broadcast-unicast seamless switching</a:t>
            </a:r>
          </a:p>
          <a:p>
            <a:pPr>
              <a:lnSpc>
                <a:spcPct val="120000"/>
              </a:lnSpc>
              <a:spcBef>
                <a:spcPct val="0"/>
              </a:spcBef>
              <a:defRPr/>
            </a:pPr>
            <a:r>
              <a:rPr lang="en-US" altLang="en-US" sz="1800" dirty="0"/>
              <a:t>In-session repair</a:t>
            </a:r>
          </a:p>
          <a:p>
            <a:pPr>
              <a:lnSpc>
                <a:spcPct val="120000"/>
              </a:lnSpc>
              <a:spcBef>
                <a:spcPct val="0"/>
              </a:spcBef>
              <a:defRPr/>
            </a:pPr>
            <a:r>
              <a:rPr lang="en-US" altLang="en-US" sz="1800" dirty="0"/>
              <a:t>HTTPS support on local interface </a:t>
            </a:r>
          </a:p>
          <a:p>
            <a:pPr>
              <a:lnSpc>
                <a:spcPct val="120000"/>
              </a:lnSpc>
              <a:spcBef>
                <a:spcPct val="0"/>
              </a:spcBef>
              <a:defRPr/>
            </a:pPr>
            <a:r>
              <a:rPr lang="en-US" altLang="en-US" sz="1800" dirty="0"/>
              <a:t>DRM Support</a:t>
            </a:r>
          </a:p>
          <a:p>
            <a:pPr>
              <a:lnSpc>
                <a:spcPct val="120000"/>
              </a:lnSpc>
              <a:spcBef>
                <a:spcPct val="0"/>
              </a:spcBef>
              <a:defRPr/>
            </a:pPr>
            <a:r>
              <a:rPr lang="en-US" altLang="en-US" sz="1800" dirty="0"/>
              <a:t>Metrics/CMCD reporting</a:t>
            </a:r>
          </a:p>
          <a:p>
            <a:pPr>
              <a:lnSpc>
                <a:spcPct val="120000"/>
              </a:lnSpc>
              <a:spcBef>
                <a:spcPct val="0"/>
              </a:spcBef>
              <a:defRPr/>
            </a:pPr>
            <a:r>
              <a:rPr lang="en-US" altLang="en-US" sz="1800" dirty="0"/>
              <a:t>Ad Insertion</a:t>
            </a:r>
          </a:p>
          <a:p>
            <a:pPr>
              <a:lnSpc>
                <a:spcPct val="120000"/>
              </a:lnSpc>
              <a:spcBef>
                <a:spcPct val="0"/>
              </a:spcBef>
              <a:defRPr/>
            </a:pPr>
            <a:r>
              <a:rPr lang="en-US" altLang="en-US" sz="1800" dirty="0"/>
              <a:t>Lower Latency </a:t>
            </a:r>
          </a:p>
          <a:p>
            <a:pPr>
              <a:lnSpc>
                <a:spcPct val="120000"/>
              </a:lnSpc>
              <a:spcBef>
                <a:spcPct val="0"/>
              </a:spcBef>
              <a:defRPr/>
            </a:pPr>
            <a:r>
              <a:rPr lang="en-US" altLang="en-US" sz="1800" dirty="0"/>
              <a:t>Immersive Content </a:t>
            </a:r>
          </a:p>
          <a:p>
            <a:pPr>
              <a:lnSpc>
                <a:spcPct val="120000"/>
              </a:lnSpc>
              <a:spcBef>
                <a:spcPct val="0"/>
              </a:spcBef>
              <a:defRPr/>
            </a:pPr>
            <a:r>
              <a:rPr lang="en-US" altLang="en-US" sz="1800" dirty="0"/>
              <a:t>A/B Watermarking</a:t>
            </a:r>
          </a:p>
          <a:p>
            <a:pPr>
              <a:defRPr/>
            </a:pPr>
            <a:endParaRPr lang="en-US" altLang="en-US" dirty="0"/>
          </a:p>
        </p:txBody>
      </p:sp>
    </p:spTree>
    <p:extLst>
      <p:ext uri="{BB962C8B-B14F-4D97-AF65-F5344CB8AC3E}">
        <p14:creationId xmlns:p14="http://schemas.microsoft.com/office/powerpoint/2010/main" val="94662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6C406EC-B444-45C6-A604-6DF7C969AAF2}"/>
              </a:ext>
            </a:extLst>
          </p:cNvPr>
          <p:cNvSpPr>
            <a:spLocks noGrp="1"/>
          </p:cNvSpPr>
          <p:nvPr>
            <p:ph type="title"/>
          </p:nvPr>
        </p:nvSpPr>
        <p:spPr>
          <a:xfrm>
            <a:off x="495300" y="565125"/>
            <a:ext cx="11187112" cy="439479"/>
          </a:xfrm>
        </p:spPr>
        <p:txBody>
          <a:bodyPr/>
          <a:lstStyle/>
          <a:p>
            <a:r>
              <a:rPr lang="de-DE"/>
              <a:t>DVB-I via 5G Broadcast</a:t>
            </a:r>
            <a:endParaRPr lang="en-US"/>
          </a:p>
        </p:txBody>
      </p:sp>
      <p:sp>
        <p:nvSpPr>
          <p:cNvPr id="10" name="Content Placeholder 9">
            <a:extLst>
              <a:ext uri="{FF2B5EF4-FFF2-40B4-BE49-F238E27FC236}">
                <a16:creationId xmlns:a16="http://schemas.microsoft.com/office/drawing/2014/main" id="{A54E871A-0475-44E0-919E-F777E665FF3F}"/>
              </a:ext>
            </a:extLst>
          </p:cNvPr>
          <p:cNvSpPr>
            <a:spLocks noGrp="1"/>
          </p:cNvSpPr>
          <p:nvPr>
            <p:ph sz="quarter" idx="14"/>
          </p:nvPr>
        </p:nvSpPr>
        <p:spPr>
          <a:xfrm>
            <a:off x="495300" y="1719072"/>
            <a:ext cx="4473661" cy="4681727"/>
          </a:xfrm>
        </p:spPr>
        <p:txBody>
          <a:bodyPr>
            <a:normAutofit/>
          </a:bodyPr>
          <a:lstStyle/>
          <a:p>
            <a:r>
              <a:rPr lang="de-DE"/>
              <a:t>Using MBMS/5G Broadcast Reference Points and APIs</a:t>
            </a:r>
          </a:p>
          <a:p>
            <a:r>
              <a:rPr lang="de-DE"/>
              <a:t>Different options are considered</a:t>
            </a:r>
          </a:p>
          <a:p>
            <a:pPr lvl="1"/>
            <a:r>
              <a:rPr lang="de-DE"/>
              <a:t>Using file download services for carouselling metadata</a:t>
            </a:r>
          </a:p>
          <a:p>
            <a:pPr lvl="1"/>
            <a:r>
              <a:rPr lang="de-DE"/>
              <a:t>Using segment streaming for DVB-DASH</a:t>
            </a:r>
          </a:p>
          <a:p>
            <a:pPr lvl="1"/>
            <a:r>
              <a:rPr lang="de-DE"/>
              <a:t>Using transparent mode for DVB-I multicast distribution</a:t>
            </a:r>
          </a:p>
          <a:p>
            <a:r>
              <a:rPr lang="de-DE"/>
              <a:t>Combinations with unicast, hybrid services also under development</a:t>
            </a:r>
          </a:p>
          <a:p>
            <a:r>
              <a:rPr lang="de-DE"/>
              <a:t>See details in ETSI TR 103 972</a:t>
            </a:r>
          </a:p>
          <a:p>
            <a:r>
              <a:rPr lang="de-DE"/>
              <a:t>Expected to be supported by reference tools</a:t>
            </a:r>
          </a:p>
          <a:p>
            <a:pPr marL="0" indent="0">
              <a:buNone/>
            </a:pPr>
            <a:endParaRPr lang="en-US"/>
          </a:p>
        </p:txBody>
      </p:sp>
      <p:sp>
        <p:nvSpPr>
          <p:cNvPr id="9" name="Subtitle 8">
            <a:extLst>
              <a:ext uri="{FF2B5EF4-FFF2-40B4-BE49-F238E27FC236}">
                <a16:creationId xmlns:a16="http://schemas.microsoft.com/office/drawing/2014/main" id="{A4AABA93-2931-4750-A31A-EB622F6B40DD}"/>
              </a:ext>
            </a:extLst>
          </p:cNvPr>
          <p:cNvSpPr>
            <a:spLocks noGrp="1"/>
          </p:cNvSpPr>
          <p:nvPr>
            <p:ph type="subTitle" idx="1"/>
          </p:nvPr>
        </p:nvSpPr>
        <p:spPr/>
        <p:txBody>
          <a:bodyPr/>
          <a:lstStyle/>
          <a:p>
            <a:r>
              <a:rPr lang="de-DE"/>
              <a:t>Joint DVB/5G-MAG task force</a:t>
            </a:r>
            <a:endParaRPr lang="en-US"/>
          </a:p>
        </p:txBody>
      </p:sp>
      <p:sp>
        <p:nvSpPr>
          <p:cNvPr id="5" name="Footer Placeholder 4">
            <a:extLst>
              <a:ext uri="{FF2B5EF4-FFF2-40B4-BE49-F238E27FC236}">
                <a16:creationId xmlns:a16="http://schemas.microsoft.com/office/drawing/2014/main" id="{1B9D8B69-C19D-4904-89FB-340664514356}"/>
              </a:ext>
            </a:extLst>
          </p:cNvPr>
          <p:cNvSpPr>
            <a:spLocks noGrp="1"/>
          </p:cNvSpPr>
          <p:nvPr>
            <p:ph type="ftr" sz="quarter" idx="3"/>
          </p:nvPr>
        </p:nvSpPr>
        <p:spPr>
          <a:xfrm>
            <a:off x="495299" y="6531676"/>
            <a:ext cx="5954053"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5G Broadcast Conference</a:t>
            </a:r>
          </a:p>
        </p:txBody>
      </p:sp>
      <p:graphicFrame>
        <p:nvGraphicFramePr>
          <p:cNvPr id="11" name="Object 10">
            <a:extLst>
              <a:ext uri="{FF2B5EF4-FFF2-40B4-BE49-F238E27FC236}">
                <a16:creationId xmlns:a16="http://schemas.microsoft.com/office/drawing/2014/main" id="{2987FA17-AF7C-AD0D-A06D-3FB127A349BB}"/>
              </a:ext>
            </a:extLst>
          </p:cNvPr>
          <p:cNvGraphicFramePr>
            <a:graphicFrameLocks noChangeAspect="1"/>
          </p:cNvGraphicFramePr>
          <p:nvPr/>
        </p:nvGraphicFramePr>
        <p:xfrm>
          <a:off x="5145938" y="636774"/>
          <a:ext cx="7201905" cy="5764025"/>
        </p:xfrm>
        <a:graphic>
          <a:graphicData uri="http://schemas.openxmlformats.org/presentationml/2006/ole">
            <mc:AlternateContent xmlns:mc="http://schemas.openxmlformats.org/markup-compatibility/2006">
              <mc:Choice xmlns:v="urn:schemas-microsoft-com:vml" Requires="v">
                <p:oleObj name="Visio" r:id="rId2" imgW="8515559" imgH="6886857" progId="Visio.Drawing.15">
                  <p:embed/>
                </p:oleObj>
              </mc:Choice>
              <mc:Fallback>
                <p:oleObj name="Visio" r:id="rId2" imgW="8515559" imgH="6886857" progId="Visio.Drawing.15">
                  <p:embed/>
                  <p:pic>
                    <p:nvPicPr>
                      <p:cNvPr id="11" name="Object 10">
                        <a:extLst>
                          <a:ext uri="{FF2B5EF4-FFF2-40B4-BE49-F238E27FC236}">
                            <a16:creationId xmlns:a16="http://schemas.microsoft.com/office/drawing/2014/main" id="{2987FA17-AF7C-AD0D-A06D-3FB127A349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5938" y="636774"/>
                        <a:ext cx="7201905" cy="5764025"/>
                      </a:xfrm>
                      <a:prstGeom prst="rect">
                        <a:avLst/>
                      </a:prstGeom>
                      <a:noFill/>
                    </p:spPr>
                  </p:pic>
                </p:oleObj>
              </mc:Fallback>
            </mc:AlternateContent>
          </a:graphicData>
        </a:graphic>
      </p:graphicFrame>
      <p:pic>
        <p:nvPicPr>
          <p:cNvPr id="2" name="Picture 1" descr="DVB-logo.png">
            <a:extLst>
              <a:ext uri="{FF2B5EF4-FFF2-40B4-BE49-F238E27FC236}">
                <a16:creationId xmlns:a16="http://schemas.microsoft.com/office/drawing/2014/main" id="{910D5D61-80B9-D16D-DDD3-4553B3E383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2848" y="2273240"/>
            <a:ext cx="1671108" cy="71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5G-MAG : MEDIA + ICT + COLLABORATION">
            <a:extLst>
              <a:ext uri="{FF2B5EF4-FFF2-40B4-BE49-F238E27FC236}">
                <a16:creationId xmlns:a16="http://schemas.microsoft.com/office/drawing/2014/main" id="{2EAC9D99-FFEB-3386-7989-9235B91AD1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005" y="5360440"/>
            <a:ext cx="731039" cy="731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3FC5C7EC-726F-D972-269F-B9F343B28DB2}"/>
              </a:ext>
            </a:extLst>
          </p:cNvPr>
          <p:cNvPicPr>
            <a:picLocks noChangeAspect="1"/>
          </p:cNvPicPr>
          <p:nvPr/>
        </p:nvPicPr>
        <p:blipFill>
          <a:blip r:embed="rId6"/>
          <a:stretch>
            <a:fillRect/>
          </a:stretch>
        </p:blipFill>
        <p:spPr>
          <a:xfrm>
            <a:off x="5760625" y="247473"/>
            <a:ext cx="6010275" cy="2743200"/>
          </a:xfrm>
          <a:prstGeom prst="rect">
            <a:avLst/>
          </a:prstGeom>
        </p:spPr>
      </p:pic>
      <p:pic>
        <p:nvPicPr>
          <p:cNvPr id="4" name="Picture 3">
            <a:extLst>
              <a:ext uri="{FF2B5EF4-FFF2-40B4-BE49-F238E27FC236}">
                <a16:creationId xmlns:a16="http://schemas.microsoft.com/office/drawing/2014/main" id="{60921DF7-8685-AED3-B002-D7D68879813C}"/>
              </a:ext>
            </a:extLst>
          </p:cNvPr>
          <p:cNvPicPr>
            <a:picLocks noChangeAspect="1"/>
          </p:cNvPicPr>
          <p:nvPr/>
        </p:nvPicPr>
        <p:blipFill>
          <a:blip r:embed="rId7"/>
          <a:stretch>
            <a:fillRect/>
          </a:stretch>
        </p:blipFill>
        <p:spPr>
          <a:xfrm>
            <a:off x="6356173" y="3333366"/>
            <a:ext cx="5082791" cy="3316484"/>
          </a:xfrm>
          <a:prstGeom prst="rect">
            <a:avLst/>
          </a:prstGeom>
        </p:spPr>
      </p:pic>
    </p:spTree>
    <p:extLst>
      <p:ext uri="{BB962C8B-B14F-4D97-AF65-F5344CB8AC3E}">
        <p14:creationId xmlns:p14="http://schemas.microsoft.com/office/powerpoint/2010/main" val="296950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3rd Generation Partnership Project 3GPP Logo PNG Vector (AI) Free Download">
            <a:extLst>
              <a:ext uri="{FF2B5EF4-FFF2-40B4-BE49-F238E27FC236}">
                <a16:creationId xmlns:a16="http://schemas.microsoft.com/office/drawing/2014/main" id="{62C8DFD2-412A-68B2-D671-1D0F4AE3942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4005" y="735262"/>
            <a:ext cx="4539344" cy="23755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5E36DB25-C9EB-715C-C6D8-9026C8471432}"/>
              </a:ext>
            </a:extLst>
          </p:cNvPr>
          <p:cNvGraphicFramePr/>
          <p:nvPr/>
        </p:nvGraphicFramePr>
        <p:xfrm>
          <a:off x="6184345" y="529603"/>
          <a:ext cx="6095999" cy="5798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98988837-6345-B622-05B7-B852612F4F97}"/>
              </a:ext>
            </a:extLst>
          </p:cNvPr>
          <p:cNvGraphicFramePr/>
          <p:nvPr/>
        </p:nvGraphicFramePr>
        <p:xfrm>
          <a:off x="338262" y="3401740"/>
          <a:ext cx="5480316" cy="33110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Footer Placeholder 3">
            <a:extLst>
              <a:ext uri="{FF2B5EF4-FFF2-40B4-BE49-F238E27FC236}">
                <a16:creationId xmlns:a16="http://schemas.microsoft.com/office/drawing/2014/main" id="{40058959-1EE1-C44D-42ED-C56047BE4BC6}"/>
              </a:ext>
            </a:extLst>
          </p:cNvPr>
          <p:cNvSpPr>
            <a:spLocks noGrp="1"/>
          </p:cNvSpPr>
          <p:nvPr>
            <p:ph type="ftr" sz="quarter" idx="3"/>
          </p:nvPr>
        </p:nvSpPr>
        <p:spPr/>
        <p:txBody>
          <a:bodyPr/>
          <a:lstStyle/>
          <a:p>
            <a:r>
              <a:rPr lang="en-US"/>
              <a:t>5G Broadcast Conference</a:t>
            </a:r>
            <a:endParaRPr lang="en-US" dirty="0"/>
          </a:p>
        </p:txBody>
      </p:sp>
    </p:spTree>
    <p:extLst>
      <p:ext uri="{BB962C8B-B14F-4D97-AF65-F5344CB8AC3E}">
        <p14:creationId xmlns:p14="http://schemas.microsoft.com/office/powerpoint/2010/main" val="116173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AD719-DE3A-26E1-6999-75A9BADA37E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3D4DB32-DA8C-5AE8-3745-891931759ED5}"/>
              </a:ext>
            </a:extLst>
          </p:cNvPr>
          <p:cNvSpPr/>
          <p:nvPr/>
        </p:nvSpPr>
        <p:spPr>
          <a:xfrm>
            <a:off x="461470" y="1324482"/>
            <a:ext cx="5107049" cy="34832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5" name="Rectangle 34">
            <a:extLst>
              <a:ext uri="{FF2B5EF4-FFF2-40B4-BE49-F238E27FC236}">
                <a16:creationId xmlns:a16="http://schemas.microsoft.com/office/drawing/2014/main" id="{CB3B31D8-EB21-5C74-365A-F216337569C4}"/>
              </a:ext>
            </a:extLst>
          </p:cNvPr>
          <p:cNvSpPr/>
          <p:nvPr/>
        </p:nvSpPr>
        <p:spPr>
          <a:xfrm>
            <a:off x="9968758" y="2138476"/>
            <a:ext cx="1713654" cy="280841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t"/>
          <a:lstStyle/>
          <a:p>
            <a:pPr algn="ctr" defTabSz="685800">
              <a:lnSpc>
                <a:spcPct val="96000"/>
              </a:lnSpc>
            </a:pPr>
            <a:r>
              <a:rPr lang="en-US" sz="1350" dirty="0">
                <a:solidFill>
                  <a:srgbClr val="F7F8FA"/>
                </a:solidFill>
                <a:cs typeface="Microsoft Sans Serif" panose="020B0604020202020204" pitchFamily="34" charset="0"/>
              </a:rPr>
              <a:t>Application</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Providers</a:t>
            </a:r>
          </a:p>
        </p:txBody>
      </p:sp>
      <p:sp>
        <p:nvSpPr>
          <p:cNvPr id="2" name="Footer Placeholder 1">
            <a:extLst>
              <a:ext uri="{FF2B5EF4-FFF2-40B4-BE49-F238E27FC236}">
                <a16:creationId xmlns:a16="http://schemas.microsoft.com/office/drawing/2014/main" id="{B74F76C5-C07A-B2D9-0AE6-4B7A9C85D679}"/>
              </a:ext>
            </a:extLst>
          </p:cNvPr>
          <p:cNvSpPr>
            <a:spLocks noGrp="1"/>
          </p:cNvSpPr>
          <p:nvPr>
            <p:ph type="ftr" sz="quarter" idx="10"/>
          </p:nvPr>
        </p:nvSpPr>
        <p:spPr/>
        <p:txBody>
          <a:bodyPr/>
          <a:lstStyle/>
          <a:p>
            <a:r>
              <a:rPr lang="en-US"/>
              <a:t>5G Broadcast Conference</a:t>
            </a:r>
            <a:endParaRPr lang="en-US" dirty="0"/>
          </a:p>
        </p:txBody>
      </p:sp>
      <p:sp>
        <p:nvSpPr>
          <p:cNvPr id="3" name="Title 2">
            <a:extLst>
              <a:ext uri="{FF2B5EF4-FFF2-40B4-BE49-F238E27FC236}">
                <a16:creationId xmlns:a16="http://schemas.microsoft.com/office/drawing/2014/main" id="{38CBEA8F-FCC5-2339-B8B0-BA85433E64E8}"/>
              </a:ext>
            </a:extLst>
          </p:cNvPr>
          <p:cNvSpPr>
            <a:spLocks noGrp="1"/>
          </p:cNvSpPr>
          <p:nvPr>
            <p:ph type="title"/>
          </p:nvPr>
        </p:nvSpPr>
        <p:spPr>
          <a:xfrm>
            <a:off x="495300" y="642644"/>
            <a:ext cx="11187112" cy="361959"/>
          </a:xfrm>
        </p:spPr>
        <p:txBody>
          <a:bodyPr/>
          <a:lstStyle/>
          <a:p>
            <a:r>
              <a:rPr lang="en-US" dirty="0"/>
              <a:t>Unicast Broadcast Combinations</a:t>
            </a:r>
          </a:p>
        </p:txBody>
      </p:sp>
      <p:sp>
        <p:nvSpPr>
          <p:cNvPr id="39" name="Content Placeholder 38">
            <a:extLst>
              <a:ext uri="{FF2B5EF4-FFF2-40B4-BE49-F238E27FC236}">
                <a16:creationId xmlns:a16="http://schemas.microsoft.com/office/drawing/2014/main" id="{89DBAD8F-B0A3-8738-46B6-991609DCE647}"/>
              </a:ext>
            </a:extLst>
          </p:cNvPr>
          <p:cNvSpPr>
            <a:spLocks noGrp="1"/>
          </p:cNvSpPr>
          <p:nvPr>
            <p:ph sz="quarter" idx="14"/>
          </p:nvPr>
        </p:nvSpPr>
        <p:spPr>
          <a:xfrm>
            <a:off x="495300" y="4860409"/>
            <a:ext cx="11187112" cy="1540389"/>
          </a:xfrm>
        </p:spPr>
        <p:txBody>
          <a:bodyPr>
            <a:normAutofit fontScale="77500" lnSpcReduction="20000"/>
          </a:bodyPr>
          <a:lstStyle/>
          <a:p>
            <a:r>
              <a:rPr lang="en-US" dirty="0"/>
              <a:t>The selective requests may combine information in </a:t>
            </a:r>
          </a:p>
          <a:p>
            <a:pPr lvl="1"/>
            <a:r>
              <a:rPr lang="en-US" dirty="0"/>
              <a:t>http headers, query strings, or based on a pattern in the request URL </a:t>
            </a:r>
          </a:p>
          <a:p>
            <a:pPr lvl="1"/>
            <a:r>
              <a:rPr lang="en-US" dirty="0"/>
              <a:t>With information provided in the configuration information, for example a filter when to issue unicast requests</a:t>
            </a:r>
          </a:p>
          <a:p>
            <a:pPr lvl="1"/>
            <a:r>
              <a:rPr lang="en-US" dirty="0"/>
              <a:t>Unicast requests may also be issued based on certain randomization</a:t>
            </a:r>
          </a:p>
          <a:p>
            <a:r>
              <a:rPr lang="en-US" dirty="0"/>
              <a:t>The selective requests may be forwarded as is, or may be modified by the MC/BC client</a:t>
            </a:r>
          </a:p>
          <a:p>
            <a:r>
              <a:rPr lang="en-US" dirty="0"/>
              <a:t>The configuration needs to take into account the ability to scale the unicast traffic</a:t>
            </a:r>
          </a:p>
        </p:txBody>
      </p:sp>
      <p:sp>
        <p:nvSpPr>
          <p:cNvPr id="5" name="Subtitle 4">
            <a:extLst>
              <a:ext uri="{FF2B5EF4-FFF2-40B4-BE49-F238E27FC236}">
                <a16:creationId xmlns:a16="http://schemas.microsoft.com/office/drawing/2014/main" id="{15C80EB1-51D0-22D6-330B-EE7335A72CC9}"/>
              </a:ext>
            </a:extLst>
          </p:cNvPr>
          <p:cNvSpPr>
            <a:spLocks noGrp="1"/>
          </p:cNvSpPr>
          <p:nvPr>
            <p:ph type="subTitle" idx="1"/>
          </p:nvPr>
        </p:nvSpPr>
        <p:spPr>
          <a:xfrm>
            <a:off x="494189" y="1088135"/>
            <a:ext cx="11188223" cy="236347"/>
          </a:xfrm>
        </p:spPr>
        <p:txBody>
          <a:bodyPr/>
          <a:lstStyle/>
          <a:p>
            <a:r>
              <a:rPr lang="de-DE" dirty="0"/>
              <a:t>The MC/BC </a:t>
            </a:r>
            <a:r>
              <a:rPr lang="de-DE" dirty="0" err="1"/>
              <a:t>client</a:t>
            </a:r>
            <a:r>
              <a:rPr lang="de-DE" dirty="0"/>
              <a:t> </a:t>
            </a:r>
            <a:r>
              <a:rPr lang="de-DE" dirty="0" err="1"/>
              <a:t>issues</a:t>
            </a:r>
            <a:r>
              <a:rPr lang="de-DE" dirty="0"/>
              <a:t> </a:t>
            </a:r>
            <a:r>
              <a:rPr lang="de-DE" dirty="0" err="1"/>
              <a:t>selective</a:t>
            </a:r>
            <a:r>
              <a:rPr lang="de-DE" dirty="0"/>
              <a:t> </a:t>
            </a:r>
            <a:r>
              <a:rPr lang="de-DE" dirty="0" err="1"/>
              <a:t>requests</a:t>
            </a:r>
            <a:r>
              <a:rPr lang="de-DE" dirty="0"/>
              <a:t> </a:t>
            </a:r>
            <a:r>
              <a:rPr lang="de-DE" dirty="0" err="1"/>
              <a:t>for</a:t>
            </a:r>
            <a:r>
              <a:rPr lang="de-DE" dirty="0"/>
              <a:t> </a:t>
            </a:r>
            <a:r>
              <a:rPr lang="de-DE" dirty="0" err="1"/>
              <a:t>unicast</a:t>
            </a:r>
            <a:r>
              <a:rPr lang="de-DE" dirty="0"/>
              <a:t> </a:t>
            </a:r>
            <a:r>
              <a:rPr lang="de-DE" dirty="0" err="1"/>
              <a:t>based</a:t>
            </a:r>
            <a:r>
              <a:rPr lang="de-DE" dirty="0"/>
              <a:t> on </a:t>
            </a:r>
            <a:r>
              <a:rPr lang="de-DE" dirty="0" err="1"/>
              <a:t>information</a:t>
            </a:r>
            <a:r>
              <a:rPr lang="de-DE" dirty="0"/>
              <a:t> from the </a:t>
            </a:r>
            <a:r>
              <a:rPr lang="de-DE" dirty="0" err="1"/>
              <a:t>player</a:t>
            </a:r>
            <a:r>
              <a:rPr lang="de-DE" dirty="0"/>
              <a:t> and the </a:t>
            </a:r>
            <a:r>
              <a:rPr lang="de-DE" dirty="0" err="1"/>
              <a:t>configuration</a:t>
            </a:r>
            <a:endParaRPr lang="en-US" dirty="0"/>
          </a:p>
        </p:txBody>
      </p:sp>
      <p:sp>
        <p:nvSpPr>
          <p:cNvPr id="7" name="Rectangle 6">
            <a:extLst>
              <a:ext uri="{FF2B5EF4-FFF2-40B4-BE49-F238E27FC236}">
                <a16:creationId xmlns:a16="http://schemas.microsoft.com/office/drawing/2014/main" id="{C15BD6CC-DF25-5324-2F15-4AFC4DFEC32D}"/>
              </a:ext>
            </a:extLst>
          </p:cNvPr>
          <p:cNvSpPr/>
          <p:nvPr/>
        </p:nvSpPr>
        <p:spPr>
          <a:xfrm>
            <a:off x="3408586" y="1408014"/>
            <a:ext cx="1879229" cy="2581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Client</a:t>
            </a:r>
          </a:p>
        </p:txBody>
      </p:sp>
      <p:sp>
        <p:nvSpPr>
          <p:cNvPr id="8" name="Flowchart: Magnetic Disk 7">
            <a:extLst>
              <a:ext uri="{FF2B5EF4-FFF2-40B4-BE49-F238E27FC236}">
                <a16:creationId xmlns:a16="http://schemas.microsoft.com/office/drawing/2014/main" id="{EF7EA0D4-DAC8-3F40-7860-BE6C7C8917BC}"/>
              </a:ext>
            </a:extLst>
          </p:cNvPr>
          <p:cNvSpPr/>
          <p:nvPr/>
        </p:nvSpPr>
        <p:spPr>
          <a:xfrm>
            <a:off x="3505423" y="2954443"/>
            <a:ext cx="742950" cy="960438"/>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edia Server</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SL1</a:t>
            </a:r>
          </a:p>
        </p:txBody>
      </p:sp>
      <p:sp>
        <p:nvSpPr>
          <p:cNvPr id="9" name="Rectangle 8">
            <a:extLst>
              <a:ext uri="{FF2B5EF4-FFF2-40B4-BE49-F238E27FC236}">
                <a16:creationId xmlns:a16="http://schemas.microsoft.com/office/drawing/2014/main" id="{17708F0C-E66E-B9D5-3227-258E32C128B6}"/>
              </a:ext>
            </a:extLst>
          </p:cNvPr>
          <p:cNvSpPr/>
          <p:nvPr/>
        </p:nvSpPr>
        <p:spPr>
          <a:xfrm>
            <a:off x="813341" y="1408014"/>
            <a:ext cx="2540424" cy="10093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Application</a:t>
            </a:r>
          </a:p>
        </p:txBody>
      </p:sp>
      <p:sp>
        <p:nvSpPr>
          <p:cNvPr id="10" name="Rectangle 9">
            <a:extLst>
              <a:ext uri="{FF2B5EF4-FFF2-40B4-BE49-F238E27FC236}">
                <a16:creationId xmlns:a16="http://schemas.microsoft.com/office/drawing/2014/main" id="{16F9B2B3-E895-8B7F-D9DE-C503EC6072FA}"/>
              </a:ext>
            </a:extLst>
          </p:cNvPr>
          <p:cNvSpPr/>
          <p:nvPr/>
        </p:nvSpPr>
        <p:spPr>
          <a:xfrm>
            <a:off x="813341" y="2507700"/>
            <a:ext cx="936625" cy="155970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DASH</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or HLS Client</a:t>
            </a:r>
            <a:br>
              <a:rPr lang="en-US" sz="1350" dirty="0">
                <a:solidFill>
                  <a:srgbClr val="F7F8FA"/>
                </a:solidFill>
                <a:cs typeface="Microsoft Sans Serif" panose="020B0604020202020204" pitchFamily="34" charset="0"/>
              </a:rPr>
            </a:br>
            <a:r>
              <a:rPr lang="en-US" sz="1050" dirty="0">
                <a:solidFill>
                  <a:srgbClr val="F7F8FA"/>
                </a:solidFill>
                <a:cs typeface="Microsoft Sans Serif" panose="020B0604020202020204" pitchFamily="34" charset="0"/>
              </a:rPr>
              <a:t>(including multiple service locations)</a:t>
            </a:r>
            <a:endParaRPr lang="en-US" sz="1350" dirty="0">
              <a:solidFill>
                <a:srgbClr val="F7F8FA"/>
              </a:solidFill>
              <a:cs typeface="Microsoft Sans Serif" panose="020B0604020202020204" pitchFamily="34" charset="0"/>
            </a:endParaRPr>
          </a:p>
        </p:txBody>
      </p:sp>
      <p:sp>
        <p:nvSpPr>
          <p:cNvPr id="11" name="Oval 10">
            <a:extLst>
              <a:ext uri="{FF2B5EF4-FFF2-40B4-BE49-F238E27FC236}">
                <a16:creationId xmlns:a16="http://schemas.microsoft.com/office/drawing/2014/main" id="{B93761D8-3A66-DC2E-E0AC-CB8D1D8415A6}"/>
              </a:ext>
            </a:extLst>
          </p:cNvPr>
          <p:cNvSpPr/>
          <p:nvPr/>
        </p:nvSpPr>
        <p:spPr>
          <a:xfrm>
            <a:off x="3215704" y="1715282"/>
            <a:ext cx="385763" cy="960437"/>
          </a:xfrm>
          <a:prstGeom prst="ellipse">
            <a:avLst/>
          </a:prstGeom>
          <a:ln/>
        </p:spPr>
        <p:style>
          <a:lnRef idx="2">
            <a:schemeClr val="accent6"/>
          </a:lnRef>
          <a:fillRef idx="1">
            <a:schemeClr val="lt1"/>
          </a:fillRef>
          <a:effectRef idx="0">
            <a:schemeClr val="accent6"/>
          </a:effectRef>
          <a:fontRef idx="minor">
            <a:schemeClr val="dk1"/>
          </a:fontRef>
        </p:style>
        <p:txBody>
          <a:bodyPr vert="vert" anchor="ctr"/>
          <a:lstStyle/>
          <a:p>
            <a:pPr algn="ctr" defTabSz="685800" eaLnBrk="1" fontAlgn="auto" hangingPunct="1">
              <a:lnSpc>
                <a:spcPct val="96000"/>
              </a:lnSpc>
              <a:spcBef>
                <a:spcPts val="0"/>
              </a:spcBef>
              <a:spcAft>
                <a:spcPts val="0"/>
              </a:spcAft>
              <a:defRPr/>
            </a:pPr>
            <a:r>
              <a:rPr lang="en-US" sz="1350" dirty="0">
                <a:solidFill>
                  <a:srgbClr val="13161E"/>
                </a:solidFill>
                <a:cs typeface="Microsoft Sans Serif" panose="020B0604020202020204" pitchFamily="34" charset="0"/>
              </a:rPr>
              <a:t>MBMS-API</a:t>
            </a:r>
          </a:p>
        </p:txBody>
      </p:sp>
      <p:cxnSp>
        <p:nvCxnSpPr>
          <p:cNvPr id="15" name="Straight Arrow Connector 14">
            <a:extLst>
              <a:ext uri="{FF2B5EF4-FFF2-40B4-BE49-F238E27FC236}">
                <a16:creationId xmlns:a16="http://schemas.microsoft.com/office/drawing/2014/main" id="{D5FBE300-41AD-49E0-C1B3-B8C056575DE3}"/>
              </a:ext>
            </a:extLst>
          </p:cNvPr>
          <p:cNvCxnSpPr>
            <a:cxnSpLocks/>
            <a:endCxn id="10" idx="0"/>
          </p:cNvCxnSpPr>
          <p:nvPr/>
        </p:nvCxnSpPr>
        <p:spPr>
          <a:xfrm>
            <a:off x="1281653" y="2424639"/>
            <a:ext cx="1" cy="83061"/>
          </a:xfrm>
          <a:prstGeom prst="straightConnector1">
            <a:avLst/>
          </a:prstGeom>
          <a:ln w="12700" cap="rnd">
            <a:solidFill>
              <a:schemeClr val="accent6"/>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18" name="Arrow: Left-Right 17">
            <a:extLst>
              <a:ext uri="{FF2B5EF4-FFF2-40B4-BE49-F238E27FC236}">
                <a16:creationId xmlns:a16="http://schemas.microsoft.com/office/drawing/2014/main" id="{A6CD9D6B-48DA-68CB-DA7D-F931016E7E7E}"/>
              </a:ext>
            </a:extLst>
          </p:cNvPr>
          <p:cNvSpPr/>
          <p:nvPr/>
        </p:nvSpPr>
        <p:spPr>
          <a:xfrm>
            <a:off x="1744536" y="3428581"/>
            <a:ext cx="1755457" cy="440883"/>
          </a:xfrm>
          <a:prstGeom prst="leftRightArrow">
            <a:avLst>
              <a:gd name="adj1" fmla="val 76337"/>
              <a:gd name="adj2" fmla="val 2476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200" dirty="0">
                <a:solidFill>
                  <a:srgbClr val="F7F8FA"/>
                </a:solidFill>
                <a:cs typeface="Microsoft Sans Serif" panose="020B0604020202020204" pitchFamily="34" charset="0"/>
              </a:rPr>
              <a:t>Potentially Request Data</a:t>
            </a:r>
          </a:p>
        </p:txBody>
      </p:sp>
      <p:sp>
        <p:nvSpPr>
          <p:cNvPr id="20" name="Flowchart: Magnetic Disk 19">
            <a:extLst>
              <a:ext uri="{FF2B5EF4-FFF2-40B4-BE49-F238E27FC236}">
                <a16:creationId xmlns:a16="http://schemas.microsoft.com/office/drawing/2014/main" id="{66F0C35B-EE53-FEEB-19E2-ECD4A5A4ABF8}"/>
              </a:ext>
            </a:extLst>
          </p:cNvPr>
          <p:cNvSpPr/>
          <p:nvPr/>
        </p:nvSpPr>
        <p:spPr>
          <a:xfrm>
            <a:off x="10334002" y="3016559"/>
            <a:ext cx="836296" cy="1488236"/>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a:lnSpc>
                <a:spcPct val="96000"/>
              </a:lnSpc>
            </a:pPr>
            <a:r>
              <a:rPr lang="en-US" sz="1350" dirty="0">
                <a:solidFill>
                  <a:srgbClr val="F7F8FA"/>
                </a:solidFill>
                <a:cs typeface="Microsoft Sans Serif" panose="020B0604020202020204" pitchFamily="34" charset="0"/>
              </a:rPr>
              <a:t>Network Media Server (SL2)</a:t>
            </a:r>
          </a:p>
        </p:txBody>
      </p:sp>
      <p:sp>
        <p:nvSpPr>
          <p:cNvPr id="21" name="Rectangle 20">
            <a:extLst>
              <a:ext uri="{FF2B5EF4-FFF2-40B4-BE49-F238E27FC236}">
                <a16:creationId xmlns:a16="http://schemas.microsoft.com/office/drawing/2014/main" id="{4D7E6B8F-2E1C-7CF5-2451-A8FAC1F90D19}"/>
              </a:ext>
            </a:extLst>
          </p:cNvPr>
          <p:cNvSpPr/>
          <p:nvPr/>
        </p:nvSpPr>
        <p:spPr>
          <a:xfrm>
            <a:off x="7094761" y="1908168"/>
            <a:ext cx="1525587" cy="179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Network functions</a:t>
            </a:r>
          </a:p>
        </p:txBody>
      </p:sp>
      <p:sp>
        <p:nvSpPr>
          <p:cNvPr id="23" name="Arrow: Left 22">
            <a:extLst>
              <a:ext uri="{FF2B5EF4-FFF2-40B4-BE49-F238E27FC236}">
                <a16:creationId xmlns:a16="http://schemas.microsoft.com/office/drawing/2014/main" id="{7EF044D5-C31D-B216-3F34-A82479D6BC6D}"/>
              </a:ext>
            </a:extLst>
          </p:cNvPr>
          <p:cNvSpPr/>
          <p:nvPr/>
        </p:nvSpPr>
        <p:spPr>
          <a:xfrm>
            <a:off x="8620348" y="3271942"/>
            <a:ext cx="1713654"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Push resources</a:t>
            </a:r>
          </a:p>
        </p:txBody>
      </p:sp>
      <p:sp>
        <p:nvSpPr>
          <p:cNvPr id="24" name="Arrow: Left 23">
            <a:extLst>
              <a:ext uri="{FF2B5EF4-FFF2-40B4-BE49-F238E27FC236}">
                <a16:creationId xmlns:a16="http://schemas.microsoft.com/office/drawing/2014/main" id="{9A3DA463-3958-68C1-B6D3-3B458A2C9602}"/>
              </a:ext>
            </a:extLst>
          </p:cNvPr>
          <p:cNvSpPr/>
          <p:nvPr/>
        </p:nvSpPr>
        <p:spPr>
          <a:xfrm>
            <a:off x="5290937" y="2912963"/>
            <a:ext cx="1855367"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MC/BC Distribution</a:t>
            </a:r>
          </a:p>
        </p:txBody>
      </p:sp>
      <p:sp>
        <p:nvSpPr>
          <p:cNvPr id="25" name="Rectangle 24">
            <a:extLst>
              <a:ext uri="{FF2B5EF4-FFF2-40B4-BE49-F238E27FC236}">
                <a16:creationId xmlns:a16="http://schemas.microsoft.com/office/drawing/2014/main" id="{C54D07A8-07FF-7A6B-AD77-76D4EA176C8C}"/>
              </a:ext>
            </a:extLst>
          </p:cNvPr>
          <p:cNvSpPr/>
          <p:nvPr/>
        </p:nvSpPr>
        <p:spPr>
          <a:xfrm>
            <a:off x="4395243" y="2220689"/>
            <a:ext cx="814415" cy="734913"/>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Policy Function</a:t>
            </a:r>
          </a:p>
        </p:txBody>
      </p:sp>
      <p:sp>
        <p:nvSpPr>
          <p:cNvPr id="26" name="Arrow: Bent 25">
            <a:extLst>
              <a:ext uri="{FF2B5EF4-FFF2-40B4-BE49-F238E27FC236}">
                <a16:creationId xmlns:a16="http://schemas.microsoft.com/office/drawing/2014/main" id="{3CFBBF1B-65B5-1C6F-150E-60F455E687BA}"/>
              </a:ext>
            </a:extLst>
          </p:cNvPr>
          <p:cNvSpPr/>
          <p:nvPr/>
        </p:nvSpPr>
        <p:spPr>
          <a:xfrm>
            <a:off x="3822077" y="2479457"/>
            <a:ext cx="570044" cy="442594"/>
          </a:xfrm>
          <a:prstGeom prst="ben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a:solidFill>
                <a:schemeClr val="bg1"/>
              </a:solidFill>
              <a:latin typeface="Microsoft Sans Serif"/>
              <a:cs typeface="Microsoft Sans Serif" panose="020B0604020202020204" pitchFamily="34" charset="0"/>
            </a:endParaRPr>
          </a:p>
        </p:txBody>
      </p:sp>
      <p:cxnSp>
        <p:nvCxnSpPr>
          <p:cNvPr id="28" name="Connector: Elbow 27">
            <a:extLst>
              <a:ext uri="{FF2B5EF4-FFF2-40B4-BE49-F238E27FC236}">
                <a16:creationId xmlns:a16="http://schemas.microsoft.com/office/drawing/2014/main" id="{B1446CBF-3BDB-28A6-9C62-E5493556EE59}"/>
              </a:ext>
            </a:extLst>
          </p:cNvPr>
          <p:cNvCxnSpPr>
            <a:cxnSpLocks/>
            <a:stCxn id="10" idx="2"/>
            <a:endCxn id="20" idx="3"/>
          </p:cNvCxnSpPr>
          <p:nvPr/>
        </p:nvCxnSpPr>
        <p:spPr>
          <a:xfrm rot="16200000" flipH="1">
            <a:off x="5798207" y="-449148"/>
            <a:ext cx="437390" cy="9470496"/>
          </a:xfrm>
          <a:prstGeom prst="bentConnector3">
            <a:avLst>
              <a:gd name="adj1" fmla="val 152265"/>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0" name="Connector: Elbow 29">
            <a:extLst>
              <a:ext uri="{FF2B5EF4-FFF2-40B4-BE49-F238E27FC236}">
                <a16:creationId xmlns:a16="http://schemas.microsoft.com/office/drawing/2014/main" id="{24CB3747-6036-05B4-D41C-255795E980D4}"/>
              </a:ext>
            </a:extLst>
          </p:cNvPr>
          <p:cNvCxnSpPr>
            <a:cxnSpLocks/>
            <a:stCxn id="25" idx="2"/>
          </p:cNvCxnSpPr>
          <p:nvPr/>
        </p:nvCxnSpPr>
        <p:spPr>
          <a:xfrm rot="16200000" flipH="1">
            <a:off x="6720519" y="1037533"/>
            <a:ext cx="1330170" cy="5166307"/>
          </a:xfrm>
          <a:prstGeom prst="bentConnector2">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7" name="Arrow: Left 36">
            <a:extLst>
              <a:ext uri="{FF2B5EF4-FFF2-40B4-BE49-F238E27FC236}">
                <a16:creationId xmlns:a16="http://schemas.microsoft.com/office/drawing/2014/main" id="{A36F462D-1327-1DB9-86EF-A0034754327C}"/>
              </a:ext>
            </a:extLst>
          </p:cNvPr>
          <p:cNvSpPr/>
          <p:nvPr/>
        </p:nvSpPr>
        <p:spPr>
          <a:xfrm>
            <a:off x="5215425" y="2245814"/>
            <a:ext cx="1876214" cy="433493"/>
          </a:xfrm>
          <a:prstGeom prst="leftArrow">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a:t>
            </a:r>
          </a:p>
        </p:txBody>
      </p:sp>
      <p:sp>
        <p:nvSpPr>
          <p:cNvPr id="38" name="Arrow: Left 37">
            <a:extLst>
              <a:ext uri="{FF2B5EF4-FFF2-40B4-BE49-F238E27FC236}">
                <a16:creationId xmlns:a16="http://schemas.microsoft.com/office/drawing/2014/main" id="{1991E8C1-E5C7-190D-DBD2-E153BC60F028}"/>
              </a:ext>
            </a:extLst>
          </p:cNvPr>
          <p:cNvSpPr/>
          <p:nvPr/>
        </p:nvSpPr>
        <p:spPr>
          <a:xfrm>
            <a:off x="8620347" y="2376028"/>
            <a:ext cx="1348411" cy="433493"/>
          </a:xfrm>
          <a:prstGeom prst="leftArrow">
            <a:avLst/>
          </a:prstGeom>
          <a:ln/>
        </p:spPr>
        <p:style>
          <a:lnRef idx="3">
            <a:schemeClr val="lt1"/>
          </a:lnRef>
          <a:fillRef idx="1">
            <a:schemeClr val="accent4"/>
          </a:fillRef>
          <a:effectRef idx="1">
            <a:schemeClr val="accent4"/>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a:t>
            </a:r>
          </a:p>
        </p:txBody>
      </p:sp>
      <p:sp>
        <p:nvSpPr>
          <p:cNvPr id="40" name="TextBox 39">
            <a:extLst>
              <a:ext uri="{FF2B5EF4-FFF2-40B4-BE49-F238E27FC236}">
                <a16:creationId xmlns:a16="http://schemas.microsoft.com/office/drawing/2014/main" id="{1026A302-C3A7-59D7-9F1E-FE05B1F86E8D}"/>
              </a:ext>
            </a:extLst>
          </p:cNvPr>
          <p:cNvSpPr txBox="1"/>
          <p:nvPr/>
        </p:nvSpPr>
        <p:spPr>
          <a:xfrm>
            <a:off x="1537552" y="4376117"/>
            <a:ext cx="4127830" cy="358240"/>
          </a:xfrm>
          <a:prstGeom prst="rect">
            <a:avLst/>
          </a:prstGeom>
          <a:noFill/>
        </p:spPr>
        <p:txBody>
          <a:bodyPr wrap="square">
            <a:spAutoFit/>
          </a:bodyPr>
          <a:lstStyle/>
          <a:p>
            <a:pPr algn="ctr">
              <a:lnSpc>
                <a:spcPct val="96000"/>
              </a:lnSpc>
            </a:pPr>
            <a:r>
              <a:rPr lang="en-US" sz="1800" dirty="0">
                <a:latin typeface="Microsoft Sans Serif"/>
                <a:cs typeface="Microsoft Sans Serif" panose="020B0604020202020204" pitchFamily="34" charset="0"/>
              </a:rPr>
              <a:t>Unicast requests</a:t>
            </a:r>
          </a:p>
        </p:txBody>
      </p:sp>
      <p:sp>
        <p:nvSpPr>
          <p:cNvPr id="6" name="Arrow: Left-Right 5">
            <a:extLst>
              <a:ext uri="{FF2B5EF4-FFF2-40B4-BE49-F238E27FC236}">
                <a16:creationId xmlns:a16="http://schemas.microsoft.com/office/drawing/2014/main" id="{CE9D1307-C377-37CC-2DF6-E9214DD8E862}"/>
              </a:ext>
            </a:extLst>
          </p:cNvPr>
          <p:cNvSpPr/>
          <p:nvPr/>
        </p:nvSpPr>
        <p:spPr>
          <a:xfrm>
            <a:off x="1744536" y="2980475"/>
            <a:ext cx="1755457" cy="440883"/>
          </a:xfrm>
          <a:prstGeom prst="leftRightArrow">
            <a:avLst>
              <a:gd name="adj1" fmla="val 76337"/>
              <a:gd name="adj2" fmla="val 2476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200" dirty="0">
                <a:solidFill>
                  <a:srgbClr val="F7F8FA"/>
                </a:solidFill>
                <a:cs typeface="Microsoft Sans Serif" panose="020B0604020202020204" pitchFamily="34" charset="0"/>
              </a:rPr>
              <a:t>Request Application Service Document</a:t>
            </a:r>
          </a:p>
        </p:txBody>
      </p:sp>
      <p:sp>
        <p:nvSpPr>
          <p:cNvPr id="31" name="Arrow: Left-Right 30">
            <a:extLst>
              <a:ext uri="{FF2B5EF4-FFF2-40B4-BE49-F238E27FC236}">
                <a16:creationId xmlns:a16="http://schemas.microsoft.com/office/drawing/2014/main" id="{672EE958-B1CF-51AC-5155-FB872F45A465}"/>
              </a:ext>
            </a:extLst>
          </p:cNvPr>
          <p:cNvSpPr/>
          <p:nvPr/>
        </p:nvSpPr>
        <p:spPr>
          <a:xfrm>
            <a:off x="1735445" y="2526576"/>
            <a:ext cx="1755457" cy="440883"/>
          </a:xfrm>
          <a:prstGeom prst="leftRightArrow">
            <a:avLst>
              <a:gd name="adj1" fmla="val 76337"/>
              <a:gd name="adj2" fmla="val 2476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200" dirty="0">
                <a:solidFill>
                  <a:srgbClr val="F7F8FA"/>
                </a:solidFill>
                <a:cs typeface="Microsoft Sans Serif" panose="020B0604020202020204" pitchFamily="34" charset="0"/>
              </a:rPr>
              <a:t>Service Location Steering Policy</a:t>
            </a:r>
          </a:p>
        </p:txBody>
      </p:sp>
    </p:spTree>
    <p:extLst>
      <p:ext uri="{BB962C8B-B14F-4D97-AF65-F5344CB8AC3E}">
        <p14:creationId xmlns:p14="http://schemas.microsoft.com/office/powerpoint/2010/main" val="88165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846D1E7-C969-B89B-CE21-451AB85D13C2}"/>
              </a:ext>
            </a:extLst>
          </p:cNvPr>
          <p:cNvSpPr/>
          <p:nvPr/>
        </p:nvSpPr>
        <p:spPr>
          <a:xfrm>
            <a:off x="326599" y="1040077"/>
            <a:ext cx="5070792" cy="3535927"/>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2" name="Footer Placeholder 1">
            <a:extLst>
              <a:ext uri="{FF2B5EF4-FFF2-40B4-BE49-F238E27FC236}">
                <a16:creationId xmlns:a16="http://schemas.microsoft.com/office/drawing/2014/main" id="{7A554FE9-D5A7-AAFD-5A68-C11C352A1DAB}"/>
              </a:ext>
            </a:extLst>
          </p:cNvPr>
          <p:cNvSpPr>
            <a:spLocks noGrp="1"/>
          </p:cNvSpPr>
          <p:nvPr>
            <p:ph type="ftr" sz="quarter" idx="10"/>
          </p:nvPr>
        </p:nvSpPr>
        <p:spPr/>
        <p:txBody>
          <a:bodyPr/>
          <a:lstStyle/>
          <a:p>
            <a:r>
              <a:rPr lang="en-US"/>
              <a:t>5G Broadcast Conference</a:t>
            </a:r>
            <a:endParaRPr lang="en-US" dirty="0"/>
          </a:p>
        </p:txBody>
      </p:sp>
      <p:sp>
        <p:nvSpPr>
          <p:cNvPr id="3" name="Title 2">
            <a:extLst>
              <a:ext uri="{FF2B5EF4-FFF2-40B4-BE49-F238E27FC236}">
                <a16:creationId xmlns:a16="http://schemas.microsoft.com/office/drawing/2014/main" id="{A3ABBC4E-F378-C084-51D4-B9769BC19533}"/>
              </a:ext>
            </a:extLst>
          </p:cNvPr>
          <p:cNvSpPr>
            <a:spLocks noGrp="1"/>
          </p:cNvSpPr>
          <p:nvPr>
            <p:ph type="title"/>
          </p:nvPr>
        </p:nvSpPr>
        <p:spPr>
          <a:xfrm>
            <a:off x="495300" y="642644"/>
            <a:ext cx="11187112" cy="361959"/>
          </a:xfrm>
        </p:spPr>
        <p:txBody>
          <a:bodyPr/>
          <a:lstStyle/>
          <a:p>
            <a:r>
              <a:rPr lang="en-US" dirty="0"/>
              <a:t>CMCD Adaptation to Multicast/Broadcast</a:t>
            </a:r>
          </a:p>
        </p:txBody>
      </p:sp>
      <p:sp>
        <p:nvSpPr>
          <p:cNvPr id="8" name="Content Placeholder 7">
            <a:extLst>
              <a:ext uri="{FF2B5EF4-FFF2-40B4-BE49-F238E27FC236}">
                <a16:creationId xmlns:a16="http://schemas.microsoft.com/office/drawing/2014/main" id="{022D8868-2716-DB7F-4507-E1FE0BAC41D5}"/>
              </a:ext>
            </a:extLst>
          </p:cNvPr>
          <p:cNvSpPr>
            <a:spLocks noGrp="1"/>
          </p:cNvSpPr>
          <p:nvPr>
            <p:ph sz="quarter" idx="14"/>
          </p:nvPr>
        </p:nvSpPr>
        <p:spPr>
          <a:xfrm>
            <a:off x="495300" y="4733806"/>
            <a:ext cx="10943272" cy="1666993"/>
          </a:xfrm>
        </p:spPr>
        <p:txBody>
          <a:bodyPr/>
          <a:lstStyle/>
          <a:p>
            <a:r>
              <a:rPr lang="en-US" dirty="0"/>
              <a:t>In the case above case the general architecture and call flow is adapted to configure the DASH/HLS for CMCD data collection (e.g. in the manifest). The client requests data with CMCD configuration. The MC/BC client is configured accordingly to collects the data. </a:t>
            </a:r>
          </a:p>
          <a:p>
            <a:r>
              <a:rPr lang="en-US" dirty="0"/>
              <a:t>The MC/BC client provides the aggregated information to the network function, for example NWDAF – note that this would then align with unicast.</a:t>
            </a:r>
          </a:p>
        </p:txBody>
      </p:sp>
      <p:sp>
        <p:nvSpPr>
          <p:cNvPr id="4" name="Rectangle 3">
            <a:extLst>
              <a:ext uri="{FF2B5EF4-FFF2-40B4-BE49-F238E27FC236}">
                <a16:creationId xmlns:a16="http://schemas.microsoft.com/office/drawing/2014/main" id="{6010D558-AA64-47EA-4720-06EE1074C926}"/>
              </a:ext>
            </a:extLst>
          </p:cNvPr>
          <p:cNvSpPr/>
          <p:nvPr/>
        </p:nvSpPr>
        <p:spPr>
          <a:xfrm>
            <a:off x="9724918" y="1741165"/>
            <a:ext cx="1713654" cy="280841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t"/>
          <a:lstStyle/>
          <a:p>
            <a:pPr algn="ctr" defTabSz="685800">
              <a:lnSpc>
                <a:spcPct val="96000"/>
              </a:lnSpc>
            </a:pPr>
            <a:r>
              <a:rPr lang="en-US" sz="1350" dirty="0">
                <a:solidFill>
                  <a:srgbClr val="F7F8FA"/>
                </a:solidFill>
                <a:cs typeface="Microsoft Sans Serif" panose="020B0604020202020204" pitchFamily="34" charset="0"/>
              </a:rPr>
              <a:t>Application</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Providers</a:t>
            </a:r>
          </a:p>
        </p:txBody>
      </p:sp>
      <p:sp>
        <p:nvSpPr>
          <p:cNvPr id="7" name="Rectangle 6">
            <a:extLst>
              <a:ext uri="{FF2B5EF4-FFF2-40B4-BE49-F238E27FC236}">
                <a16:creationId xmlns:a16="http://schemas.microsoft.com/office/drawing/2014/main" id="{DDDAB430-E584-18E1-39D7-1E76E6560600}"/>
              </a:ext>
            </a:extLst>
          </p:cNvPr>
          <p:cNvSpPr/>
          <p:nvPr/>
        </p:nvSpPr>
        <p:spPr>
          <a:xfrm>
            <a:off x="3164746" y="1010703"/>
            <a:ext cx="1879229" cy="2581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Client</a:t>
            </a:r>
          </a:p>
        </p:txBody>
      </p:sp>
      <p:sp>
        <p:nvSpPr>
          <p:cNvPr id="12" name="Flowchart: Magnetic Disk 11">
            <a:extLst>
              <a:ext uri="{FF2B5EF4-FFF2-40B4-BE49-F238E27FC236}">
                <a16:creationId xmlns:a16="http://schemas.microsoft.com/office/drawing/2014/main" id="{BAED354E-C442-EE7A-0207-027F9524F49A}"/>
              </a:ext>
            </a:extLst>
          </p:cNvPr>
          <p:cNvSpPr/>
          <p:nvPr/>
        </p:nvSpPr>
        <p:spPr>
          <a:xfrm>
            <a:off x="3261583" y="2557132"/>
            <a:ext cx="742950" cy="960438"/>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edia Server</a:t>
            </a:r>
          </a:p>
        </p:txBody>
      </p:sp>
      <p:sp>
        <p:nvSpPr>
          <p:cNvPr id="23" name="Rectangle 22">
            <a:extLst>
              <a:ext uri="{FF2B5EF4-FFF2-40B4-BE49-F238E27FC236}">
                <a16:creationId xmlns:a16="http://schemas.microsoft.com/office/drawing/2014/main" id="{0180AD10-351D-59B8-0AF8-B3E3B07A5FED}"/>
              </a:ext>
            </a:extLst>
          </p:cNvPr>
          <p:cNvSpPr/>
          <p:nvPr/>
        </p:nvSpPr>
        <p:spPr>
          <a:xfrm>
            <a:off x="569501" y="1010703"/>
            <a:ext cx="2540424" cy="10093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Application</a:t>
            </a:r>
          </a:p>
        </p:txBody>
      </p:sp>
      <p:sp>
        <p:nvSpPr>
          <p:cNvPr id="24" name="Rectangle 23">
            <a:extLst>
              <a:ext uri="{FF2B5EF4-FFF2-40B4-BE49-F238E27FC236}">
                <a16:creationId xmlns:a16="http://schemas.microsoft.com/office/drawing/2014/main" id="{FC1D24F4-8F43-6D4E-E75A-DC1C5A812236}"/>
              </a:ext>
            </a:extLst>
          </p:cNvPr>
          <p:cNvSpPr/>
          <p:nvPr/>
        </p:nvSpPr>
        <p:spPr>
          <a:xfrm>
            <a:off x="569501" y="2503905"/>
            <a:ext cx="936625" cy="10715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DASH</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or HLS Client</a:t>
            </a:r>
          </a:p>
        </p:txBody>
      </p:sp>
      <p:sp>
        <p:nvSpPr>
          <p:cNvPr id="25" name="Oval 24">
            <a:extLst>
              <a:ext uri="{FF2B5EF4-FFF2-40B4-BE49-F238E27FC236}">
                <a16:creationId xmlns:a16="http://schemas.microsoft.com/office/drawing/2014/main" id="{ADA55429-2505-1C18-3623-BE608479CE28}"/>
              </a:ext>
            </a:extLst>
          </p:cNvPr>
          <p:cNvSpPr/>
          <p:nvPr/>
        </p:nvSpPr>
        <p:spPr>
          <a:xfrm>
            <a:off x="2971864" y="1510857"/>
            <a:ext cx="385763" cy="960437"/>
          </a:xfrm>
          <a:prstGeom prst="ellipse">
            <a:avLst/>
          </a:prstGeom>
          <a:ln/>
        </p:spPr>
        <p:style>
          <a:lnRef idx="2">
            <a:schemeClr val="accent6"/>
          </a:lnRef>
          <a:fillRef idx="1">
            <a:schemeClr val="lt1"/>
          </a:fillRef>
          <a:effectRef idx="0">
            <a:schemeClr val="accent6"/>
          </a:effectRef>
          <a:fontRef idx="minor">
            <a:schemeClr val="dk1"/>
          </a:fontRef>
        </p:style>
        <p:txBody>
          <a:bodyPr vert="vert" anchor="ctr"/>
          <a:lstStyle/>
          <a:p>
            <a:pPr algn="ctr" defTabSz="685800" eaLnBrk="1" fontAlgn="auto" hangingPunct="1">
              <a:lnSpc>
                <a:spcPct val="96000"/>
              </a:lnSpc>
              <a:spcBef>
                <a:spcPts val="0"/>
              </a:spcBef>
              <a:spcAft>
                <a:spcPts val="0"/>
              </a:spcAft>
              <a:defRPr/>
            </a:pPr>
            <a:r>
              <a:rPr lang="en-US" sz="1350" dirty="0">
                <a:solidFill>
                  <a:srgbClr val="13161E"/>
                </a:solidFill>
                <a:cs typeface="Microsoft Sans Serif" panose="020B0604020202020204" pitchFamily="34" charset="0"/>
              </a:rPr>
              <a:t>MBMS-API</a:t>
            </a:r>
          </a:p>
        </p:txBody>
      </p:sp>
      <p:cxnSp>
        <p:nvCxnSpPr>
          <p:cNvPr id="26" name="Straight Arrow Connector 25">
            <a:extLst>
              <a:ext uri="{FF2B5EF4-FFF2-40B4-BE49-F238E27FC236}">
                <a16:creationId xmlns:a16="http://schemas.microsoft.com/office/drawing/2014/main" id="{D3EA0B4A-A7AC-8D30-36EE-A6B5727ACC1F}"/>
              </a:ext>
            </a:extLst>
          </p:cNvPr>
          <p:cNvCxnSpPr>
            <a:cxnSpLocks/>
            <a:endCxn id="24" idx="0"/>
          </p:cNvCxnSpPr>
          <p:nvPr/>
        </p:nvCxnSpPr>
        <p:spPr>
          <a:xfrm>
            <a:off x="1037813" y="2027328"/>
            <a:ext cx="1" cy="476577"/>
          </a:xfrm>
          <a:prstGeom prst="straightConnector1">
            <a:avLst/>
          </a:prstGeom>
          <a:ln w="12700" cap="rnd">
            <a:solidFill>
              <a:schemeClr val="accent6"/>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27" name="Arrow: Left-Right 26">
            <a:extLst>
              <a:ext uri="{FF2B5EF4-FFF2-40B4-BE49-F238E27FC236}">
                <a16:creationId xmlns:a16="http://schemas.microsoft.com/office/drawing/2014/main" id="{BDE4A333-DF2A-5B46-5120-B1AAD7E41F97}"/>
              </a:ext>
            </a:extLst>
          </p:cNvPr>
          <p:cNvSpPr/>
          <p:nvPr/>
        </p:nvSpPr>
        <p:spPr>
          <a:xfrm>
            <a:off x="1506125" y="2738638"/>
            <a:ext cx="1755457" cy="749832"/>
          </a:xfrm>
          <a:prstGeom prst="leftRightArrow">
            <a:avLst>
              <a:gd name="adj1" fmla="val 50000"/>
              <a:gd name="adj2" fmla="val 23804"/>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Request Data</a:t>
            </a:r>
            <a:br>
              <a:rPr lang="en-US" sz="1350" dirty="0">
                <a:solidFill>
                  <a:srgbClr val="F7F8FA"/>
                </a:solidFill>
                <a:cs typeface="Microsoft Sans Serif" panose="020B0604020202020204" pitchFamily="34" charset="0"/>
              </a:rPr>
            </a:br>
            <a:r>
              <a:rPr lang="en-US" sz="1350" dirty="0">
                <a:solidFill>
                  <a:srgbClr val="FF00FF"/>
                </a:solidFill>
                <a:cs typeface="Microsoft Sans Serif" panose="020B0604020202020204" pitchFamily="34" charset="0"/>
              </a:rPr>
              <a:t>including CMCD</a:t>
            </a:r>
          </a:p>
        </p:txBody>
      </p:sp>
      <p:sp>
        <p:nvSpPr>
          <p:cNvPr id="28" name="TextBox 27">
            <a:extLst>
              <a:ext uri="{FF2B5EF4-FFF2-40B4-BE49-F238E27FC236}">
                <a16:creationId xmlns:a16="http://schemas.microsoft.com/office/drawing/2014/main" id="{98BD053B-DB44-9EA6-817B-30EE88A74F75}"/>
              </a:ext>
            </a:extLst>
          </p:cNvPr>
          <p:cNvSpPr txBox="1"/>
          <p:nvPr/>
        </p:nvSpPr>
        <p:spPr>
          <a:xfrm>
            <a:off x="363068" y="2082146"/>
            <a:ext cx="605935" cy="310213"/>
          </a:xfrm>
          <a:prstGeom prst="rect">
            <a:avLst/>
          </a:prstGeom>
        </p:spPr>
        <p:txBody>
          <a:bodyPr wrap="none" lIns="0" tIns="0" rIns="0" bIns="0" rtlCol="0">
            <a:spAutoFit/>
          </a:bodyPr>
          <a:lstStyle/>
          <a:p>
            <a:pPr algn="r">
              <a:lnSpc>
                <a:spcPct val="96000"/>
              </a:lnSpc>
            </a:pPr>
            <a:r>
              <a:rPr lang="en-US" sz="1050" dirty="0">
                <a:solidFill>
                  <a:schemeClr val="tx2"/>
                </a:solidFill>
                <a:latin typeface="Microsoft Sans Serif"/>
                <a:cs typeface="Microsoft Sans Serif" panose="020B0604020202020204" pitchFamily="34" charset="0"/>
              </a:rPr>
              <a:t>MPD URL</a:t>
            </a:r>
            <a:br>
              <a:rPr lang="en-US" sz="1050" dirty="0">
                <a:solidFill>
                  <a:schemeClr val="tx2"/>
                </a:solidFill>
                <a:latin typeface="Microsoft Sans Serif"/>
                <a:cs typeface="Microsoft Sans Serif" panose="020B0604020202020204" pitchFamily="34" charset="0"/>
              </a:rPr>
            </a:br>
            <a:r>
              <a:rPr lang="en-US" sz="1050" dirty="0">
                <a:solidFill>
                  <a:schemeClr val="tx2"/>
                </a:solidFill>
                <a:latin typeface="Microsoft Sans Serif"/>
                <a:cs typeface="Microsoft Sans Serif" panose="020B0604020202020204" pitchFamily="34" charset="0"/>
              </a:rPr>
              <a:t>M3U8</a:t>
            </a:r>
          </a:p>
        </p:txBody>
      </p:sp>
      <p:sp>
        <p:nvSpPr>
          <p:cNvPr id="29" name="Flowchart: Magnetic Disk 28">
            <a:extLst>
              <a:ext uri="{FF2B5EF4-FFF2-40B4-BE49-F238E27FC236}">
                <a16:creationId xmlns:a16="http://schemas.microsoft.com/office/drawing/2014/main" id="{AF3E6AF6-9FB9-38EF-F1E6-C91947423E72}"/>
              </a:ext>
            </a:extLst>
          </p:cNvPr>
          <p:cNvSpPr/>
          <p:nvPr/>
        </p:nvSpPr>
        <p:spPr>
          <a:xfrm>
            <a:off x="10090162" y="2619248"/>
            <a:ext cx="836296" cy="1488236"/>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a:lnSpc>
                <a:spcPct val="96000"/>
              </a:lnSpc>
            </a:pPr>
            <a:r>
              <a:rPr lang="en-US" sz="1350" dirty="0">
                <a:solidFill>
                  <a:srgbClr val="F7F8FA"/>
                </a:solidFill>
                <a:cs typeface="Microsoft Sans Serif" panose="020B0604020202020204" pitchFamily="34" charset="0"/>
              </a:rPr>
              <a:t>Network Media Server</a:t>
            </a:r>
          </a:p>
        </p:txBody>
      </p:sp>
      <p:sp>
        <p:nvSpPr>
          <p:cNvPr id="30" name="Rectangle 29">
            <a:extLst>
              <a:ext uri="{FF2B5EF4-FFF2-40B4-BE49-F238E27FC236}">
                <a16:creationId xmlns:a16="http://schemas.microsoft.com/office/drawing/2014/main" id="{51C60DDE-AF38-1EB1-E31F-0067181AC7FC}"/>
              </a:ext>
            </a:extLst>
          </p:cNvPr>
          <p:cNvSpPr/>
          <p:nvPr/>
        </p:nvSpPr>
        <p:spPr>
          <a:xfrm>
            <a:off x="6850921" y="1510857"/>
            <a:ext cx="1525587" cy="179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Network functions</a:t>
            </a:r>
          </a:p>
        </p:txBody>
      </p:sp>
      <p:sp>
        <p:nvSpPr>
          <p:cNvPr id="31" name="Arrow: Left 30">
            <a:extLst>
              <a:ext uri="{FF2B5EF4-FFF2-40B4-BE49-F238E27FC236}">
                <a16:creationId xmlns:a16="http://schemas.microsoft.com/office/drawing/2014/main" id="{12BF76FA-C9AC-58D4-161E-9B6B24FF686D}"/>
              </a:ext>
            </a:extLst>
          </p:cNvPr>
          <p:cNvSpPr/>
          <p:nvPr/>
        </p:nvSpPr>
        <p:spPr>
          <a:xfrm>
            <a:off x="8376508" y="2874631"/>
            <a:ext cx="1713654"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Push resources</a:t>
            </a:r>
          </a:p>
        </p:txBody>
      </p:sp>
      <p:sp>
        <p:nvSpPr>
          <p:cNvPr id="32" name="Arrow: Left 31">
            <a:extLst>
              <a:ext uri="{FF2B5EF4-FFF2-40B4-BE49-F238E27FC236}">
                <a16:creationId xmlns:a16="http://schemas.microsoft.com/office/drawing/2014/main" id="{41DB74DA-FB65-263D-0519-96C13492B191}"/>
              </a:ext>
            </a:extLst>
          </p:cNvPr>
          <p:cNvSpPr/>
          <p:nvPr/>
        </p:nvSpPr>
        <p:spPr>
          <a:xfrm>
            <a:off x="5047097" y="2515652"/>
            <a:ext cx="1855367"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MC/BC Distribution</a:t>
            </a:r>
          </a:p>
        </p:txBody>
      </p:sp>
      <p:sp>
        <p:nvSpPr>
          <p:cNvPr id="33" name="Rectangle 32">
            <a:extLst>
              <a:ext uri="{FF2B5EF4-FFF2-40B4-BE49-F238E27FC236}">
                <a16:creationId xmlns:a16="http://schemas.microsoft.com/office/drawing/2014/main" id="{2F0CE108-F859-1DD8-872F-0E8FA3EB36AE}"/>
              </a:ext>
            </a:extLst>
          </p:cNvPr>
          <p:cNvSpPr/>
          <p:nvPr/>
        </p:nvSpPr>
        <p:spPr>
          <a:xfrm>
            <a:off x="4151403" y="1823378"/>
            <a:ext cx="814415" cy="1125767"/>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Request and response function </a:t>
            </a:r>
            <a:r>
              <a:rPr lang="en-US" sz="1100" dirty="0">
                <a:solidFill>
                  <a:srgbClr val="FF00FF"/>
                </a:solidFill>
                <a:latin typeface="Microsoft Sans Serif"/>
                <a:cs typeface="Microsoft Sans Serif" panose="020B0604020202020204" pitchFamily="34" charset="0"/>
              </a:rPr>
              <a:t>collecting CMCD data</a:t>
            </a:r>
          </a:p>
        </p:txBody>
      </p:sp>
      <p:sp>
        <p:nvSpPr>
          <p:cNvPr id="34" name="Arrow: Bent 33">
            <a:extLst>
              <a:ext uri="{FF2B5EF4-FFF2-40B4-BE49-F238E27FC236}">
                <a16:creationId xmlns:a16="http://schemas.microsoft.com/office/drawing/2014/main" id="{090EF83E-D080-067D-0C92-9E029F16E467}"/>
              </a:ext>
            </a:extLst>
          </p:cNvPr>
          <p:cNvSpPr/>
          <p:nvPr/>
        </p:nvSpPr>
        <p:spPr>
          <a:xfrm>
            <a:off x="3578237" y="2082146"/>
            <a:ext cx="570044" cy="442594"/>
          </a:xfrm>
          <a:prstGeom prst="ben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a:solidFill>
                <a:schemeClr val="bg1"/>
              </a:solidFill>
              <a:latin typeface="Microsoft Sans Serif"/>
              <a:cs typeface="Microsoft Sans Serif" panose="020B0604020202020204" pitchFamily="34" charset="0"/>
            </a:endParaRPr>
          </a:p>
        </p:txBody>
      </p:sp>
      <p:cxnSp>
        <p:nvCxnSpPr>
          <p:cNvPr id="35" name="Connector: Elbow 34">
            <a:extLst>
              <a:ext uri="{FF2B5EF4-FFF2-40B4-BE49-F238E27FC236}">
                <a16:creationId xmlns:a16="http://schemas.microsoft.com/office/drawing/2014/main" id="{635FDA65-D0AD-E6B2-189B-A48C6AB08871}"/>
              </a:ext>
            </a:extLst>
          </p:cNvPr>
          <p:cNvCxnSpPr>
            <a:cxnSpLocks/>
            <a:stCxn id="24" idx="2"/>
            <a:endCxn id="29" idx="3"/>
          </p:cNvCxnSpPr>
          <p:nvPr/>
        </p:nvCxnSpPr>
        <p:spPr>
          <a:xfrm rot="16200000" flipH="1">
            <a:off x="5507054" y="-893772"/>
            <a:ext cx="532016" cy="9470496"/>
          </a:xfrm>
          <a:prstGeom prst="bentConnector3">
            <a:avLst>
              <a:gd name="adj1" fmla="val 142969"/>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Connector: Elbow 35">
            <a:extLst>
              <a:ext uri="{FF2B5EF4-FFF2-40B4-BE49-F238E27FC236}">
                <a16:creationId xmlns:a16="http://schemas.microsoft.com/office/drawing/2014/main" id="{359C4614-238B-8583-1352-D1B8B0831537}"/>
              </a:ext>
            </a:extLst>
          </p:cNvPr>
          <p:cNvCxnSpPr>
            <a:cxnSpLocks/>
            <a:stCxn id="33" idx="2"/>
          </p:cNvCxnSpPr>
          <p:nvPr/>
        </p:nvCxnSpPr>
        <p:spPr>
          <a:xfrm rot="16200000" flipH="1">
            <a:off x="6672106" y="835650"/>
            <a:ext cx="939316" cy="5166306"/>
          </a:xfrm>
          <a:prstGeom prst="bentConnector2">
            <a:avLst/>
          </a:prstGeom>
          <a:ln w="12700" cap="rnd">
            <a:solidFill>
              <a:schemeClr val="accent6"/>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37" name="Arrow: Left 36">
            <a:extLst>
              <a:ext uri="{FF2B5EF4-FFF2-40B4-BE49-F238E27FC236}">
                <a16:creationId xmlns:a16="http://schemas.microsoft.com/office/drawing/2014/main" id="{FFF06B0E-7A00-E1D9-3CCE-6F1FD6E50407}"/>
              </a:ext>
            </a:extLst>
          </p:cNvPr>
          <p:cNvSpPr/>
          <p:nvPr/>
        </p:nvSpPr>
        <p:spPr>
          <a:xfrm>
            <a:off x="4971585" y="1691283"/>
            <a:ext cx="1876214" cy="590714"/>
          </a:xfrm>
          <a:prstGeom prst="leftArrow">
            <a:avLst>
              <a:gd name="adj1" fmla="val 59173"/>
              <a:gd name="adj2" fmla="val 50000"/>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 </a:t>
            </a:r>
            <a:br>
              <a:rPr lang="en-US" sz="1200" dirty="0">
                <a:solidFill>
                  <a:schemeClr val="bg1"/>
                </a:solidFill>
                <a:latin typeface="Microsoft Sans Serif"/>
                <a:cs typeface="Microsoft Sans Serif" panose="020B0604020202020204" pitchFamily="34" charset="0"/>
              </a:rPr>
            </a:br>
            <a:r>
              <a:rPr lang="en-US" sz="1200" dirty="0">
                <a:solidFill>
                  <a:srgbClr val="FF00FF"/>
                </a:solidFill>
                <a:latin typeface="Microsoft Sans Serif"/>
                <a:cs typeface="Microsoft Sans Serif" panose="020B0604020202020204" pitchFamily="34" charset="0"/>
              </a:rPr>
              <a:t>(incl. CMCD data)</a:t>
            </a:r>
          </a:p>
        </p:txBody>
      </p:sp>
      <p:sp>
        <p:nvSpPr>
          <p:cNvPr id="38" name="Arrow: Left 37">
            <a:extLst>
              <a:ext uri="{FF2B5EF4-FFF2-40B4-BE49-F238E27FC236}">
                <a16:creationId xmlns:a16="http://schemas.microsoft.com/office/drawing/2014/main" id="{798ADB58-CB6D-BC62-B277-BBC41C928AB8}"/>
              </a:ext>
            </a:extLst>
          </p:cNvPr>
          <p:cNvSpPr/>
          <p:nvPr/>
        </p:nvSpPr>
        <p:spPr>
          <a:xfrm>
            <a:off x="8376507" y="1978717"/>
            <a:ext cx="1348411" cy="433493"/>
          </a:xfrm>
          <a:prstGeom prst="leftArrow">
            <a:avLst/>
          </a:prstGeom>
          <a:ln/>
        </p:spPr>
        <p:style>
          <a:lnRef idx="3">
            <a:schemeClr val="lt1"/>
          </a:lnRef>
          <a:fillRef idx="1">
            <a:schemeClr val="accent4"/>
          </a:fillRef>
          <a:effectRef idx="1">
            <a:schemeClr val="accent4"/>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a:t>
            </a:r>
          </a:p>
        </p:txBody>
      </p:sp>
      <p:sp>
        <p:nvSpPr>
          <p:cNvPr id="40" name="TextBox 39">
            <a:extLst>
              <a:ext uri="{FF2B5EF4-FFF2-40B4-BE49-F238E27FC236}">
                <a16:creationId xmlns:a16="http://schemas.microsoft.com/office/drawing/2014/main" id="{D19F3514-8AEE-5A37-C103-12F32A0F1982}"/>
              </a:ext>
            </a:extLst>
          </p:cNvPr>
          <p:cNvSpPr txBox="1"/>
          <p:nvPr/>
        </p:nvSpPr>
        <p:spPr>
          <a:xfrm flipH="1">
            <a:off x="5552654" y="3632674"/>
            <a:ext cx="3178219" cy="472694"/>
          </a:xfrm>
          <a:prstGeom prst="rect">
            <a:avLst/>
          </a:prstGeom>
        </p:spPr>
        <p:txBody>
          <a:bodyPr wrap="square" lIns="0" tIns="0" rIns="0" bIns="0" rtlCol="0">
            <a:spAutoFit/>
          </a:bodyPr>
          <a:lstStyle/>
          <a:p>
            <a:pPr algn="l">
              <a:lnSpc>
                <a:spcPct val="96000"/>
              </a:lnSpc>
            </a:pPr>
            <a:r>
              <a:rPr lang="en-US" sz="1600" dirty="0">
                <a:solidFill>
                  <a:srgbClr val="FF00FF"/>
                </a:solidFill>
                <a:latin typeface="Microsoft Sans Serif"/>
                <a:cs typeface="Microsoft Sans Serif" panose="020B0604020202020204" pitchFamily="34" charset="0"/>
              </a:rPr>
              <a:t>Provided aggregated CMCD data to network, for example NWDAF</a:t>
            </a:r>
          </a:p>
        </p:txBody>
      </p:sp>
      <p:sp>
        <p:nvSpPr>
          <p:cNvPr id="42" name="TextBox 41">
            <a:extLst>
              <a:ext uri="{FF2B5EF4-FFF2-40B4-BE49-F238E27FC236}">
                <a16:creationId xmlns:a16="http://schemas.microsoft.com/office/drawing/2014/main" id="{55B8AFD3-D370-39C1-08F7-91F1FE4625E8}"/>
              </a:ext>
            </a:extLst>
          </p:cNvPr>
          <p:cNvSpPr txBox="1"/>
          <p:nvPr/>
        </p:nvSpPr>
        <p:spPr>
          <a:xfrm>
            <a:off x="727286" y="4066922"/>
            <a:ext cx="5479625" cy="565026"/>
          </a:xfrm>
          <a:prstGeom prst="rect">
            <a:avLst/>
          </a:prstGeom>
          <a:noFill/>
        </p:spPr>
        <p:txBody>
          <a:bodyPr wrap="square">
            <a:spAutoFit/>
          </a:bodyPr>
          <a:lstStyle/>
          <a:p>
            <a:pPr algn="ctr">
              <a:lnSpc>
                <a:spcPct val="96000"/>
              </a:lnSpc>
            </a:pPr>
            <a:r>
              <a:rPr lang="en-US" sz="1600" dirty="0">
                <a:latin typeface="Microsoft Sans Serif"/>
                <a:cs typeface="Microsoft Sans Serif" panose="020B0604020202020204" pitchFamily="34" charset="0"/>
              </a:rPr>
              <a:t>Manifest</a:t>
            </a:r>
            <a:r>
              <a:rPr lang="en-US" sz="1600" dirty="0">
                <a:solidFill>
                  <a:schemeClr val="bg1"/>
                </a:solidFill>
                <a:latin typeface="Microsoft Sans Serif"/>
                <a:cs typeface="Microsoft Sans Serif" panose="020B0604020202020204" pitchFamily="34" charset="0"/>
              </a:rPr>
              <a:t>  </a:t>
            </a:r>
            <a:br>
              <a:rPr lang="en-US" sz="1600" dirty="0">
                <a:solidFill>
                  <a:schemeClr val="bg1"/>
                </a:solidFill>
                <a:latin typeface="Microsoft Sans Serif"/>
                <a:cs typeface="Microsoft Sans Serif" panose="020B0604020202020204" pitchFamily="34" charset="0"/>
              </a:rPr>
            </a:br>
            <a:r>
              <a:rPr lang="en-US" sz="1600" dirty="0">
                <a:solidFill>
                  <a:srgbClr val="FF00FF"/>
                </a:solidFill>
                <a:latin typeface="Microsoft Sans Serif"/>
                <a:cs typeface="Microsoft Sans Serif" panose="020B0604020202020204" pitchFamily="34" charset="0"/>
              </a:rPr>
              <a:t>(incl. CMCD data collection configuration)</a:t>
            </a:r>
          </a:p>
        </p:txBody>
      </p:sp>
    </p:spTree>
    <p:extLst>
      <p:ext uri="{BB962C8B-B14F-4D97-AF65-F5344CB8AC3E}">
        <p14:creationId xmlns:p14="http://schemas.microsoft.com/office/powerpoint/2010/main" val="144616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55E11-9EEA-B002-67D9-7773888A3BC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488B169-0E72-CF9D-1835-C524C21A1D62}"/>
              </a:ext>
            </a:extLst>
          </p:cNvPr>
          <p:cNvSpPr/>
          <p:nvPr/>
        </p:nvSpPr>
        <p:spPr>
          <a:xfrm>
            <a:off x="326599" y="1040077"/>
            <a:ext cx="5070792" cy="3535927"/>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2" name="Footer Placeholder 1">
            <a:extLst>
              <a:ext uri="{FF2B5EF4-FFF2-40B4-BE49-F238E27FC236}">
                <a16:creationId xmlns:a16="http://schemas.microsoft.com/office/drawing/2014/main" id="{A0E0BC2C-840C-CB08-B021-F87F866CF369}"/>
              </a:ext>
            </a:extLst>
          </p:cNvPr>
          <p:cNvSpPr>
            <a:spLocks noGrp="1"/>
          </p:cNvSpPr>
          <p:nvPr>
            <p:ph type="ftr" sz="quarter" idx="10"/>
          </p:nvPr>
        </p:nvSpPr>
        <p:spPr/>
        <p:txBody>
          <a:bodyPr/>
          <a:lstStyle/>
          <a:p>
            <a:r>
              <a:rPr lang="en-US"/>
              <a:t>5G Broadcast Conference</a:t>
            </a:r>
            <a:endParaRPr lang="en-US" dirty="0"/>
          </a:p>
        </p:txBody>
      </p:sp>
      <p:sp>
        <p:nvSpPr>
          <p:cNvPr id="3" name="Title 2">
            <a:extLst>
              <a:ext uri="{FF2B5EF4-FFF2-40B4-BE49-F238E27FC236}">
                <a16:creationId xmlns:a16="http://schemas.microsoft.com/office/drawing/2014/main" id="{49F995FC-C9AC-B70D-C5AD-744C4F4032F0}"/>
              </a:ext>
            </a:extLst>
          </p:cNvPr>
          <p:cNvSpPr>
            <a:spLocks noGrp="1"/>
          </p:cNvSpPr>
          <p:nvPr>
            <p:ph type="title"/>
          </p:nvPr>
        </p:nvSpPr>
        <p:spPr>
          <a:xfrm>
            <a:off x="495300" y="642644"/>
            <a:ext cx="11187112" cy="361959"/>
          </a:xfrm>
        </p:spPr>
        <p:txBody>
          <a:bodyPr/>
          <a:lstStyle/>
          <a:p>
            <a:r>
              <a:rPr lang="en-US" dirty="0"/>
              <a:t>In-session Repair Adaptation to Multicast/Broadcast</a:t>
            </a:r>
          </a:p>
        </p:txBody>
      </p:sp>
      <p:sp>
        <p:nvSpPr>
          <p:cNvPr id="8" name="Content Placeholder 7">
            <a:extLst>
              <a:ext uri="{FF2B5EF4-FFF2-40B4-BE49-F238E27FC236}">
                <a16:creationId xmlns:a16="http://schemas.microsoft.com/office/drawing/2014/main" id="{1637389C-5BB4-7F29-1D1C-F38AE3B38808}"/>
              </a:ext>
            </a:extLst>
          </p:cNvPr>
          <p:cNvSpPr>
            <a:spLocks noGrp="1"/>
          </p:cNvSpPr>
          <p:nvPr>
            <p:ph sz="quarter" idx="14"/>
          </p:nvPr>
        </p:nvSpPr>
        <p:spPr>
          <a:xfrm>
            <a:off x="495300" y="4733806"/>
            <a:ext cx="10943272" cy="1666993"/>
          </a:xfrm>
        </p:spPr>
        <p:txBody>
          <a:bodyPr/>
          <a:lstStyle/>
          <a:p>
            <a:r>
              <a:rPr lang="en-US" dirty="0"/>
              <a:t>In the case above case the general architecture and call flow is adapted. The client requests data from unicast in case broadcast is failing/partial. </a:t>
            </a:r>
          </a:p>
          <a:p>
            <a:r>
              <a:rPr lang="en-US" dirty="0"/>
              <a:t>The MC/BC client uses the information to reconstruct the objects accordingly.</a:t>
            </a:r>
          </a:p>
        </p:txBody>
      </p:sp>
      <p:sp>
        <p:nvSpPr>
          <p:cNvPr id="4" name="Rectangle 3">
            <a:extLst>
              <a:ext uri="{FF2B5EF4-FFF2-40B4-BE49-F238E27FC236}">
                <a16:creationId xmlns:a16="http://schemas.microsoft.com/office/drawing/2014/main" id="{FE6303DA-4ABD-C019-E460-FE5C172B0DC0}"/>
              </a:ext>
            </a:extLst>
          </p:cNvPr>
          <p:cNvSpPr/>
          <p:nvPr/>
        </p:nvSpPr>
        <p:spPr>
          <a:xfrm>
            <a:off x="9724918" y="1741165"/>
            <a:ext cx="1713654" cy="280841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t"/>
          <a:lstStyle/>
          <a:p>
            <a:pPr algn="ctr" defTabSz="685800">
              <a:lnSpc>
                <a:spcPct val="96000"/>
              </a:lnSpc>
            </a:pPr>
            <a:r>
              <a:rPr lang="en-US" sz="1350" dirty="0">
                <a:solidFill>
                  <a:srgbClr val="F7F8FA"/>
                </a:solidFill>
                <a:cs typeface="Microsoft Sans Serif" panose="020B0604020202020204" pitchFamily="34" charset="0"/>
              </a:rPr>
              <a:t>Application</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Providers</a:t>
            </a:r>
          </a:p>
        </p:txBody>
      </p:sp>
      <p:sp>
        <p:nvSpPr>
          <p:cNvPr id="7" name="Rectangle 6">
            <a:extLst>
              <a:ext uri="{FF2B5EF4-FFF2-40B4-BE49-F238E27FC236}">
                <a16:creationId xmlns:a16="http://schemas.microsoft.com/office/drawing/2014/main" id="{BB22021E-11FB-D11F-8228-F642359CD12A}"/>
              </a:ext>
            </a:extLst>
          </p:cNvPr>
          <p:cNvSpPr/>
          <p:nvPr/>
        </p:nvSpPr>
        <p:spPr>
          <a:xfrm>
            <a:off x="3164746" y="1010703"/>
            <a:ext cx="1879229" cy="2581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Client</a:t>
            </a:r>
          </a:p>
        </p:txBody>
      </p:sp>
      <p:sp>
        <p:nvSpPr>
          <p:cNvPr id="12" name="Flowchart: Magnetic Disk 11">
            <a:extLst>
              <a:ext uri="{FF2B5EF4-FFF2-40B4-BE49-F238E27FC236}">
                <a16:creationId xmlns:a16="http://schemas.microsoft.com/office/drawing/2014/main" id="{1C878E6B-0222-D421-A697-1EC79C8854A7}"/>
              </a:ext>
            </a:extLst>
          </p:cNvPr>
          <p:cNvSpPr/>
          <p:nvPr/>
        </p:nvSpPr>
        <p:spPr>
          <a:xfrm>
            <a:off x="3261583" y="2557132"/>
            <a:ext cx="742950" cy="960438"/>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edia Server</a:t>
            </a:r>
          </a:p>
        </p:txBody>
      </p:sp>
      <p:sp>
        <p:nvSpPr>
          <p:cNvPr id="23" name="Rectangle 22">
            <a:extLst>
              <a:ext uri="{FF2B5EF4-FFF2-40B4-BE49-F238E27FC236}">
                <a16:creationId xmlns:a16="http://schemas.microsoft.com/office/drawing/2014/main" id="{B0362C2D-6ECF-6845-CECE-1ECA6BDCCA71}"/>
              </a:ext>
            </a:extLst>
          </p:cNvPr>
          <p:cNvSpPr/>
          <p:nvPr/>
        </p:nvSpPr>
        <p:spPr>
          <a:xfrm>
            <a:off x="569501" y="1010703"/>
            <a:ext cx="2540424" cy="10093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Application</a:t>
            </a:r>
          </a:p>
        </p:txBody>
      </p:sp>
      <p:sp>
        <p:nvSpPr>
          <p:cNvPr id="24" name="Rectangle 23">
            <a:extLst>
              <a:ext uri="{FF2B5EF4-FFF2-40B4-BE49-F238E27FC236}">
                <a16:creationId xmlns:a16="http://schemas.microsoft.com/office/drawing/2014/main" id="{BBEA3761-72BD-29AC-C9E7-633171249D40}"/>
              </a:ext>
            </a:extLst>
          </p:cNvPr>
          <p:cNvSpPr/>
          <p:nvPr/>
        </p:nvSpPr>
        <p:spPr>
          <a:xfrm>
            <a:off x="569501" y="2503905"/>
            <a:ext cx="936625" cy="10715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DASH</a:t>
            </a:r>
            <a:br>
              <a:rPr lang="en-US" sz="1350" dirty="0">
                <a:solidFill>
                  <a:srgbClr val="F7F8FA"/>
                </a:solidFill>
                <a:cs typeface="Microsoft Sans Serif" panose="020B0604020202020204" pitchFamily="34" charset="0"/>
              </a:rPr>
            </a:br>
            <a:r>
              <a:rPr lang="en-US" sz="1350" dirty="0">
                <a:solidFill>
                  <a:srgbClr val="F7F8FA"/>
                </a:solidFill>
                <a:cs typeface="Microsoft Sans Serif" panose="020B0604020202020204" pitchFamily="34" charset="0"/>
              </a:rPr>
              <a:t>or HLS Client</a:t>
            </a:r>
          </a:p>
        </p:txBody>
      </p:sp>
      <p:sp>
        <p:nvSpPr>
          <p:cNvPr id="25" name="Oval 24">
            <a:extLst>
              <a:ext uri="{FF2B5EF4-FFF2-40B4-BE49-F238E27FC236}">
                <a16:creationId xmlns:a16="http://schemas.microsoft.com/office/drawing/2014/main" id="{640AAFD0-F809-F0E2-3256-8AB42A80E854}"/>
              </a:ext>
            </a:extLst>
          </p:cNvPr>
          <p:cNvSpPr/>
          <p:nvPr/>
        </p:nvSpPr>
        <p:spPr>
          <a:xfrm>
            <a:off x="2971864" y="1510857"/>
            <a:ext cx="385763" cy="960437"/>
          </a:xfrm>
          <a:prstGeom prst="ellipse">
            <a:avLst/>
          </a:prstGeom>
          <a:ln/>
        </p:spPr>
        <p:style>
          <a:lnRef idx="2">
            <a:schemeClr val="accent6"/>
          </a:lnRef>
          <a:fillRef idx="1">
            <a:schemeClr val="lt1"/>
          </a:fillRef>
          <a:effectRef idx="0">
            <a:schemeClr val="accent6"/>
          </a:effectRef>
          <a:fontRef idx="minor">
            <a:schemeClr val="dk1"/>
          </a:fontRef>
        </p:style>
        <p:txBody>
          <a:bodyPr vert="vert" anchor="ctr"/>
          <a:lstStyle/>
          <a:p>
            <a:pPr algn="ctr" defTabSz="685800" eaLnBrk="1" fontAlgn="auto" hangingPunct="1">
              <a:lnSpc>
                <a:spcPct val="96000"/>
              </a:lnSpc>
              <a:spcBef>
                <a:spcPts val="0"/>
              </a:spcBef>
              <a:spcAft>
                <a:spcPts val="0"/>
              </a:spcAft>
              <a:defRPr/>
            </a:pPr>
            <a:r>
              <a:rPr lang="en-US" sz="1350" dirty="0">
                <a:solidFill>
                  <a:srgbClr val="13161E"/>
                </a:solidFill>
                <a:cs typeface="Microsoft Sans Serif" panose="020B0604020202020204" pitchFamily="34" charset="0"/>
              </a:rPr>
              <a:t>MBMS-API</a:t>
            </a:r>
          </a:p>
        </p:txBody>
      </p:sp>
      <p:cxnSp>
        <p:nvCxnSpPr>
          <p:cNvPr id="26" name="Straight Arrow Connector 25">
            <a:extLst>
              <a:ext uri="{FF2B5EF4-FFF2-40B4-BE49-F238E27FC236}">
                <a16:creationId xmlns:a16="http://schemas.microsoft.com/office/drawing/2014/main" id="{A866D203-F5FD-3EAC-1318-353F6EE2059C}"/>
              </a:ext>
            </a:extLst>
          </p:cNvPr>
          <p:cNvCxnSpPr>
            <a:cxnSpLocks/>
            <a:endCxn id="24" idx="0"/>
          </p:cNvCxnSpPr>
          <p:nvPr/>
        </p:nvCxnSpPr>
        <p:spPr>
          <a:xfrm>
            <a:off x="1037813" y="2027328"/>
            <a:ext cx="1" cy="476577"/>
          </a:xfrm>
          <a:prstGeom prst="straightConnector1">
            <a:avLst/>
          </a:prstGeom>
          <a:ln w="12700" cap="rnd">
            <a:solidFill>
              <a:schemeClr val="accent6"/>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27" name="Arrow: Left-Right 26">
            <a:extLst>
              <a:ext uri="{FF2B5EF4-FFF2-40B4-BE49-F238E27FC236}">
                <a16:creationId xmlns:a16="http://schemas.microsoft.com/office/drawing/2014/main" id="{9CBCA86C-7BD5-22B2-B202-3C4BA9B19FC4}"/>
              </a:ext>
            </a:extLst>
          </p:cNvPr>
          <p:cNvSpPr/>
          <p:nvPr/>
        </p:nvSpPr>
        <p:spPr>
          <a:xfrm>
            <a:off x="1506125" y="2738638"/>
            <a:ext cx="1755457" cy="749832"/>
          </a:xfrm>
          <a:prstGeom prst="leftRightArrow">
            <a:avLst>
              <a:gd name="adj1" fmla="val 50000"/>
              <a:gd name="adj2" fmla="val 23804"/>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Request Data</a:t>
            </a:r>
            <a:endParaRPr lang="en-US" sz="1350" dirty="0">
              <a:solidFill>
                <a:srgbClr val="FF00FF"/>
              </a:solidFill>
              <a:cs typeface="Microsoft Sans Serif" panose="020B0604020202020204" pitchFamily="34" charset="0"/>
            </a:endParaRPr>
          </a:p>
        </p:txBody>
      </p:sp>
      <p:sp>
        <p:nvSpPr>
          <p:cNvPr id="28" name="TextBox 27">
            <a:extLst>
              <a:ext uri="{FF2B5EF4-FFF2-40B4-BE49-F238E27FC236}">
                <a16:creationId xmlns:a16="http://schemas.microsoft.com/office/drawing/2014/main" id="{A76409C7-134B-CCC2-EC24-A7412E311E26}"/>
              </a:ext>
            </a:extLst>
          </p:cNvPr>
          <p:cNvSpPr txBox="1"/>
          <p:nvPr/>
        </p:nvSpPr>
        <p:spPr>
          <a:xfrm>
            <a:off x="363068" y="2082146"/>
            <a:ext cx="605935" cy="310213"/>
          </a:xfrm>
          <a:prstGeom prst="rect">
            <a:avLst/>
          </a:prstGeom>
        </p:spPr>
        <p:txBody>
          <a:bodyPr wrap="none" lIns="0" tIns="0" rIns="0" bIns="0" rtlCol="0">
            <a:spAutoFit/>
          </a:bodyPr>
          <a:lstStyle/>
          <a:p>
            <a:pPr algn="r">
              <a:lnSpc>
                <a:spcPct val="96000"/>
              </a:lnSpc>
            </a:pPr>
            <a:r>
              <a:rPr lang="en-US" sz="1050" dirty="0">
                <a:solidFill>
                  <a:schemeClr val="tx2"/>
                </a:solidFill>
                <a:latin typeface="Microsoft Sans Serif"/>
                <a:cs typeface="Microsoft Sans Serif" panose="020B0604020202020204" pitchFamily="34" charset="0"/>
              </a:rPr>
              <a:t>MPD URL</a:t>
            </a:r>
            <a:br>
              <a:rPr lang="en-US" sz="1050" dirty="0">
                <a:solidFill>
                  <a:schemeClr val="tx2"/>
                </a:solidFill>
                <a:latin typeface="Microsoft Sans Serif"/>
                <a:cs typeface="Microsoft Sans Serif" panose="020B0604020202020204" pitchFamily="34" charset="0"/>
              </a:rPr>
            </a:br>
            <a:r>
              <a:rPr lang="en-US" sz="1050" dirty="0">
                <a:solidFill>
                  <a:schemeClr val="tx2"/>
                </a:solidFill>
                <a:latin typeface="Microsoft Sans Serif"/>
                <a:cs typeface="Microsoft Sans Serif" panose="020B0604020202020204" pitchFamily="34" charset="0"/>
              </a:rPr>
              <a:t>M3U8</a:t>
            </a:r>
          </a:p>
        </p:txBody>
      </p:sp>
      <p:sp>
        <p:nvSpPr>
          <p:cNvPr id="29" name="Flowchart: Magnetic Disk 28">
            <a:extLst>
              <a:ext uri="{FF2B5EF4-FFF2-40B4-BE49-F238E27FC236}">
                <a16:creationId xmlns:a16="http://schemas.microsoft.com/office/drawing/2014/main" id="{E35E6CFC-1A19-00BD-3564-249F9CF3F190}"/>
              </a:ext>
            </a:extLst>
          </p:cNvPr>
          <p:cNvSpPr/>
          <p:nvPr/>
        </p:nvSpPr>
        <p:spPr>
          <a:xfrm>
            <a:off x="10090162" y="2619248"/>
            <a:ext cx="836296" cy="1488236"/>
          </a:xfrm>
          <a:prstGeom prst="flowChartMagneticDisk">
            <a:avLst/>
          </a:prstGeom>
          <a:ln/>
        </p:spPr>
        <p:style>
          <a:lnRef idx="2">
            <a:schemeClr val="accent3">
              <a:shade val="15000"/>
            </a:schemeClr>
          </a:lnRef>
          <a:fillRef idx="1">
            <a:schemeClr val="accent3"/>
          </a:fillRef>
          <a:effectRef idx="0">
            <a:schemeClr val="accent3"/>
          </a:effectRef>
          <a:fontRef idx="minor">
            <a:schemeClr val="lt1"/>
          </a:fontRef>
        </p:style>
        <p:txBody>
          <a:bodyPr anchor="ctr"/>
          <a:lstStyle/>
          <a:p>
            <a:pPr algn="ctr" defTabSz="685800">
              <a:lnSpc>
                <a:spcPct val="96000"/>
              </a:lnSpc>
            </a:pPr>
            <a:r>
              <a:rPr lang="en-US" sz="1350" dirty="0">
                <a:solidFill>
                  <a:srgbClr val="F7F8FA"/>
                </a:solidFill>
                <a:cs typeface="Microsoft Sans Serif" panose="020B0604020202020204" pitchFamily="34" charset="0"/>
              </a:rPr>
              <a:t>Network Media Server</a:t>
            </a:r>
          </a:p>
        </p:txBody>
      </p:sp>
      <p:sp>
        <p:nvSpPr>
          <p:cNvPr id="30" name="Rectangle 29">
            <a:extLst>
              <a:ext uri="{FF2B5EF4-FFF2-40B4-BE49-F238E27FC236}">
                <a16:creationId xmlns:a16="http://schemas.microsoft.com/office/drawing/2014/main" id="{20B38056-9F5D-2EB7-E3D0-761B5B350EA8}"/>
              </a:ext>
            </a:extLst>
          </p:cNvPr>
          <p:cNvSpPr/>
          <p:nvPr/>
        </p:nvSpPr>
        <p:spPr>
          <a:xfrm>
            <a:off x="6850921" y="1510857"/>
            <a:ext cx="1525587" cy="179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lnSpc>
                <a:spcPct val="96000"/>
              </a:lnSpc>
              <a:spcBef>
                <a:spcPts val="0"/>
              </a:spcBef>
              <a:spcAft>
                <a:spcPts val="0"/>
              </a:spcAft>
              <a:defRPr/>
            </a:pPr>
            <a:r>
              <a:rPr lang="en-US" sz="1350" dirty="0">
                <a:solidFill>
                  <a:srgbClr val="F7F8FA"/>
                </a:solidFill>
                <a:cs typeface="Microsoft Sans Serif" panose="020B0604020202020204" pitchFamily="34" charset="0"/>
              </a:rPr>
              <a:t>Multicast Broadcast Network functions</a:t>
            </a:r>
          </a:p>
        </p:txBody>
      </p:sp>
      <p:sp>
        <p:nvSpPr>
          <p:cNvPr id="31" name="Arrow: Left 30">
            <a:extLst>
              <a:ext uri="{FF2B5EF4-FFF2-40B4-BE49-F238E27FC236}">
                <a16:creationId xmlns:a16="http://schemas.microsoft.com/office/drawing/2014/main" id="{5F4DDD0D-3B51-DE69-89BB-BEFDA1398BF2}"/>
              </a:ext>
            </a:extLst>
          </p:cNvPr>
          <p:cNvSpPr/>
          <p:nvPr/>
        </p:nvSpPr>
        <p:spPr>
          <a:xfrm>
            <a:off x="8376508" y="2874631"/>
            <a:ext cx="1713654"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Push resources</a:t>
            </a:r>
          </a:p>
        </p:txBody>
      </p:sp>
      <p:sp>
        <p:nvSpPr>
          <p:cNvPr id="32" name="Arrow: Left 31">
            <a:extLst>
              <a:ext uri="{FF2B5EF4-FFF2-40B4-BE49-F238E27FC236}">
                <a16:creationId xmlns:a16="http://schemas.microsoft.com/office/drawing/2014/main" id="{408960D2-0312-7B29-4B6A-76ABE9495FCD}"/>
              </a:ext>
            </a:extLst>
          </p:cNvPr>
          <p:cNvSpPr/>
          <p:nvPr/>
        </p:nvSpPr>
        <p:spPr>
          <a:xfrm>
            <a:off x="5047097" y="2515652"/>
            <a:ext cx="1855367" cy="43349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MC/BC Distribution</a:t>
            </a:r>
          </a:p>
        </p:txBody>
      </p:sp>
      <p:sp>
        <p:nvSpPr>
          <p:cNvPr id="33" name="Rectangle 32">
            <a:extLst>
              <a:ext uri="{FF2B5EF4-FFF2-40B4-BE49-F238E27FC236}">
                <a16:creationId xmlns:a16="http://schemas.microsoft.com/office/drawing/2014/main" id="{573B9430-1659-E299-66B2-4CCEA8F4D675}"/>
              </a:ext>
            </a:extLst>
          </p:cNvPr>
          <p:cNvSpPr/>
          <p:nvPr/>
        </p:nvSpPr>
        <p:spPr>
          <a:xfrm>
            <a:off x="4151403" y="1823378"/>
            <a:ext cx="814415" cy="1125767"/>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Request and response function</a:t>
            </a:r>
            <a:endParaRPr lang="en-US" sz="1100" dirty="0">
              <a:solidFill>
                <a:srgbClr val="FF00FF"/>
              </a:solidFill>
              <a:latin typeface="Microsoft Sans Serif"/>
              <a:cs typeface="Microsoft Sans Serif" panose="020B0604020202020204" pitchFamily="34" charset="0"/>
            </a:endParaRPr>
          </a:p>
        </p:txBody>
      </p:sp>
      <p:sp>
        <p:nvSpPr>
          <p:cNvPr id="34" name="Arrow: Bent 33">
            <a:extLst>
              <a:ext uri="{FF2B5EF4-FFF2-40B4-BE49-F238E27FC236}">
                <a16:creationId xmlns:a16="http://schemas.microsoft.com/office/drawing/2014/main" id="{1DB687B4-7DEB-EB0E-22C6-4A8EC34E3A48}"/>
              </a:ext>
            </a:extLst>
          </p:cNvPr>
          <p:cNvSpPr/>
          <p:nvPr/>
        </p:nvSpPr>
        <p:spPr>
          <a:xfrm>
            <a:off x="3578237" y="2082146"/>
            <a:ext cx="570044" cy="442594"/>
          </a:xfrm>
          <a:prstGeom prst="ben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endParaRPr lang="en-US" dirty="0">
              <a:solidFill>
                <a:schemeClr val="bg1"/>
              </a:solidFill>
              <a:latin typeface="Microsoft Sans Serif"/>
              <a:cs typeface="Microsoft Sans Serif" panose="020B0604020202020204" pitchFamily="34" charset="0"/>
            </a:endParaRPr>
          </a:p>
        </p:txBody>
      </p:sp>
      <p:cxnSp>
        <p:nvCxnSpPr>
          <p:cNvPr id="35" name="Connector: Elbow 34">
            <a:extLst>
              <a:ext uri="{FF2B5EF4-FFF2-40B4-BE49-F238E27FC236}">
                <a16:creationId xmlns:a16="http://schemas.microsoft.com/office/drawing/2014/main" id="{C2BA4004-6F43-1815-D96B-46814CAC0DBD}"/>
              </a:ext>
            </a:extLst>
          </p:cNvPr>
          <p:cNvCxnSpPr>
            <a:cxnSpLocks/>
            <a:stCxn id="24" idx="2"/>
            <a:endCxn id="29" idx="3"/>
          </p:cNvCxnSpPr>
          <p:nvPr/>
        </p:nvCxnSpPr>
        <p:spPr>
          <a:xfrm rot="16200000" flipH="1">
            <a:off x="5507054" y="-893772"/>
            <a:ext cx="532016" cy="9470496"/>
          </a:xfrm>
          <a:prstGeom prst="bentConnector3">
            <a:avLst>
              <a:gd name="adj1" fmla="val 142969"/>
            </a:avLst>
          </a:prstGeom>
          <a:ln w="19050"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Connector: Elbow 35">
            <a:extLst>
              <a:ext uri="{FF2B5EF4-FFF2-40B4-BE49-F238E27FC236}">
                <a16:creationId xmlns:a16="http://schemas.microsoft.com/office/drawing/2014/main" id="{C8A06998-F03D-DE58-1A23-FDB5814E3289}"/>
              </a:ext>
            </a:extLst>
          </p:cNvPr>
          <p:cNvCxnSpPr>
            <a:cxnSpLocks/>
            <a:stCxn id="33" idx="2"/>
          </p:cNvCxnSpPr>
          <p:nvPr/>
        </p:nvCxnSpPr>
        <p:spPr>
          <a:xfrm rot="16200000" flipH="1">
            <a:off x="6672106" y="835650"/>
            <a:ext cx="939316" cy="5166306"/>
          </a:xfrm>
          <a:prstGeom prst="bentConnector2">
            <a:avLst/>
          </a:prstGeom>
          <a:ln w="12700" cap="rnd">
            <a:solidFill>
              <a:schemeClr val="accent6"/>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37" name="Arrow: Left 36">
            <a:extLst>
              <a:ext uri="{FF2B5EF4-FFF2-40B4-BE49-F238E27FC236}">
                <a16:creationId xmlns:a16="http://schemas.microsoft.com/office/drawing/2014/main" id="{14AD8054-05BE-20A7-9137-1CB332BA85B9}"/>
              </a:ext>
            </a:extLst>
          </p:cNvPr>
          <p:cNvSpPr/>
          <p:nvPr/>
        </p:nvSpPr>
        <p:spPr>
          <a:xfrm>
            <a:off x="4971585" y="1691283"/>
            <a:ext cx="1876214" cy="590714"/>
          </a:xfrm>
          <a:prstGeom prst="leftArrow">
            <a:avLst>
              <a:gd name="adj1" fmla="val 59173"/>
              <a:gd name="adj2" fmla="val 50000"/>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 </a:t>
            </a:r>
            <a:br>
              <a:rPr lang="en-US" sz="1200" dirty="0">
                <a:solidFill>
                  <a:schemeClr val="bg1"/>
                </a:solidFill>
                <a:latin typeface="Microsoft Sans Serif"/>
                <a:cs typeface="Microsoft Sans Serif" panose="020B0604020202020204" pitchFamily="34" charset="0"/>
              </a:rPr>
            </a:br>
            <a:r>
              <a:rPr lang="en-US" sz="1200" dirty="0">
                <a:solidFill>
                  <a:srgbClr val="FF00FF"/>
                </a:solidFill>
                <a:latin typeface="Microsoft Sans Serif"/>
                <a:cs typeface="Microsoft Sans Serif" panose="020B0604020202020204" pitchFamily="34" charset="0"/>
              </a:rPr>
              <a:t>(incl. unicast config)</a:t>
            </a:r>
          </a:p>
        </p:txBody>
      </p:sp>
      <p:sp>
        <p:nvSpPr>
          <p:cNvPr id="38" name="Arrow: Left 37">
            <a:extLst>
              <a:ext uri="{FF2B5EF4-FFF2-40B4-BE49-F238E27FC236}">
                <a16:creationId xmlns:a16="http://schemas.microsoft.com/office/drawing/2014/main" id="{BFC3153A-794A-1585-F35C-8983E4B1928E}"/>
              </a:ext>
            </a:extLst>
          </p:cNvPr>
          <p:cNvSpPr/>
          <p:nvPr/>
        </p:nvSpPr>
        <p:spPr>
          <a:xfrm>
            <a:off x="8376507" y="1978717"/>
            <a:ext cx="1348411" cy="433493"/>
          </a:xfrm>
          <a:prstGeom prst="leftArrow">
            <a:avLst/>
          </a:prstGeom>
          <a:ln/>
        </p:spPr>
        <p:style>
          <a:lnRef idx="3">
            <a:schemeClr val="lt1"/>
          </a:lnRef>
          <a:fillRef idx="1">
            <a:schemeClr val="accent4"/>
          </a:fillRef>
          <a:effectRef idx="1">
            <a:schemeClr val="accent4"/>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Configuration</a:t>
            </a:r>
          </a:p>
        </p:txBody>
      </p:sp>
      <p:sp>
        <p:nvSpPr>
          <p:cNvPr id="40" name="TextBox 39">
            <a:extLst>
              <a:ext uri="{FF2B5EF4-FFF2-40B4-BE49-F238E27FC236}">
                <a16:creationId xmlns:a16="http://schemas.microsoft.com/office/drawing/2014/main" id="{3D8177C8-CDF9-D02F-723E-8C1E62847D18}"/>
              </a:ext>
            </a:extLst>
          </p:cNvPr>
          <p:cNvSpPr txBox="1"/>
          <p:nvPr/>
        </p:nvSpPr>
        <p:spPr>
          <a:xfrm flipH="1">
            <a:off x="5552654" y="3632674"/>
            <a:ext cx="3178219" cy="472694"/>
          </a:xfrm>
          <a:prstGeom prst="rect">
            <a:avLst/>
          </a:prstGeom>
        </p:spPr>
        <p:txBody>
          <a:bodyPr wrap="square" lIns="0" tIns="0" rIns="0" bIns="0" rtlCol="0">
            <a:spAutoFit/>
          </a:bodyPr>
          <a:lstStyle/>
          <a:p>
            <a:pPr algn="l">
              <a:lnSpc>
                <a:spcPct val="96000"/>
              </a:lnSpc>
            </a:pPr>
            <a:r>
              <a:rPr lang="en-US" sz="1600" dirty="0">
                <a:solidFill>
                  <a:srgbClr val="FF00FF"/>
                </a:solidFill>
                <a:latin typeface="Microsoft Sans Serif"/>
                <a:cs typeface="Microsoft Sans Serif" panose="020B0604020202020204" pitchFamily="34" charset="0"/>
              </a:rPr>
              <a:t>Request data, potentially partially from unicast</a:t>
            </a:r>
          </a:p>
        </p:txBody>
      </p:sp>
      <p:sp>
        <p:nvSpPr>
          <p:cNvPr id="42" name="TextBox 41">
            <a:extLst>
              <a:ext uri="{FF2B5EF4-FFF2-40B4-BE49-F238E27FC236}">
                <a16:creationId xmlns:a16="http://schemas.microsoft.com/office/drawing/2014/main" id="{89A2FBD1-1AA7-D65C-1F1D-D57BAEA1B850}"/>
              </a:ext>
            </a:extLst>
          </p:cNvPr>
          <p:cNvSpPr txBox="1"/>
          <p:nvPr/>
        </p:nvSpPr>
        <p:spPr>
          <a:xfrm>
            <a:off x="727286" y="4066922"/>
            <a:ext cx="5479625" cy="565026"/>
          </a:xfrm>
          <a:prstGeom prst="rect">
            <a:avLst/>
          </a:prstGeom>
          <a:noFill/>
        </p:spPr>
        <p:txBody>
          <a:bodyPr wrap="square">
            <a:spAutoFit/>
          </a:bodyPr>
          <a:lstStyle/>
          <a:p>
            <a:pPr algn="ctr">
              <a:lnSpc>
                <a:spcPct val="96000"/>
              </a:lnSpc>
            </a:pPr>
            <a:r>
              <a:rPr lang="en-US" sz="1600" dirty="0">
                <a:latin typeface="Microsoft Sans Serif"/>
                <a:cs typeface="Microsoft Sans Serif" panose="020B0604020202020204" pitchFamily="34" charset="0"/>
              </a:rPr>
              <a:t>Manifest</a:t>
            </a:r>
            <a:r>
              <a:rPr lang="en-US" sz="1600" dirty="0">
                <a:solidFill>
                  <a:schemeClr val="bg1"/>
                </a:solidFill>
                <a:latin typeface="Microsoft Sans Serif"/>
                <a:cs typeface="Microsoft Sans Serif" panose="020B0604020202020204" pitchFamily="34" charset="0"/>
              </a:rPr>
              <a:t>  </a:t>
            </a:r>
            <a:br>
              <a:rPr lang="en-US" sz="1600" dirty="0">
                <a:solidFill>
                  <a:schemeClr val="bg1"/>
                </a:solidFill>
                <a:latin typeface="Microsoft Sans Serif"/>
                <a:cs typeface="Microsoft Sans Serif" panose="020B0604020202020204" pitchFamily="34" charset="0"/>
              </a:rPr>
            </a:br>
            <a:endParaRPr lang="en-US" sz="1600" dirty="0">
              <a:solidFill>
                <a:srgbClr val="FF00FF"/>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24784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4A2FB-4478-A030-ABAC-9A24933FE2B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43BA760-97AE-7C65-2F4C-F969AD0102BE}"/>
              </a:ext>
            </a:extLst>
          </p:cNvPr>
          <p:cNvSpPr>
            <a:spLocks noGrp="1"/>
          </p:cNvSpPr>
          <p:nvPr>
            <p:ph type="title"/>
          </p:nvPr>
        </p:nvSpPr>
        <p:spPr>
          <a:xfrm>
            <a:off x="495300" y="655727"/>
            <a:ext cx="11187112" cy="348878"/>
          </a:xfrm>
        </p:spPr>
        <p:txBody>
          <a:bodyPr/>
          <a:lstStyle/>
          <a:p>
            <a:r>
              <a:rPr lang="en-US" sz="2667">
                <a:hlinkClick r:id="rId2"/>
              </a:rPr>
              <a:t>Update for ETSI spec TS 103 720 v1.3.1 – Work Item in 5G-MAG</a:t>
            </a:r>
            <a:r>
              <a:rPr lang="en-US" sz="2667"/>
              <a:t> and ETSI</a:t>
            </a:r>
          </a:p>
        </p:txBody>
      </p:sp>
      <p:sp>
        <p:nvSpPr>
          <p:cNvPr id="4" name="Google Shape;92;p6">
            <a:extLst>
              <a:ext uri="{FF2B5EF4-FFF2-40B4-BE49-F238E27FC236}">
                <a16:creationId xmlns:a16="http://schemas.microsoft.com/office/drawing/2014/main" id="{CB0E1A4F-29FD-085F-BD10-950C74FA2E81}"/>
              </a:ext>
            </a:extLst>
          </p:cNvPr>
          <p:cNvSpPr txBox="1">
            <a:spLocks/>
          </p:cNvSpPr>
          <p:nvPr/>
        </p:nvSpPr>
        <p:spPr>
          <a:xfrm>
            <a:off x="10723514" y="6390727"/>
            <a:ext cx="1530927" cy="365125"/>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fontAlgn="base">
              <a:spcBef>
                <a:spcPct val="0"/>
              </a:spcBef>
              <a:spcAft>
                <a:spcPct val="0"/>
              </a:spcAft>
              <a:buClr>
                <a:srgbClr val="000000"/>
              </a:buClr>
              <a:defRPr/>
            </a:pPr>
            <a:fld id="{00000000-1234-1234-1234-123412341234}" type="slidenum">
              <a:rPr lang="en-GB" sz="1200" b="1" kern="0">
                <a:solidFill>
                  <a:srgbClr val="2B6CA3"/>
                </a:solidFill>
                <a:latin typeface="Trebuchet MS"/>
                <a:sym typeface="Trebuchet MS"/>
              </a:rPr>
              <a:pPr algn="r" defTabSz="1219170" fontAlgn="base">
                <a:spcBef>
                  <a:spcPct val="0"/>
                </a:spcBef>
                <a:spcAft>
                  <a:spcPct val="0"/>
                </a:spcAft>
                <a:buClr>
                  <a:srgbClr val="000000"/>
                </a:buClr>
                <a:defRPr/>
              </a:pPr>
              <a:t>39</a:t>
            </a:fld>
            <a:endParaRPr lang="en-GB" sz="1200" b="1" kern="0">
              <a:solidFill>
                <a:srgbClr val="2B6CA3"/>
              </a:solidFill>
              <a:latin typeface="Trebuchet MS"/>
              <a:sym typeface="Trebuchet MS"/>
            </a:endParaRPr>
          </a:p>
        </p:txBody>
      </p:sp>
      <p:sp>
        <p:nvSpPr>
          <p:cNvPr id="5" name="Google Shape;93;p6">
            <a:extLst>
              <a:ext uri="{FF2B5EF4-FFF2-40B4-BE49-F238E27FC236}">
                <a16:creationId xmlns:a16="http://schemas.microsoft.com/office/drawing/2014/main" id="{4E197214-21E7-38F2-6396-D137FFD02D1A}"/>
              </a:ext>
            </a:extLst>
          </p:cNvPr>
          <p:cNvSpPr txBox="1">
            <a:spLocks/>
          </p:cNvSpPr>
          <p:nvPr/>
        </p:nvSpPr>
        <p:spPr>
          <a:xfrm>
            <a:off x="3270975" y="6390727"/>
            <a:ext cx="5828804" cy="365125"/>
          </a:xfrm>
          <a:prstGeom prst="rect">
            <a:avLst/>
          </a:prstGeom>
          <a:noFill/>
          <a:ln>
            <a:noFill/>
          </a:ln>
        </p:spPr>
        <p:txBody>
          <a:bodyPr spcFirstLastPara="1" vert="horz" wrap="square" lIns="91425" tIns="45700" rIns="91425" bIns="45700" rtlCol="0" anchor="ctr" anchorCtr="0">
            <a:noAutofit/>
          </a:bodyPr>
          <a:lstStyle>
            <a:lvl1pPr marL="0" indent="0" algn="l" defTabSz="914400" rtl="0" eaLnBrk="1" latinLnBrk="0" hangingPunct="1">
              <a:lnSpc>
                <a:spcPct val="95000"/>
              </a:lnSpc>
              <a:spcBef>
                <a:spcPts val="900"/>
              </a:spcBef>
              <a:spcAft>
                <a:spcPts val="300"/>
              </a:spcAft>
              <a:buClrTx/>
              <a:buFont typeface="Arial" panose="020B0604020202020204" pitchFamily="34" charset="0"/>
              <a:buNone/>
              <a:defRPr lang="en-US" sz="1600" kern="1200" baseline="0" dirty="0">
                <a:solidFill>
                  <a:schemeClr val="dk1"/>
                </a:solidFill>
                <a:latin typeface="+mn-lt"/>
                <a:ea typeface="+mn-ea"/>
                <a:cs typeface="+mn-cs"/>
              </a:defRPr>
            </a:lvl1pPr>
            <a:lvl2pPr marL="401638" indent="-219075" algn="l" defTabSz="914400" rtl="0" eaLnBrk="1" latinLnBrk="0" hangingPunct="1">
              <a:lnSpc>
                <a:spcPct val="100000"/>
              </a:lnSpc>
              <a:spcBef>
                <a:spcPts val="300"/>
              </a:spcBef>
              <a:spcAft>
                <a:spcPts val="0"/>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538163" indent="-136525" algn="l" defTabSz="914400" rtl="0" eaLnBrk="1" latinLnBrk="0" hangingPunct="1">
              <a:lnSpc>
                <a:spcPct val="105000"/>
              </a:lnSpc>
              <a:spcBef>
                <a:spcPts val="300"/>
              </a:spcBef>
              <a:spcAft>
                <a:spcPts val="0"/>
              </a:spcAft>
              <a:buClrTx/>
              <a:buFont typeface="Arial" panose="020B0604020202020204" pitchFamily="34" charset="0"/>
              <a:buChar char="•"/>
              <a:tabLst/>
              <a:defRPr lang="en-US" sz="1400" kern="1200" dirty="0" smtClean="0">
                <a:solidFill>
                  <a:schemeClr val="tx2"/>
                </a:solidFill>
                <a:latin typeface="+mn-lt"/>
                <a:ea typeface="+mn-ea"/>
                <a:cs typeface="+mn-cs"/>
              </a:defRPr>
            </a:lvl3pPr>
            <a:lvl4pPr marL="666750" indent="-128588" algn="l" defTabSz="914400" rtl="0" eaLnBrk="1" latinLnBrk="0" hangingPunct="1">
              <a:lnSpc>
                <a:spcPct val="105000"/>
              </a:lnSpc>
              <a:spcBef>
                <a:spcPts val="150"/>
              </a:spcBef>
              <a:spcAft>
                <a:spcPts val="0"/>
              </a:spcAft>
              <a:buClrTx/>
              <a:buFont typeface="Arial" panose="020B0604020202020204" pitchFamily="34" charset="0"/>
              <a:buChar char="•"/>
              <a:tabLst/>
              <a:defRPr sz="1200" kern="1200">
                <a:solidFill>
                  <a:schemeClr val="tx2"/>
                </a:solidFill>
                <a:latin typeface="+mn-lt"/>
                <a:ea typeface="+mn-ea"/>
                <a:cs typeface="+mn-cs"/>
              </a:defRPr>
            </a:lvl4pPr>
            <a:lvl5pPr marL="838200" indent="-171450" algn="l" defTabSz="914400" rtl="0" eaLnBrk="1" latinLnBrk="0" hangingPunct="1">
              <a:lnSpc>
                <a:spcPct val="95000"/>
              </a:lnSpc>
              <a:spcBef>
                <a:spcPts val="200"/>
              </a:spcBef>
              <a:spcAft>
                <a:spcPts val="0"/>
              </a:spcAft>
              <a:buClrTx/>
              <a:buFont typeface="Arial" panose="020B0604020202020204" pitchFamily="34" charset="0"/>
              <a:buChar char="•"/>
              <a:tabLst/>
              <a:defRPr sz="800" b="0" i="0" kern="1200" spc="0" baseline="0">
                <a:solidFill>
                  <a:schemeClr val="tx2"/>
                </a:solidFill>
                <a:latin typeface="+mn-lt"/>
                <a:ea typeface="+mn-ea"/>
                <a:cs typeface="+mn-cs"/>
              </a:defRPr>
            </a:lvl5pPr>
            <a:lvl6pPr marL="838800" indent="-172800" algn="l" defTabSz="914400" rtl="0" eaLnBrk="1" latinLnBrk="0" hangingPunct="1">
              <a:lnSpc>
                <a:spcPct val="95000"/>
              </a:lnSpc>
              <a:spcBef>
                <a:spcPts val="200"/>
              </a:spcBef>
              <a:buFont typeface="Arial" panose="020B0604020202020204" pitchFamily="34" charset="0"/>
              <a:buChar char="•"/>
              <a:defRPr sz="800" kern="1200">
                <a:solidFill>
                  <a:schemeClr val="tx1"/>
                </a:solidFill>
                <a:latin typeface="+mn-lt"/>
                <a:ea typeface="+mn-ea"/>
                <a:cs typeface="+mn-cs"/>
              </a:defRPr>
            </a:lvl6pPr>
            <a:lvl7pPr marL="838800" indent="-17280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7pPr>
            <a:lvl8pPr marL="838800" indent="-172800" algn="l" defTabSz="914400" rtl="0" eaLnBrk="1" latinLnBrk="0" hangingPunct="1">
              <a:lnSpc>
                <a:spcPct val="95000"/>
              </a:lnSpc>
              <a:spcBef>
                <a:spcPts val="200"/>
              </a:spcBef>
              <a:buSzPct val="100000"/>
              <a:buFont typeface="Arial" panose="020B0604020202020204" pitchFamily="34" charset="0"/>
              <a:buChar char="•"/>
              <a:defRPr lang="en-US" sz="800" kern="1200" baseline="0" dirty="0" smtClean="0">
                <a:solidFill>
                  <a:schemeClr val="tx1"/>
                </a:solidFill>
                <a:latin typeface="+mn-lt"/>
                <a:ea typeface="+mn-ea"/>
                <a:cs typeface="+mn-cs"/>
              </a:defRPr>
            </a:lvl8pPr>
            <a:lvl9pPr marL="837450" indent="-171450" algn="l" defTabSz="914400" rtl="0" eaLnBrk="1" latinLnBrk="0" hangingPunct="1">
              <a:lnSpc>
                <a:spcPct val="95000"/>
              </a:lnSpc>
              <a:spcBef>
                <a:spcPts val="200"/>
              </a:spcBef>
              <a:buFont typeface="Arial" panose="020B0604020202020204" pitchFamily="34" charset="0"/>
              <a:buChar char="•"/>
              <a:defRPr sz="800" kern="1200" baseline="0">
                <a:solidFill>
                  <a:schemeClr val="tx1"/>
                </a:solidFill>
                <a:latin typeface="+mn-lt"/>
                <a:ea typeface="+mn-ea"/>
                <a:cs typeface="+mn-cs"/>
              </a:defRPr>
            </a:lvl9pPr>
          </a:lstStyle>
          <a:p>
            <a:pPr algn="ctr" defTabSz="1219170" fontAlgn="base">
              <a:lnSpc>
                <a:spcPct val="100000"/>
              </a:lnSpc>
              <a:spcBef>
                <a:spcPts val="0"/>
              </a:spcBef>
              <a:spcAft>
                <a:spcPts val="0"/>
              </a:spcAft>
              <a:buClr>
                <a:srgbClr val="000000"/>
              </a:buClr>
              <a:buSzPts val="1400"/>
              <a:defRPr/>
            </a:pPr>
            <a:r>
              <a:rPr lang="en-GB" sz="1100" kern="0">
                <a:solidFill>
                  <a:srgbClr val="2B6CA3"/>
                </a:solidFill>
                <a:latin typeface="Trebuchet MS"/>
                <a:sym typeface="Trebuchet MS"/>
              </a:rPr>
              <a:t>IBC 2024</a:t>
            </a:r>
          </a:p>
        </p:txBody>
      </p:sp>
      <p:pic>
        <p:nvPicPr>
          <p:cNvPr id="8" name="Picture 7">
            <a:extLst>
              <a:ext uri="{FF2B5EF4-FFF2-40B4-BE49-F238E27FC236}">
                <a16:creationId xmlns:a16="http://schemas.microsoft.com/office/drawing/2014/main" id="{955E764A-2979-B0B5-EF6F-29033436C85D}"/>
              </a:ext>
            </a:extLst>
          </p:cNvPr>
          <p:cNvPicPr>
            <a:picLocks noChangeAspect="1"/>
          </p:cNvPicPr>
          <p:nvPr/>
        </p:nvPicPr>
        <p:blipFill>
          <a:blip r:embed="rId3"/>
          <a:stretch>
            <a:fillRect/>
          </a:stretch>
        </p:blipFill>
        <p:spPr>
          <a:xfrm>
            <a:off x="89378" y="1033666"/>
            <a:ext cx="2562263" cy="1688895"/>
          </a:xfrm>
          <a:prstGeom prst="rect">
            <a:avLst/>
          </a:prstGeom>
        </p:spPr>
      </p:pic>
      <p:pic>
        <p:nvPicPr>
          <p:cNvPr id="9" name="Picture 8">
            <a:extLst>
              <a:ext uri="{FF2B5EF4-FFF2-40B4-BE49-F238E27FC236}">
                <a16:creationId xmlns:a16="http://schemas.microsoft.com/office/drawing/2014/main" id="{09AEA3DD-6548-9489-FACD-A4F6C1245811}"/>
              </a:ext>
            </a:extLst>
          </p:cNvPr>
          <p:cNvPicPr>
            <a:picLocks noChangeAspect="1"/>
          </p:cNvPicPr>
          <p:nvPr/>
        </p:nvPicPr>
        <p:blipFill>
          <a:blip r:embed="rId4"/>
          <a:stretch>
            <a:fillRect/>
          </a:stretch>
        </p:blipFill>
        <p:spPr>
          <a:xfrm>
            <a:off x="8817213" y="1199160"/>
            <a:ext cx="3329257" cy="3412869"/>
          </a:xfrm>
          <a:prstGeom prst="rect">
            <a:avLst/>
          </a:prstGeom>
        </p:spPr>
      </p:pic>
      <p:pic>
        <p:nvPicPr>
          <p:cNvPr id="10" name="Picture 9">
            <a:extLst>
              <a:ext uri="{FF2B5EF4-FFF2-40B4-BE49-F238E27FC236}">
                <a16:creationId xmlns:a16="http://schemas.microsoft.com/office/drawing/2014/main" id="{48222721-7781-B8DC-7C45-EADCF68439A7}"/>
              </a:ext>
            </a:extLst>
          </p:cNvPr>
          <p:cNvPicPr>
            <a:picLocks noChangeAspect="1"/>
          </p:cNvPicPr>
          <p:nvPr/>
        </p:nvPicPr>
        <p:blipFill>
          <a:blip r:embed="rId5"/>
          <a:stretch>
            <a:fillRect/>
          </a:stretch>
        </p:blipFill>
        <p:spPr>
          <a:xfrm>
            <a:off x="2651639" y="1033664"/>
            <a:ext cx="2989819" cy="5675587"/>
          </a:xfrm>
          <a:prstGeom prst="rect">
            <a:avLst/>
          </a:prstGeom>
        </p:spPr>
      </p:pic>
      <p:pic>
        <p:nvPicPr>
          <p:cNvPr id="11" name="Picture 10">
            <a:extLst>
              <a:ext uri="{FF2B5EF4-FFF2-40B4-BE49-F238E27FC236}">
                <a16:creationId xmlns:a16="http://schemas.microsoft.com/office/drawing/2014/main" id="{BE3226A6-BE49-F047-A66C-E6C62590531B}"/>
              </a:ext>
            </a:extLst>
          </p:cNvPr>
          <p:cNvPicPr>
            <a:picLocks noChangeAspect="1"/>
          </p:cNvPicPr>
          <p:nvPr/>
        </p:nvPicPr>
        <p:blipFill>
          <a:blip r:embed="rId6"/>
          <a:stretch>
            <a:fillRect/>
          </a:stretch>
        </p:blipFill>
        <p:spPr>
          <a:xfrm>
            <a:off x="5759765" y="1503049"/>
            <a:ext cx="3057449" cy="5267289"/>
          </a:xfrm>
          <a:prstGeom prst="rect">
            <a:avLst/>
          </a:prstGeom>
        </p:spPr>
      </p:pic>
      <p:sp>
        <p:nvSpPr>
          <p:cNvPr id="13" name="TextBox 12">
            <a:extLst>
              <a:ext uri="{FF2B5EF4-FFF2-40B4-BE49-F238E27FC236}">
                <a16:creationId xmlns:a16="http://schemas.microsoft.com/office/drawing/2014/main" id="{E20767F9-A53C-7362-D317-D7E959D587D3}"/>
              </a:ext>
            </a:extLst>
          </p:cNvPr>
          <p:cNvSpPr txBox="1"/>
          <p:nvPr/>
        </p:nvSpPr>
        <p:spPr>
          <a:xfrm>
            <a:off x="149390" y="4474339"/>
            <a:ext cx="2383943" cy="2123658"/>
          </a:xfrm>
          <a:prstGeom prst="rect">
            <a:avLst/>
          </a:prstGeom>
          <a:noFill/>
        </p:spPr>
        <p:txBody>
          <a:bodyPr wrap="square">
            <a:spAutoFit/>
          </a:bodyPr>
          <a:lstStyle/>
          <a:p>
            <a:pPr defTabSz="609585" eaLnBrk="0" fontAlgn="base" hangingPunct="0">
              <a:spcBef>
                <a:spcPct val="0"/>
              </a:spcBef>
              <a:spcAft>
                <a:spcPct val="0"/>
              </a:spcAft>
              <a:buSzPct val="100000"/>
            </a:pPr>
            <a:r>
              <a:rPr lang="en-US" sz="2000" dirty="0">
                <a:solidFill>
                  <a:srgbClr val="13161E"/>
                </a:solidFill>
                <a:latin typeface="Trebuchet MS" panose="020B0603020202020204" pitchFamily="34" charset="0"/>
              </a:rPr>
              <a:t>Aim: </a:t>
            </a:r>
          </a:p>
          <a:p>
            <a:pPr marL="179384" indent="-179384" defTabSz="609585" eaLnBrk="0" fontAlgn="base" hangingPunct="0">
              <a:spcBef>
                <a:spcPct val="0"/>
              </a:spcBef>
              <a:spcAft>
                <a:spcPct val="0"/>
              </a:spcAft>
              <a:buSzPct val="100000"/>
              <a:buFont typeface="Arial" panose="020B0604020202020204" pitchFamily="34" charset="0"/>
              <a:buChar char="•"/>
            </a:pPr>
            <a:r>
              <a:rPr lang="en-US" sz="1600" dirty="0">
                <a:solidFill>
                  <a:srgbClr val="13161E"/>
                </a:solidFill>
                <a:latin typeface="Trebuchet MS" panose="020B0603020202020204" pitchFamily="34" charset="0"/>
              </a:rPr>
              <a:t>Have an agreed work item for IBC 2024</a:t>
            </a:r>
          </a:p>
          <a:p>
            <a:pPr marL="179384" indent="-179384" defTabSz="609585" eaLnBrk="0" fontAlgn="base" hangingPunct="0">
              <a:spcBef>
                <a:spcPct val="0"/>
              </a:spcBef>
              <a:spcAft>
                <a:spcPct val="0"/>
              </a:spcAft>
              <a:buSzPct val="100000"/>
              <a:buFont typeface="Arial" panose="020B0604020202020204" pitchFamily="34" charset="0"/>
              <a:buChar char="•"/>
            </a:pPr>
            <a:r>
              <a:rPr lang="en-US" sz="1600" dirty="0">
                <a:solidFill>
                  <a:srgbClr val="13161E"/>
                </a:solidFill>
                <a:latin typeface="Trebuchet MS" panose="020B0603020202020204" pitchFamily="34" charset="0"/>
              </a:rPr>
              <a:t>Have a stable draft by May 2025</a:t>
            </a:r>
          </a:p>
          <a:p>
            <a:pPr marL="179384" indent="-179384" defTabSz="609585" eaLnBrk="0" fontAlgn="base" hangingPunct="0">
              <a:spcBef>
                <a:spcPct val="0"/>
              </a:spcBef>
              <a:spcAft>
                <a:spcPct val="0"/>
              </a:spcAft>
              <a:buSzPct val="100000"/>
              <a:buFont typeface="Arial" panose="020B0604020202020204" pitchFamily="34" charset="0"/>
              <a:buChar char="•"/>
            </a:pPr>
            <a:r>
              <a:rPr lang="en-US" sz="1600" dirty="0">
                <a:solidFill>
                  <a:srgbClr val="13161E"/>
                </a:solidFill>
                <a:latin typeface="Trebuchet MS" panose="020B0603020202020204" pitchFamily="34" charset="0"/>
              </a:rPr>
              <a:t>Have a stable version by September 2025 for IBC 2025</a:t>
            </a:r>
          </a:p>
        </p:txBody>
      </p:sp>
      <p:graphicFrame>
        <p:nvGraphicFramePr>
          <p:cNvPr id="14" name="Table 13">
            <a:extLst>
              <a:ext uri="{FF2B5EF4-FFF2-40B4-BE49-F238E27FC236}">
                <a16:creationId xmlns:a16="http://schemas.microsoft.com/office/drawing/2014/main" id="{E14879D3-1FB5-FFF1-7398-87C21FA4898D}"/>
              </a:ext>
            </a:extLst>
          </p:cNvPr>
          <p:cNvGraphicFramePr>
            <a:graphicFrameLocks noGrp="1"/>
          </p:cNvGraphicFramePr>
          <p:nvPr/>
        </p:nvGraphicFramePr>
        <p:xfrm>
          <a:off x="8985162" y="4590333"/>
          <a:ext cx="3057450" cy="1744169"/>
        </p:xfrm>
        <a:graphic>
          <a:graphicData uri="http://schemas.openxmlformats.org/drawingml/2006/table">
            <a:tbl>
              <a:tblPr firstRow="1">
                <a:tableStyleId>{5C22544A-7EE6-4342-B048-85BDC9FD1C3A}</a:tableStyleId>
              </a:tblPr>
              <a:tblGrid>
                <a:gridCol w="1755399">
                  <a:extLst>
                    <a:ext uri="{9D8B030D-6E8A-4147-A177-3AD203B41FA5}">
                      <a16:colId xmlns:a16="http://schemas.microsoft.com/office/drawing/2014/main" val="1341891308"/>
                    </a:ext>
                  </a:extLst>
                </a:gridCol>
                <a:gridCol w="1302051">
                  <a:extLst>
                    <a:ext uri="{9D8B030D-6E8A-4147-A177-3AD203B41FA5}">
                      <a16:colId xmlns:a16="http://schemas.microsoft.com/office/drawing/2014/main" val="2927416962"/>
                    </a:ext>
                  </a:extLst>
                </a:gridCol>
              </a:tblGrid>
              <a:tr h="243513">
                <a:tc>
                  <a:txBody>
                    <a:bodyPr/>
                    <a:lstStyle/>
                    <a:p>
                      <a:pPr marL="0" marR="0" algn="ctr">
                        <a:lnSpc>
                          <a:spcPct val="115000"/>
                        </a:lnSpc>
                        <a:spcBef>
                          <a:spcPts val="0"/>
                        </a:spcBef>
                        <a:spcAft>
                          <a:spcPts val="0"/>
                        </a:spcAft>
                      </a:pPr>
                      <a:r>
                        <a:rPr lang="en-GB" sz="1200" u="sng">
                          <a:effectLst/>
                        </a:rPr>
                        <a:t>Milestone name</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nchor="ctr"/>
                </a:tc>
                <a:tc>
                  <a:txBody>
                    <a:bodyPr/>
                    <a:lstStyle/>
                    <a:p>
                      <a:pPr marL="0" marR="0" algn="ctr">
                        <a:lnSpc>
                          <a:spcPct val="115000"/>
                        </a:lnSpc>
                        <a:spcBef>
                          <a:spcPts val="0"/>
                        </a:spcBef>
                        <a:spcAft>
                          <a:spcPts val="0"/>
                        </a:spcAft>
                      </a:pPr>
                      <a:r>
                        <a:rPr lang="en-GB" sz="1200" u="sng">
                          <a:effectLst/>
                        </a:rPr>
                        <a:t>Target date</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nchor="ctr"/>
                </a:tc>
                <a:extLst>
                  <a:ext uri="{0D108BD9-81ED-4DB2-BD59-A6C34878D82A}">
                    <a16:rowId xmlns:a16="http://schemas.microsoft.com/office/drawing/2014/main" val="2830586376"/>
                  </a:ext>
                </a:extLst>
              </a:tr>
              <a:tr h="245165">
                <a:tc>
                  <a:txBody>
                    <a:bodyPr/>
                    <a:lstStyle/>
                    <a:p>
                      <a:pPr marL="0" marR="0" lvl="0" indent="0">
                        <a:lnSpc>
                          <a:spcPct val="115000"/>
                        </a:lnSpc>
                        <a:spcBef>
                          <a:spcPts val="0"/>
                        </a:spcBef>
                        <a:spcAft>
                          <a:spcPts val="0"/>
                        </a:spcAft>
                        <a:buFont typeface="Symbol" panose="05050102010706020507" pitchFamily="18" charset="2"/>
                        <a:buNone/>
                        <a:tabLst>
                          <a:tab pos="236855" algn="l"/>
                        </a:tabLst>
                      </a:pPr>
                      <a:r>
                        <a:rPr lang="en-GB" sz="1200">
                          <a:solidFill>
                            <a:schemeClr val="accent3"/>
                          </a:solidFill>
                          <a:effectLst/>
                        </a:rPr>
                        <a:t>TB adoption of WI</a:t>
                      </a:r>
                      <a:endParaRPr lang="en-US" sz="1200">
                        <a:solidFill>
                          <a:schemeClr val="accent3"/>
                        </a:solidFill>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solidFill>
                            <a:schemeClr val="accent3"/>
                          </a:solidFill>
                          <a:effectLst/>
                          <a:latin typeface="Calibri" panose="020F0502020204030204" pitchFamily="34" charset="0"/>
                          <a:ea typeface="Calibri" panose="020F0502020204030204" pitchFamily="34" charset="0"/>
                          <a:cs typeface="Arial" panose="020B0604020202020204" pitchFamily="34" charset="0"/>
                        </a:rPr>
                        <a:t>2024/08/31</a:t>
                      </a:r>
                      <a:endParaRPr lang="en-US" sz="1200">
                        <a:solidFill>
                          <a:schemeClr val="accent3"/>
                        </a:solidFill>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3710677689"/>
                  </a:ext>
                </a:extLst>
              </a:tr>
              <a:tr h="245165">
                <a:tc>
                  <a:txBody>
                    <a:bodyPr/>
                    <a:lstStyle/>
                    <a:p>
                      <a:pPr marL="0" marR="0" lvl="0" indent="0">
                        <a:lnSpc>
                          <a:spcPct val="115000"/>
                        </a:lnSpc>
                        <a:spcBef>
                          <a:spcPts val="0"/>
                        </a:spcBef>
                        <a:spcAft>
                          <a:spcPts val="0"/>
                        </a:spcAft>
                        <a:buFont typeface="Symbol" panose="05050102010706020507" pitchFamily="18" charset="2"/>
                        <a:buNone/>
                        <a:tabLst>
                          <a:tab pos="236855" algn="l"/>
                        </a:tabLst>
                      </a:pPr>
                      <a:r>
                        <a:rPr lang="en-GB" sz="1200">
                          <a:effectLst/>
                        </a:rPr>
                        <a:t>Early Draft</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2025/04/30</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3543927026"/>
                  </a:ext>
                </a:extLst>
              </a:tr>
              <a:tr h="274831">
                <a:tc>
                  <a:txBody>
                    <a:bodyPr/>
                    <a:lstStyle/>
                    <a:p>
                      <a:pPr marL="0" marR="0" lvl="0" indent="0">
                        <a:lnSpc>
                          <a:spcPct val="115000"/>
                        </a:lnSpc>
                        <a:spcBef>
                          <a:spcPts val="0"/>
                        </a:spcBef>
                        <a:spcAft>
                          <a:spcPts val="0"/>
                        </a:spcAft>
                        <a:buFont typeface="Symbol" panose="05050102010706020507" pitchFamily="18" charset="2"/>
                        <a:buNone/>
                        <a:tabLst>
                          <a:tab pos="236855" algn="l"/>
                        </a:tabLst>
                      </a:pPr>
                      <a:r>
                        <a:rPr lang="en-GB" sz="1200">
                          <a:effectLst/>
                        </a:rPr>
                        <a:t>Stable Draft</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2025/06/30</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2334718081"/>
                  </a:ext>
                </a:extLst>
              </a:tr>
              <a:tr h="245165">
                <a:tc>
                  <a:txBody>
                    <a:bodyPr/>
                    <a:lstStyle/>
                    <a:p>
                      <a:pPr marL="0" marR="0" lvl="0" indent="0">
                        <a:lnSpc>
                          <a:spcPct val="115000"/>
                        </a:lnSpc>
                        <a:spcBef>
                          <a:spcPts val="0"/>
                        </a:spcBef>
                        <a:spcAft>
                          <a:spcPts val="0"/>
                        </a:spcAft>
                        <a:buFont typeface="Symbol" panose="05050102010706020507" pitchFamily="18" charset="2"/>
                        <a:buNone/>
                        <a:tabLst>
                          <a:tab pos="236855" algn="l"/>
                        </a:tabLst>
                      </a:pPr>
                      <a:r>
                        <a:rPr lang="en-GB" sz="1200">
                          <a:effectLst/>
                        </a:rPr>
                        <a:t>Draft for approval</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2025/08/15</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4010413311"/>
                  </a:ext>
                </a:extLst>
              </a:tr>
              <a:tr h="245165">
                <a:tc>
                  <a:txBody>
                    <a:bodyPr/>
                    <a:lstStyle/>
                    <a:p>
                      <a:pPr marL="0" marR="0" lvl="0" indent="0">
                        <a:lnSpc>
                          <a:spcPct val="115000"/>
                        </a:lnSpc>
                        <a:spcBef>
                          <a:spcPts val="0"/>
                        </a:spcBef>
                        <a:spcAft>
                          <a:spcPts val="0"/>
                        </a:spcAft>
                        <a:buFont typeface="Symbol" panose="05050102010706020507" pitchFamily="18" charset="2"/>
                        <a:buNone/>
                        <a:tabLst>
                          <a:tab pos="236855" algn="l"/>
                        </a:tabLst>
                      </a:pPr>
                      <a:r>
                        <a:rPr lang="en-GB" sz="1200">
                          <a:effectLst/>
                        </a:rPr>
                        <a:t>TB approval</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2025/09/15</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3692807186"/>
                  </a:ext>
                </a:extLst>
              </a:tr>
              <a:tr h="245165">
                <a:tc>
                  <a:txBody>
                    <a:bodyPr/>
                    <a:lstStyle/>
                    <a:p>
                      <a:pPr marL="0" marR="0" indent="0">
                        <a:lnSpc>
                          <a:spcPct val="115000"/>
                        </a:lnSpc>
                        <a:spcBef>
                          <a:spcPts val="0"/>
                        </a:spcBef>
                        <a:spcAft>
                          <a:spcPts val="0"/>
                        </a:spcAft>
                        <a:buFont typeface="Arial" panose="020B0604020202020204" pitchFamily="34" charset="0"/>
                        <a:buNone/>
                        <a:tabLst>
                          <a:tab pos="236855" algn="l"/>
                        </a:tabLst>
                      </a:pPr>
                      <a:r>
                        <a:rPr lang="en-GB" sz="1200">
                          <a:effectLst/>
                        </a:rPr>
                        <a:t>To be published as</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tc>
                  <a:txBody>
                    <a:bodyPr/>
                    <a:lstStyle/>
                    <a:p>
                      <a:pPr marL="0" marR="0" algn="ctr">
                        <a:lnSpc>
                          <a:spcPct val="115000"/>
                        </a:lnSpc>
                        <a:spcBef>
                          <a:spcPts val="0"/>
                        </a:spcBef>
                        <a:spcAft>
                          <a:spcPts val="0"/>
                        </a:spcAft>
                      </a:pPr>
                      <a:r>
                        <a:rPr lang="de-DE" sz="1200">
                          <a:effectLst/>
                          <a:latin typeface="Calibri" panose="020F0502020204030204" pitchFamily="34" charset="0"/>
                          <a:ea typeface="Calibri" panose="020F0502020204030204" pitchFamily="34" charset="0"/>
                          <a:cs typeface="Arial" panose="020B0604020202020204" pitchFamily="34" charset="0"/>
                        </a:rPr>
                        <a:t>V2.1.1 or v1.3.1</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67945" marR="67945" marT="0" marB="0"/>
                </a:tc>
                <a:extLst>
                  <a:ext uri="{0D108BD9-81ED-4DB2-BD59-A6C34878D82A}">
                    <a16:rowId xmlns:a16="http://schemas.microsoft.com/office/drawing/2014/main" val="2908272239"/>
                  </a:ext>
                </a:extLst>
              </a:tr>
            </a:tbl>
          </a:graphicData>
        </a:graphic>
      </p:graphicFrame>
      <p:pic>
        <p:nvPicPr>
          <p:cNvPr id="12" name="Picture 11">
            <a:extLst>
              <a:ext uri="{FF2B5EF4-FFF2-40B4-BE49-F238E27FC236}">
                <a16:creationId xmlns:a16="http://schemas.microsoft.com/office/drawing/2014/main" id="{C3B8FA07-FA28-4846-C167-61F44AAF3CEC}"/>
              </a:ext>
            </a:extLst>
          </p:cNvPr>
          <p:cNvPicPr>
            <a:picLocks noChangeAspect="1"/>
          </p:cNvPicPr>
          <p:nvPr/>
        </p:nvPicPr>
        <p:blipFill>
          <a:blip r:embed="rId7"/>
          <a:stretch>
            <a:fillRect/>
          </a:stretch>
        </p:blipFill>
        <p:spPr>
          <a:xfrm>
            <a:off x="152386" y="2614068"/>
            <a:ext cx="2423089" cy="1910203"/>
          </a:xfrm>
          <a:prstGeom prst="rect">
            <a:avLst/>
          </a:prstGeom>
        </p:spPr>
      </p:pic>
      <p:sp>
        <p:nvSpPr>
          <p:cNvPr id="2" name="Footer Placeholder 1">
            <a:extLst>
              <a:ext uri="{FF2B5EF4-FFF2-40B4-BE49-F238E27FC236}">
                <a16:creationId xmlns:a16="http://schemas.microsoft.com/office/drawing/2014/main" id="{FDD5E948-1FFC-447D-E761-5820771C962D}"/>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45602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24BB888-51B6-0478-66B4-944249E32159}"/>
              </a:ext>
            </a:extLst>
          </p:cNvPr>
          <p:cNvSpPr>
            <a:spLocks noGrp="1"/>
          </p:cNvSpPr>
          <p:nvPr>
            <p:ph type="ftr" sz="quarter" idx="10"/>
          </p:nvPr>
        </p:nvSpPr>
        <p:spPr/>
        <p:txBody>
          <a:bodyPr/>
          <a:lstStyle/>
          <a:p>
            <a:r>
              <a:rPr lang="en-US"/>
              <a:t>5G Broadcast Conference</a:t>
            </a:r>
          </a:p>
        </p:txBody>
      </p:sp>
      <p:sp>
        <p:nvSpPr>
          <p:cNvPr id="3" name="Title 2">
            <a:extLst>
              <a:ext uri="{FF2B5EF4-FFF2-40B4-BE49-F238E27FC236}">
                <a16:creationId xmlns:a16="http://schemas.microsoft.com/office/drawing/2014/main" id="{295A8771-7039-D1A7-51B3-296BAEF5D539}"/>
              </a:ext>
            </a:extLst>
          </p:cNvPr>
          <p:cNvSpPr>
            <a:spLocks noGrp="1"/>
          </p:cNvSpPr>
          <p:nvPr>
            <p:ph type="title"/>
          </p:nvPr>
        </p:nvSpPr>
        <p:spPr>
          <a:xfrm>
            <a:off x="495300" y="565125"/>
            <a:ext cx="11187112" cy="439479"/>
          </a:xfrm>
        </p:spPr>
        <p:txBody>
          <a:bodyPr/>
          <a:lstStyle/>
          <a:p>
            <a:r>
              <a:rPr kumimoji="0" lang="en-US" sz="3400" b="0" i="0" u="none" strike="noStrike" kern="1200" cap="none" spc="0" normalizeH="0" baseline="0" noProof="0">
                <a:ln>
                  <a:noFill/>
                </a:ln>
                <a:effectLst/>
                <a:uLnTx/>
                <a:uFillTx/>
                <a:latin typeface="Microsoft Sans Serif"/>
                <a:ea typeface="+mj-ea"/>
                <a:cs typeface="+mj-cs"/>
              </a:rPr>
              <a:t>5G Broadcast – Core Features for multiple use cases</a:t>
            </a:r>
            <a:endParaRPr lang="en-US"/>
          </a:p>
        </p:txBody>
      </p:sp>
      <p:graphicFrame>
        <p:nvGraphicFramePr>
          <p:cNvPr id="6" name="Diagram 5">
            <a:extLst>
              <a:ext uri="{FF2B5EF4-FFF2-40B4-BE49-F238E27FC236}">
                <a16:creationId xmlns:a16="http://schemas.microsoft.com/office/drawing/2014/main" id="{89CB6858-B8F1-3E4D-8ADF-877D8E6F4CA7}"/>
              </a:ext>
            </a:extLst>
          </p:cNvPr>
          <p:cNvGraphicFramePr/>
          <p:nvPr>
            <p:extLst>
              <p:ext uri="{D42A27DB-BD31-4B8C-83A1-F6EECF244321}">
                <p14:modId xmlns:p14="http://schemas.microsoft.com/office/powerpoint/2010/main" val="2045091349"/>
              </p:ext>
            </p:extLst>
          </p:nvPr>
        </p:nvGraphicFramePr>
        <p:xfrm>
          <a:off x="849311" y="1181100"/>
          <a:ext cx="10489691" cy="526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26093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E0AD05-91BD-619C-774B-F7294EE5B987}"/>
              </a:ext>
            </a:extLst>
          </p:cNvPr>
          <p:cNvPicPr>
            <a:picLocks noChangeAspect="1"/>
          </p:cNvPicPr>
          <p:nvPr/>
        </p:nvPicPr>
        <p:blipFill>
          <a:blip r:embed="rId2"/>
          <a:stretch>
            <a:fillRect/>
          </a:stretch>
        </p:blipFill>
        <p:spPr>
          <a:xfrm>
            <a:off x="801796" y="1374046"/>
            <a:ext cx="7533626" cy="3823315"/>
          </a:xfrm>
          <a:prstGeom prst="rect">
            <a:avLst/>
          </a:prstGeom>
          <a:noFill/>
        </p:spPr>
      </p:pic>
      <p:pic>
        <p:nvPicPr>
          <p:cNvPr id="1026" name="Picture 2">
            <a:extLst>
              <a:ext uri="{FF2B5EF4-FFF2-40B4-BE49-F238E27FC236}">
                <a16:creationId xmlns:a16="http://schemas.microsoft.com/office/drawing/2014/main" id="{81F0DF40-9F88-541F-56B1-0FF61A3D4A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1535" y="4500416"/>
            <a:ext cx="1229591" cy="1536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0B0920C-9ED2-7612-F599-78F23B4250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1535" y="536863"/>
            <a:ext cx="1178792" cy="14734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3659494-5B82-8E9F-A744-B13FFE7029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535" y="2464666"/>
            <a:ext cx="1137227" cy="14215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FDAC177-A33B-213D-957F-D05456303BE7}"/>
              </a:ext>
            </a:extLst>
          </p:cNvPr>
          <p:cNvSpPr txBox="1"/>
          <p:nvPr/>
        </p:nvSpPr>
        <p:spPr>
          <a:xfrm>
            <a:off x="1262743" y="5391074"/>
            <a:ext cx="6096000" cy="646331"/>
          </a:xfrm>
          <a:prstGeom prst="rect">
            <a:avLst/>
          </a:prstGeom>
          <a:noFill/>
        </p:spPr>
        <p:txBody>
          <a:bodyPr wrap="square">
            <a:spAutoFit/>
          </a:bodyPr>
          <a:lstStyle/>
          <a:p>
            <a:r>
              <a:rPr lang="de-DE">
                <a:solidFill>
                  <a:srgbClr val="FFFF00"/>
                </a:solidFill>
                <a:hlinkClick r:id="rId6">
                  <a:extLst>
                    <a:ext uri="{A12FA001-AC4F-418D-AE19-62706E023703}">
                      <ahyp:hlinkClr xmlns:ahyp="http://schemas.microsoft.com/office/drawing/2018/hyperlinkcolor" val="tx"/>
                    </a:ext>
                  </a:extLst>
                </a:hlinkClick>
              </a:rPr>
              <a:t>Details of the paper</a:t>
            </a:r>
            <a:endParaRPr lang="de-DE">
              <a:solidFill>
                <a:srgbClr val="FFFF00"/>
              </a:solidFill>
            </a:endParaRPr>
          </a:p>
          <a:p>
            <a:r>
              <a:rPr lang="en-US">
                <a:solidFill>
                  <a:srgbClr val="FFFF00"/>
                </a:solidFill>
                <a:hlinkClick r:id="rId7">
                  <a:extLst>
                    <a:ext uri="{A12FA001-AC4F-418D-AE19-62706E023703}">
                      <ahyp:hlinkClr xmlns:ahyp="http://schemas.microsoft.com/office/drawing/2018/hyperlinkcolor" val="tx"/>
                    </a:ext>
                  </a:extLst>
                </a:hlinkClick>
              </a:rPr>
              <a:t>Session and Recording</a:t>
            </a:r>
            <a:endParaRPr lang="en-US">
              <a:solidFill>
                <a:srgbClr val="FFFF00"/>
              </a:solidFill>
            </a:endParaRPr>
          </a:p>
        </p:txBody>
      </p:sp>
    </p:spTree>
    <p:extLst>
      <p:ext uri="{BB962C8B-B14F-4D97-AF65-F5344CB8AC3E}">
        <p14:creationId xmlns:p14="http://schemas.microsoft.com/office/powerpoint/2010/main" val="349852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642645"/>
            <a:ext cx="11187112" cy="361959"/>
          </a:xfrm>
        </p:spPr>
        <p:txBody>
          <a:bodyPr/>
          <a:lstStyle/>
          <a:p>
            <a:r>
              <a:rPr lang="en-US" spc="-151" dirty="0"/>
              <a:t>Recap IBC 2023: 5G Broadcast, 3GPP and cellular modems</a:t>
            </a:r>
            <a:endParaRPr lang="en-US" dirty="0"/>
          </a:p>
        </p:txBody>
      </p:sp>
      <p:sp>
        <p:nvSpPr>
          <p:cNvPr id="3" name="Content Placeholder 2">
            <a:extLst>
              <a:ext uri="{FF2B5EF4-FFF2-40B4-BE49-F238E27FC236}">
                <a16:creationId xmlns:a16="http://schemas.microsoft.com/office/drawing/2014/main" id="{9EC1CCEB-3125-433C-AAF7-F7487D795A9E}"/>
              </a:ext>
            </a:extLst>
          </p:cNvPr>
          <p:cNvSpPr>
            <a:spLocks noGrp="1"/>
          </p:cNvSpPr>
          <p:nvPr>
            <p:ph sz="quarter" idx="14"/>
          </p:nvPr>
        </p:nvSpPr>
        <p:spPr>
          <a:xfrm>
            <a:off x="361813" y="1719072"/>
            <a:ext cx="11742475" cy="4681727"/>
          </a:xfrm>
        </p:spPr>
        <p:txBody>
          <a:bodyPr/>
          <a:lstStyle/>
          <a:p>
            <a:r>
              <a:rPr lang="en-US" dirty="0"/>
              <a:t>Broadcasting technologies traditionally use time &amp; frequency </a:t>
            </a:r>
            <a:r>
              <a:rPr lang="en-US" dirty="0" err="1"/>
              <a:t>interleavers</a:t>
            </a:r>
            <a:r>
              <a:rPr lang="en-US" dirty="0"/>
              <a:t> to harness diversity</a:t>
            </a:r>
          </a:p>
          <a:p>
            <a:pPr lvl="1"/>
            <a:r>
              <a:rPr lang="en-US" dirty="0"/>
              <a:t>3GPP cellular technologies “don’t need to” rely on </a:t>
            </a:r>
            <a:r>
              <a:rPr lang="en-US" dirty="0" err="1"/>
              <a:t>interleavers</a:t>
            </a:r>
            <a:r>
              <a:rPr lang="en-US" dirty="0"/>
              <a:t> due to additional diversity sources (e.g. HARQ feedback/retransmissions, spatial diversity, etc.)</a:t>
            </a:r>
          </a:p>
          <a:p>
            <a:r>
              <a:rPr lang="en-US" sz="2000" dirty="0"/>
              <a:t>Last year, we focused on</a:t>
            </a:r>
          </a:p>
          <a:p>
            <a:pPr lvl="1"/>
            <a:r>
              <a:rPr lang="en-US" dirty="0"/>
              <a:t>1- How we could create “3GPP-modem-friendly” time and frequency </a:t>
            </a:r>
            <a:r>
              <a:rPr lang="en-US" dirty="0" err="1"/>
              <a:t>interleavers</a:t>
            </a:r>
            <a:endParaRPr lang="en-US" dirty="0"/>
          </a:p>
          <a:p>
            <a:pPr lvl="1"/>
            <a:r>
              <a:rPr lang="en-US" dirty="0"/>
              <a:t>2- How </a:t>
            </a:r>
            <a:r>
              <a:rPr lang="en-US" dirty="0" err="1"/>
              <a:t>interleavers</a:t>
            </a:r>
            <a:r>
              <a:rPr lang="en-US" dirty="0"/>
              <a:t> improve 5G Broadcast performance in different mobility scenarios</a:t>
            </a:r>
          </a:p>
        </p:txBody>
      </p:sp>
      <p:sp>
        <p:nvSpPr>
          <p:cNvPr id="5" name="Subtitle 4">
            <a:extLst>
              <a:ext uri="{FF2B5EF4-FFF2-40B4-BE49-F238E27FC236}">
                <a16:creationId xmlns:a16="http://schemas.microsoft.com/office/drawing/2014/main" id="{A562B7B8-CF1C-28E3-6C25-8A2EC2B992A8}"/>
              </a:ext>
            </a:extLst>
          </p:cNvPr>
          <p:cNvSpPr>
            <a:spLocks noGrp="1"/>
          </p:cNvSpPr>
          <p:nvPr>
            <p:ph type="subTitle" idx="1"/>
          </p:nvPr>
        </p:nvSpPr>
        <p:spPr>
          <a:xfrm>
            <a:off x="494189" y="1088135"/>
            <a:ext cx="11188223" cy="236347"/>
          </a:xfrm>
        </p:spPr>
        <p:txBody>
          <a:bodyPr/>
          <a:lstStyle/>
          <a:p>
            <a:r>
              <a:rPr lang="en-US" dirty="0"/>
              <a:t>The big picture</a:t>
            </a:r>
          </a:p>
        </p:txBody>
      </p:sp>
      <p:sp>
        <p:nvSpPr>
          <p:cNvPr id="6" name="Footer Placeholder 1">
            <a:extLst>
              <a:ext uri="{FF2B5EF4-FFF2-40B4-BE49-F238E27FC236}">
                <a16:creationId xmlns:a16="http://schemas.microsoft.com/office/drawing/2014/main" id="{87E2459D-EDBA-3E21-C82F-475533F4414C}"/>
              </a:ext>
            </a:extLst>
          </p:cNvPr>
          <p:cNvSpPr>
            <a:spLocks noGrp="1"/>
          </p:cNvSpPr>
          <p:nvPr>
            <p:ph type="ftr" sz="quarter" idx="10"/>
          </p:nvPr>
        </p:nvSpPr>
        <p:spPr>
          <a:xfrm>
            <a:off x="495299" y="6532895"/>
            <a:ext cx="10489691" cy="118174"/>
          </a:xfrm>
        </p:spPr>
        <p:txBody>
          <a:bodyPr/>
          <a:lstStyle/>
          <a:p>
            <a:r>
              <a:rPr lang="en-US"/>
              <a:t>5G Broadcast Conference</a:t>
            </a:r>
            <a:endParaRPr lang="en-US" dirty="0"/>
          </a:p>
        </p:txBody>
      </p:sp>
      <p:pic>
        <p:nvPicPr>
          <p:cNvPr id="13" name="Graphic 12" descr="Smart Phone outline">
            <a:extLst>
              <a:ext uri="{FF2B5EF4-FFF2-40B4-BE49-F238E27FC236}">
                <a16:creationId xmlns:a16="http://schemas.microsoft.com/office/drawing/2014/main" id="{2111FA8F-5649-BA19-E126-ADE306EB7C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5415" y="4361740"/>
            <a:ext cx="724988" cy="724988"/>
          </a:xfrm>
          <a:prstGeom prst="rect">
            <a:avLst/>
          </a:prstGeom>
        </p:spPr>
      </p:pic>
      <p:sp>
        <p:nvSpPr>
          <p:cNvPr id="14" name="Rectangle 13">
            <a:extLst>
              <a:ext uri="{FF2B5EF4-FFF2-40B4-BE49-F238E27FC236}">
                <a16:creationId xmlns:a16="http://schemas.microsoft.com/office/drawing/2014/main" id="{E35020C7-A130-308B-62D9-405C44A2F54B}"/>
              </a:ext>
            </a:extLst>
          </p:cNvPr>
          <p:cNvSpPr/>
          <p:nvPr/>
        </p:nvSpPr>
        <p:spPr>
          <a:xfrm>
            <a:off x="5675392" y="5089624"/>
            <a:ext cx="1475274" cy="2699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7F8FA"/>
                </a:solidFill>
                <a:effectLst/>
                <a:uLnTx/>
                <a:uFillTx/>
                <a:latin typeface="Microsoft Sans Serif"/>
                <a:ea typeface="+mn-ea"/>
                <a:cs typeface="+mn-cs"/>
              </a:rPr>
              <a:t>3GPP Modem</a:t>
            </a:r>
          </a:p>
        </p:txBody>
      </p:sp>
      <p:sp>
        <p:nvSpPr>
          <p:cNvPr id="15" name="TextBox 14">
            <a:extLst>
              <a:ext uri="{FF2B5EF4-FFF2-40B4-BE49-F238E27FC236}">
                <a16:creationId xmlns:a16="http://schemas.microsoft.com/office/drawing/2014/main" id="{0266EB7F-DD0D-418B-0C08-7029FE6AE778}"/>
              </a:ext>
            </a:extLst>
          </p:cNvPr>
          <p:cNvSpPr txBox="1"/>
          <p:nvPr/>
        </p:nvSpPr>
        <p:spPr>
          <a:xfrm>
            <a:off x="5804638" y="5323223"/>
            <a:ext cx="12634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Microsoft Sans Serif"/>
                <a:ea typeface="+mn-ea"/>
                <a:cs typeface="+mn-cs"/>
              </a:rPr>
              <a:t>UHF band support</a:t>
            </a:r>
          </a:p>
        </p:txBody>
      </p:sp>
      <p:sp>
        <p:nvSpPr>
          <p:cNvPr id="16" name="Cross 15">
            <a:extLst>
              <a:ext uri="{FF2B5EF4-FFF2-40B4-BE49-F238E27FC236}">
                <a16:creationId xmlns:a16="http://schemas.microsoft.com/office/drawing/2014/main" id="{5960915D-17BF-8752-5F2F-93D4243298EE}"/>
              </a:ext>
            </a:extLst>
          </p:cNvPr>
          <p:cNvSpPr/>
          <p:nvPr/>
        </p:nvSpPr>
        <p:spPr>
          <a:xfrm>
            <a:off x="5679581" y="5409555"/>
            <a:ext cx="229964" cy="229964"/>
          </a:xfrm>
          <a:prstGeom prst="plus">
            <a:avLst>
              <a:gd name="adj" fmla="val 435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pic>
        <p:nvPicPr>
          <p:cNvPr id="92" name="Picture 91" descr="Graphical user interface, text&#10;&#10;Description automatically generated">
            <a:extLst>
              <a:ext uri="{FF2B5EF4-FFF2-40B4-BE49-F238E27FC236}">
                <a16:creationId xmlns:a16="http://schemas.microsoft.com/office/drawing/2014/main" id="{03DC5616-7A61-E62E-0159-DFA47AA126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32" y="3815936"/>
            <a:ext cx="5303520" cy="1290833"/>
          </a:xfrm>
          <a:prstGeom prst="rect">
            <a:avLst/>
          </a:prstGeom>
        </p:spPr>
      </p:pic>
      <p:grpSp>
        <p:nvGrpSpPr>
          <p:cNvPr id="169" name="Group 168">
            <a:extLst>
              <a:ext uri="{FF2B5EF4-FFF2-40B4-BE49-F238E27FC236}">
                <a16:creationId xmlns:a16="http://schemas.microsoft.com/office/drawing/2014/main" id="{03832CFD-059A-4746-8D8D-3A3277516C89}"/>
              </a:ext>
            </a:extLst>
          </p:cNvPr>
          <p:cNvGrpSpPr>
            <a:grpSpLocks noChangeAspect="1"/>
          </p:cNvGrpSpPr>
          <p:nvPr/>
        </p:nvGrpSpPr>
        <p:grpSpPr>
          <a:xfrm>
            <a:off x="282528" y="5173081"/>
            <a:ext cx="5058915" cy="1370086"/>
            <a:chOff x="372875" y="5300697"/>
            <a:chExt cx="4542094" cy="1230121"/>
          </a:xfrm>
        </p:grpSpPr>
        <p:sp>
          <p:nvSpPr>
            <p:cNvPr id="93" name="Rectangle 92">
              <a:extLst>
                <a:ext uri="{FF2B5EF4-FFF2-40B4-BE49-F238E27FC236}">
                  <a16:creationId xmlns:a16="http://schemas.microsoft.com/office/drawing/2014/main" id="{0FDBF1D1-CFFC-4366-8A48-905DCD2594B8}"/>
                </a:ext>
              </a:extLst>
            </p:cNvPr>
            <p:cNvSpPr/>
            <p:nvPr/>
          </p:nvSpPr>
          <p:spPr>
            <a:xfrm>
              <a:off x="372875" y="5329061"/>
              <a:ext cx="219086" cy="1005225"/>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P</a:t>
              </a:r>
            </a:p>
          </p:txBody>
        </p:sp>
        <p:sp>
          <p:nvSpPr>
            <p:cNvPr id="95" name="Freeform: Shape 94">
              <a:extLst>
                <a:ext uri="{FF2B5EF4-FFF2-40B4-BE49-F238E27FC236}">
                  <a16:creationId xmlns:a16="http://schemas.microsoft.com/office/drawing/2014/main" id="{B17F22F3-BF96-F431-0604-88BEBB93C6A0}"/>
                </a:ext>
              </a:extLst>
            </p:cNvPr>
            <p:cNvSpPr/>
            <p:nvPr/>
          </p:nvSpPr>
          <p:spPr>
            <a:xfrm>
              <a:off x="403482" y="5361280"/>
              <a:ext cx="157871" cy="946411"/>
            </a:xfrm>
            <a:custGeom>
              <a:avLst/>
              <a:gdLst>
                <a:gd name="connsiteX0" fmla="*/ 59635 w 324679"/>
                <a:gd name="connsiteY0" fmla="*/ 0 h 1729412"/>
                <a:gd name="connsiteX1" fmla="*/ 192157 w 324679"/>
                <a:gd name="connsiteY1" fmla="*/ 13252 h 1729412"/>
                <a:gd name="connsiteX2" fmla="*/ 304800 w 324679"/>
                <a:gd name="connsiteY2" fmla="*/ 26505 h 1729412"/>
                <a:gd name="connsiteX3" fmla="*/ 324679 w 324679"/>
                <a:gd name="connsiteY3" fmla="*/ 66261 h 1729412"/>
                <a:gd name="connsiteX4" fmla="*/ 218661 w 324679"/>
                <a:gd name="connsiteY4" fmla="*/ 119270 h 1729412"/>
                <a:gd name="connsiteX5" fmla="*/ 86139 w 324679"/>
                <a:gd name="connsiteY5" fmla="*/ 172278 h 1729412"/>
                <a:gd name="connsiteX6" fmla="*/ 79513 w 324679"/>
                <a:gd name="connsiteY6" fmla="*/ 192157 h 1729412"/>
                <a:gd name="connsiteX7" fmla="*/ 225287 w 324679"/>
                <a:gd name="connsiteY7" fmla="*/ 331305 h 1729412"/>
                <a:gd name="connsiteX8" fmla="*/ 159026 w 324679"/>
                <a:gd name="connsiteY8" fmla="*/ 364435 h 1729412"/>
                <a:gd name="connsiteX9" fmla="*/ 13253 w 324679"/>
                <a:gd name="connsiteY9" fmla="*/ 443948 h 1729412"/>
                <a:gd name="connsiteX10" fmla="*/ 66261 w 324679"/>
                <a:gd name="connsiteY10" fmla="*/ 503583 h 1729412"/>
                <a:gd name="connsiteX11" fmla="*/ 132522 w 324679"/>
                <a:gd name="connsiteY11" fmla="*/ 530087 h 1729412"/>
                <a:gd name="connsiteX12" fmla="*/ 145774 w 324679"/>
                <a:gd name="connsiteY12" fmla="*/ 596348 h 1729412"/>
                <a:gd name="connsiteX13" fmla="*/ 79513 w 324679"/>
                <a:gd name="connsiteY13" fmla="*/ 622852 h 1729412"/>
                <a:gd name="connsiteX14" fmla="*/ 39757 w 324679"/>
                <a:gd name="connsiteY14" fmla="*/ 642731 h 1729412"/>
                <a:gd name="connsiteX15" fmla="*/ 231913 w 324679"/>
                <a:gd name="connsiteY15" fmla="*/ 748748 h 1729412"/>
                <a:gd name="connsiteX16" fmla="*/ 258418 w 324679"/>
                <a:gd name="connsiteY16" fmla="*/ 755374 h 1729412"/>
                <a:gd name="connsiteX17" fmla="*/ 0 w 324679"/>
                <a:gd name="connsiteY17" fmla="*/ 848139 h 1729412"/>
                <a:gd name="connsiteX18" fmla="*/ 19879 w 324679"/>
                <a:gd name="connsiteY18" fmla="*/ 907774 h 1729412"/>
                <a:gd name="connsiteX19" fmla="*/ 192157 w 324679"/>
                <a:gd name="connsiteY19" fmla="*/ 1000539 h 1729412"/>
                <a:gd name="connsiteX20" fmla="*/ 159026 w 324679"/>
                <a:gd name="connsiteY20" fmla="*/ 1033670 h 1729412"/>
                <a:gd name="connsiteX21" fmla="*/ 106018 w 324679"/>
                <a:gd name="connsiteY21" fmla="*/ 1046922 h 1729412"/>
                <a:gd name="connsiteX22" fmla="*/ 139148 w 324679"/>
                <a:gd name="connsiteY22" fmla="*/ 1093305 h 1729412"/>
                <a:gd name="connsiteX23" fmla="*/ 251792 w 324679"/>
                <a:gd name="connsiteY23" fmla="*/ 1159565 h 1729412"/>
                <a:gd name="connsiteX24" fmla="*/ 178905 w 324679"/>
                <a:gd name="connsiteY24" fmla="*/ 1179444 h 1729412"/>
                <a:gd name="connsiteX25" fmla="*/ 106018 w 324679"/>
                <a:gd name="connsiteY25" fmla="*/ 1192696 h 1729412"/>
                <a:gd name="connsiteX26" fmla="*/ 139148 w 324679"/>
                <a:gd name="connsiteY26" fmla="*/ 1298713 h 1729412"/>
                <a:gd name="connsiteX27" fmla="*/ 258418 w 324679"/>
                <a:gd name="connsiteY27" fmla="*/ 1384852 h 1729412"/>
                <a:gd name="connsiteX28" fmla="*/ 271670 w 324679"/>
                <a:gd name="connsiteY28" fmla="*/ 1398105 h 1729412"/>
                <a:gd name="connsiteX29" fmla="*/ 172279 w 324679"/>
                <a:gd name="connsiteY29" fmla="*/ 1431235 h 1729412"/>
                <a:gd name="connsiteX30" fmla="*/ 159026 w 324679"/>
                <a:gd name="connsiteY30" fmla="*/ 1490870 h 1729412"/>
                <a:gd name="connsiteX31" fmla="*/ 125896 w 324679"/>
                <a:gd name="connsiteY31" fmla="*/ 1510748 h 1729412"/>
                <a:gd name="connsiteX32" fmla="*/ 205409 w 324679"/>
                <a:gd name="connsiteY32" fmla="*/ 1636644 h 1729412"/>
                <a:gd name="connsiteX33" fmla="*/ 225287 w 324679"/>
                <a:gd name="connsiteY33" fmla="*/ 1649896 h 1729412"/>
                <a:gd name="connsiteX34" fmla="*/ 198783 w 324679"/>
                <a:gd name="connsiteY34" fmla="*/ 1689652 h 1729412"/>
                <a:gd name="connsiteX35" fmla="*/ 178905 w 324679"/>
                <a:gd name="connsiteY35" fmla="*/ 1709531 h 1729412"/>
                <a:gd name="connsiteX36" fmla="*/ 139148 w 324679"/>
                <a:gd name="connsiteY36" fmla="*/ 1722783 h 1729412"/>
                <a:gd name="connsiteX37" fmla="*/ 46383 w 324679"/>
                <a:gd name="connsiteY37" fmla="*/ 1729409 h 172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24679" h="1729412">
                  <a:moveTo>
                    <a:pt x="59635" y="0"/>
                  </a:moveTo>
                  <a:lnTo>
                    <a:pt x="192157" y="13252"/>
                  </a:lnTo>
                  <a:cubicBezTo>
                    <a:pt x="229745" y="17316"/>
                    <a:pt x="269697" y="12464"/>
                    <a:pt x="304800" y="26505"/>
                  </a:cubicBezTo>
                  <a:cubicBezTo>
                    <a:pt x="318557" y="32008"/>
                    <a:pt x="318053" y="53009"/>
                    <a:pt x="324679" y="66261"/>
                  </a:cubicBezTo>
                  <a:cubicBezTo>
                    <a:pt x="289340" y="83931"/>
                    <a:pt x="255169" y="104163"/>
                    <a:pt x="218661" y="119270"/>
                  </a:cubicBezTo>
                  <a:cubicBezTo>
                    <a:pt x="46062" y="190690"/>
                    <a:pt x="199766" y="107350"/>
                    <a:pt x="86139" y="172278"/>
                  </a:cubicBezTo>
                  <a:cubicBezTo>
                    <a:pt x="83930" y="178904"/>
                    <a:pt x="77913" y="185358"/>
                    <a:pt x="79513" y="192157"/>
                  </a:cubicBezTo>
                  <a:cubicBezTo>
                    <a:pt x="108626" y="315884"/>
                    <a:pt x="104142" y="281421"/>
                    <a:pt x="225287" y="331305"/>
                  </a:cubicBezTo>
                  <a:cubicBezTo>
                    <a:pt x="203200" y="342348"/>
                    <a:pt x="182298" y="356177"/>
                    <a:pt x="159026" y="364435"/>
                  </a:cubicBezTo>
                  <a:cubicBezTo>
                    <a:pt x="5099" y="419054"/>
                    <a:pt x="28328" y="353497"/>
                    <a:pt x="13253" y="443948"/>
                  </a:cubicBezTo>
                  <a:cubicBezTo>
                    <a:pt x="30922" y="463826"/>
                    <a:pt x="45493" y="486969"/>
                    <a:pt x="66261" y="503583"/>
                  </a:cubicBezTo>
                  <a:cubicBezTo>
                    <a:pt x="77036" y="512203"/>
                    <a:pt x="114137" y="523959"/>
                    <a:pt x="132522" y="530087"/>
                  </a:cubicBezTo>
                  <a:cubicBezTo>
                    <a:pt x="136939" y="552174"/>
                    <a:pt x="156949" y="576791"/>
                    <a:pt x="145774" y="596348"/>
                  </a:cubicBezTo>
                  <a:cubicBezTo>
                    <a:pt x="133972" y="617002"/>
                    <a:pt x="101307" y="613317"/>
                    <a:pt x="79513" y="622852"/>
                  </a:cubicBezTo>
                  <a:cubicBezTo>
                    <a:pt x="65939" y="628791"/>
                    <a:pt x="53009" y="636105"/>
                    <a:pt x="39757" y="642731"/>
                  </a:cubicBezTo>
                  <a:cubicBezTo>
                    <a:pt x="134451" y="701914"/>
                    <a:pt x="136879" y="709616"/>
                    <a:pt x="231913" y="748748"/>
                  </a:cubicBezTo>
                  <a:cubicBezTo>
                    <a:pt x="240334" y="752215"/>
                    <a:pt x="249583" y="753165"/>
                    <a:pt x="258418" y="755374"/>
                  </a:cubicBezTo>
                  <a:cubicBezTo>
                    <a:pt x="43772" y="829390"/>
                    <a:pt x="129169" y="796472"/>
                    <a:pt x="0" y="848139"/>
                  </a:cubicBezTo>
                  <a:cubicBezTo>
                    <a:pt x="6626" y="868017"/>
                    <a:pt x="5518" y="892516"/>
                    <a:pt x="19879" y="907774"/>
                  </a:cubicBezTo>
                  <a:cubicBezTo>
                    <a:pt x="48827" y="938531"/>
                    <a:pt x="154314" y="983073"/>
                    <a:pt x="192157" y="1000539"/>
                  </a:cubicBezTo>
                  <a:cubicBezTo>
                    <a:pt x="181113" y="1011583"/>
                    <a:pt x="172777" y="1026265"/>
                    <a:pt x="159026" y="1033670"/>
                  </a:cubicBezTo>
                  <a:cubicBezTo>
                    <a:pt x="142990" y="1042305"/>
                    <a:pt x="111777" y="1029643"/>
                    <a:pt x="106018" y="1046922"/>
                  </a:cubicBezTo>
                  <a:cubicBezTo>
                    <a:pt x="100010" y="1064947"/>
                    <a:pt x="125713" y="1079870"/>
                    <a:pt x="139148" y="1093305"/>
                  </a:cubicBezTo>
                  <a:cubicBezTo>
                    <a:pt x="167637" y="1121794"/>
                    <a:pt x="217910" y="1142624"/>
                    <a:pt x="251792" y="1159565"/>
                  </a:cubicBezTo>
                  <a:cubicBezTo>
                    <a:pt x="227496" y="1166191"/>
                    <a:pt x="203462" y="1173863"/>
                    <a:pt x="178905" y="1179444"/>
                  </a:cubicBezTo>
                  <a:cubicBezTo>
                    <a:pt x="154825" y="1184917"/>
                    <a:pt x="113827" y="1169269"/>
                    <a:pt x="106018" y="1192696"/>
                  </a:cubicBezTo>
                  <a:cubicBezTo>
                    <a:pt x="94310" y="1227820"/>
                    <a:pt x="121514" y="1266158"/>
                    <a:pt x="139148" y="1298713"/>
                  </a:cubicBezTo>
                  <a:cubicBezTo>
                    <a:pt x="165323" y="1347036"/>
                    <a:pt x="213579" y="1362433"/>
                    <a:pt x="258418" y="1384852"/>
                  </a:cubicBezTo>
                  <a:cubicBezTo>
                    <a:pt x="262835" y="1389270"/>
                    <a:pt x="277171" y="1395143"/>
                    <a:pt x="271670" y="1398105"/>
                  </a:cubicBezTo>
                  <a:cubicBezTo>
                    <a:pt x="240922" y="1414662"/>
                    <a:pt x="172279" y="1431235"/>
                    <a:pt x="172279" y="1431235"/>
                  </a:cubicBezTo>
                  <a:cubicBezTo>
                    <a:pt x="167861" y="1451113"/>
                    <a:pt x="169287" y="1473281"/>
                    <a:pt x="159026" y="1490870"/>
                  </a:cubicBezTo>
                  <a:cubicBezTo>
                    <a:pt x="152537" y="1501994"/>
                    <a:pt x="125896" y="1497869"/>
                    <a:pt x="125896" y="1510748"/>
                  </a:cubicBezTo>
                  <a:cubicBezTo>
                    <a:pt x="125896" y="1564302"/>
                    <a:pt x="170356" y="1605096"/>
                    <a:pt x="205409" y="1636644"/>
                  </a:cubicBezTo>
                  <a:cubicBezTo>
                    <a:pt x="211328" y="1641971"/>
                    <a:pt x="218661" y="1645479"/>
                    <a:pt x="225287" y="1649896"/>
                  </a:cubicBezTo>
                  <a:cubicBezTo>
                    <a:pt x="248696" y="1685009"/>
                    <a:pt x="242055" y="1660803"/>
                    <a:pt x="198783" y="1689652"/>
                  </a:cubicBezTo>
                  <a:cubicBezTo>
                    <a:pt x="190986" y="1694850"/>
                    <a:pt x="187097" y="1704980"/>
                    <a:pt x="178905" y="1709531"/>
                  </a:cubicBezTo>
                  <a:cubicBezTo>
                    <a:pt x="166694" y="1716315"/>
                    <a:pt x="152927" y="1720487"/>
                    <a:pt x="139148" y="1722783"/>
                  </a:cubicBezTo>
                  <a:cubicBezTo>
                    <a:pt x="97190" y="1729776"/>
                    <a:pt x="79263" y="1729409"/>
                    <a:pt x="46383" y="1729409"/>
                  </a:cubicBezTo>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mc:AlternateContent xmlns:mc="http://schemas.openxmlformats.org/markup-compatibility/2006" xmlns:a14="http://schemas.microsoft.com/office/drawing/2010/main">
          <mc:Choice Requires="a14">
            <p:sp>
              <p:nvSpPr>
                <p:cNvPr id="96" name="Rectangle 95">
                  <a:extLst>
                    <a:ext uri="{FF2B5EF4-FFF2-40B4-BE49-F238E27FC236}">
                      <a16:creationId xmlns:a16="http://schemas.microsoft.com/office/drawing/2014/main" id="{554EB390-7712-A70F-30C0-A084D953F8E9}"/>
                    </a:ext>
                  </a:extLst>
                </p:cNvPr>
                <p:cNvSpPr/>
                <p:nvPr/>
              </p:nvSpPr>
              <p:spPr>
                <a:xfrm>
                  <a:off x="591960" y="5329061"/>
                  <a:ext cx="509053"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B </a:t>
                  </a:r>
                  <a14:m>
                    <m:oMath xmlns:m="http://schemas.openxmlformats.org/officeDocument/2006/math">
                      <m:r>
                        <a:rPr lang="en-US" sz="700" b="0" i="1" smtClean="0">
                          <a:solidFill>
                            <a:schemeClr val="bg1"/>
                          </a:solidFill>
                          <a:latin typeface="Cambria Math" panose="02040503050406030204" pitchFamily="18" charset="0"/>
                          <a:cs typeface="Microsoft Sans Serif" panose="020B0604020202020204" pitchFamily="34" charset="0"/>
                        </a:rPr>
                        <m:t>𝐶</m:t>
                      </m:r>
                    </m:oMath>
                  </a14:m>
                  <a:endParaRPr lang="en-US" sz="700" dirty="0">
                    <a:solidFill>
                      <a:schemeClr val="bg1"/>
                    </a:solidFill>
                    <a:latin typeface="Microsoft Sans Serif"/>
                    <a:cs typeface="Microsoft Sans Serif" panose="020B0604020202020204" pitchFamily="34" charset="0"/>
                  </a:endParaRPr>
                </a:p>
              </p:txBody>
            </p:sp>
          </mc:Choice>
          <mc:Fallback xmlns="">
            <p:sp>
              <p:nvSpPr>
                <p:cNvPr id="96" name="Rectangle 95">
                  <a:extLst>
                    <a:ext uri="{FF2B5EF4-FFF2-40B4-BE49-F238E27FC236}">
                      <a16:creationId xmlns:a16="http://schemas.microsoft.com/office/drawing/2014/main" id="{554EB390-7712-A70F-30C0-A084D953F8E9}"/>
                    </a:ext>
                  </a:extLst>
                </p:cNvPr>
                <p:cNvSpPr>
                  <a:spLocks noRot="1" noChangeAspect="1" noMove="1" noResize="1" noEditPoints="1" noAdjustHandles="1" noChangeArrowheads="1" noChangeShapeType="1" noTextEdit="1"/>
                </p:cNvSpPr>
                <p:nvPr/>
              </p:nvSpPr>
              <p:spPr>
                <a:xfrm>
                  <a:off x="591960" y="5329061"/>
                  <a:ext cx="509053" cy="183647"/>
                </a:xfrm>
                <a:prstGeom prst="rect">
                  <a:avLst/>
                </a:prstGeom>
                <a:blipFill>
                  <a:blip r:embed="rId7"/>
                  <a:stretch>
                    <a:fillRect b="-2857"/>
                  </a:stretch>
                </a:blipFill>
                <a:ln>
                  <a:solidFill>
                    <a:schemeClr val="tx1"/>
                  </a:solidFill>
                </a:ln>
              </p:spPr>
              <p:txBody>
                <a:bodyPr/>
                <a:lstStyle/>
                <a:p>
                  <a:r>
                    <a:rPr lang="en-US">
                      <a:noFill/>
                    </a:rPr>
                    <a:t> </a:t>
                  </a:r>
                </a:p>
              </p:txBody>
            </p:sp>
          </mc:Fallback>
        </mc:AlternateContent>
        <p:sp>
          <p:nvSpPr>
            <p:cNvPr id="97" name="Rectangle 96">
              <a:extLst>
                <a:ext uri="{FF2B5EF4-FFF2-40B4-BE49-F238E27FC236}">
                  <a16:creationId xmlns:a16="http://schemas.microsoft.com/office/drawing/2014/main" id="{24685D98-AC12-0078-ACC5-CA61CE08FC3B}"/>
                </a:ext>
              </a:extLst>
            </p:cNvPr>
            <p:cNvSpPr/>
            <p:nvPr/>
          </p:nvSpPr>
          <p:spPr>
            <a:xfrm>
              <a:off x="591960" y="5966992"/>
              <a:ext cx="509053"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B 2</a:t>
              </a:r>
            </a:p>
          </p:txBody>
        </p:sp>
        <p:sp>
          <p:nvSpPr>
            <p:cNvPr id="98" name="Rectangle 97">
              <a:extLst>
                <a:ext uri="{FF2B5EF4-FFF2-40B4-BE49-F238E27FC236}">
                  <a16:creationId xmlns:a16="http://schemas.microsoft.com/office/drawing/2014/main" id="{16C252BB-ECBD-5557-AACB-48812F79B722}"/>
                </a:ext>
              </a:extLst>
            </p:cNvPr>
            <p:cNvSpPr/>
            <p:nvPr/>
          </p:nvSpPr>
          <p:spPr>
            <a:xfrm>
              <a:off x="591960" y="6150639"/>
              <a:ext cx="509053"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B 1</a:t>
              </a:r>
            </a:p>
          </p:txBody>
        </p:sp>
        <p:sp>
          <p:nvSpPr>
            <p:cNvPr id="99" name="TextBox 98">
              <a:extLst>
                <a:ext uri="{FF2B5EF4-FFF2-40B4-BE49-F238E27FC236}">
                  <a16:creationId xmlns:a16="http://schemas.microsoft.com/office/drawing/2014/main" id="{8B1F8B96-D839-E14D-F8EF-39032BED5724}"/>
                </a:ext>
              </a:extLst>
            </p:cNvPr>
            <p:cNvSpPr txBox="1"/>
            <p:nvPr/>
          </p:nvSpPr>
          <p:spPr>
            <a:xfrm rot="16200000">
              <a:off x="650119" y="5425458"/>
              <a:ext cx="338131" cy="88614"/>
            </a:xfrm>
            <a:prstGeom prst="rect">
              <a:avLst/>
            </a:prstGeom>
          </p:spPr>
          <p:txBody>
            <a:bodyPr wrap="square" lIns="0" tIns="0" rIns="0" bIns="0" rtlCol="0">
              <a:spAutoFit/>
            </a:bodyPr>
            <a:lstStyle/>
            <a:p>
              <a:pPr algn="l">
                <a:lnSpc>
                  <a:spcPct val="96000"/>
                </a:lnSpc>
              </a:pPr>
              <a:r>
                <a:rPr lang="en-US" sz="600" dirty="0">
                  <a:solidFill>
                    <a:schemeClr val="tx2"/>
                  </a:solidFill>
                  <a:latin typeface="Microsoft Sans Serif"/>
                  <a:cs typeface="Microsoft Sans Serif" panose="020B0604020202020204" pitchFamily="34" charset="0"/>
                </a:rPr>
                <a:t>…</a:t>
              </a:r>
            </a:p>
          </p:txBody>
        </p:sp>
        <p:sp>
          <p:nvSpPr>
            <p:cNvPr id="100" name="Rectangle 99">
              <a:extLst>
                <a:ext uri="{FF2B5EF4-FFF2-40B4-BE49-F238E27FC236}">
                  <a16:creationId xmlns:a16="http://schemas.microsoft.com/office/drawing/2014/main" id="{56FD8AA4-6906-6012-9CC8-8CFBF6A65DB8}"/>
                </a:ext>
              </a:extLst>
            </p:cNvPr>
            <p:cNvSpPr/>
            <p:nvPr/>
          </p:nvSpPr>
          <p:spPr>
            <a:xfrm>
              <a:off x="591960" y="5788178"/>
              <a:ext cx="509053"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B 3</a:t>
              </a:r>
            </a:p>
          </p:txBody>
        </p:sp>
        <p:sp>
          <p:nvSpPr>
            <p:cNvPr id="104" name="Rectangle 103">
              <a:extLst>
                <a:ext uri="{FF2B5EF4-FFF2-40B4-BE49-F238E27FC236}">
                  <a16:creationId xmlns:a16="http://schemas.microsoft.com/office/drawing/2014/main" id="{04737477-3D25-1AFD-F120-7106524BEE92}"/>
                </a:ext>
              </a:extLst>
            </p:cNvPr>
            <p:cNvSpPr/>
            <p:nvPr/>
          </p:nvSpPr>
          <p:spPr>
            <a:xfrm>
              <a:off x="3550760" y="5329061"/>
              <a:ext cx="219086" cy="1005225"/>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CP</a:t>
              </a:r>
            </a:p>
          </p:txBody>
        </p:sp>
        <p:sp>
          <p:nvSpPr>
            <p:cNvPr id="105" name="Freeform: Shape 104">
              <a:extLst>
                <a:ext uri="{FF2B5EF4-FFF2-40B4-BE49-F238E27FC236}">
                  <a16:creationId xmlns:a16="http://schemas.microsoft.com/office/drawing/2014/main" id="{DA7A2B8F-0138-388C-C24F-F52A5C5B2244}"/>
                </a:ext>
              </a:extLst>
            </p:cNvPr>
            <p:cNvSpPr/>
            <p:nvPr/>
          </p:nvSpPr>
          <p:spPr>
            <a:xfrm>
              <a:off x="3581367" y="5361280"/>
              <a:ext cx="157871" cy="946411"/>
            </a:xfrm>
            <a:custGeom>
              <a:avLst/>
              <a:gdLst>
                <a:gd name="connsiteX0" fmla="*/ 59635 w 324679"/>
                <a:gd name="connsiteY0" fmla="*/ 0 h 1729412"/>
                <a:gd name="connsiteX1" fmla="*/ 192157 w 324679"/>
                <a:gd name="connsiteY1" fmla="*/ 13252 h 1729412"/>
                <a:gd name="connsiteX2" fmla="*/ 304800 w 324679"/>
                <a:gd name="connsiteY2" fmla="*/ 26505 h 1729412"/>
                <a:gd name="connsiteX3" fmla="*/ 324679 w 324679"/>
                <a:gd name="connsiteY3" fmla="*/ 66261 h 1729412"/>
                <a:gd name="connsiteX4" fmla="*/ 218661 w 324679"/>
                <a:gd name="connsiteY4" fmla="*/ 119270 h 1729412"/>
                <a:gd name="connsiteX5" fmla="*/ 86139 w 324679"/>
                <a:gd name="connsiteY5" fmla="*/ 172278 h 1729412"/>
                <a:gd name="connsiteX6" fmla="*/ 79513 w 324679"/>
                <a:gd name="connsiteY6" fmla="*/ 192157 h 1729412"/>
                <a:gd name="connsiteX7" fmla="*/ 225287 w 324679"/>
                <a:gd name="connsiteY7" fmla="*/ 331305 h 1729412"/>
                <a:gd name="connsiteX8" fmla="*/ 159026 w 324679"/>
                <a:gd name="connsiteY8" fmla="*/ 364435 h 1729412"/>
                <a:gd name="connsiteX9" fmla="*/ 13253 w 324679"/>
                <a:gd name="connsiteY9" fmla="*/ 443948 h 1729412"/>
                <a:gd name="connsiteX10" fmla="*/ 66261 w 324679"/>
                <a:gd name="connsiteY10" fmla="*/ 503583 h 1729412"/>
                <a:gd name="connsiteX11" fmla="*/ 132522 w 324679"/>
                <a:gd name="connsiteY11" fmla="*/ 530087 h 1729412"/>
                <a:gd name="connsiteX12" fmla="*/ 145774 w 324679"/>
                <a:gd name="connsiteY12" fmla="*/ 596348 h 1729412"/>
                <a:gd name="connsiteX13" fmla="*/ 79513 w 324679"/>
                <a:gd name="connsiteY13" fmla="*/ 622852 h 1729412"/>
                <a:gd name="connsiteX14" fmla="*/ 39757 w 324679"/>
                <a:gd name="connsiteY14" fmla="*/ 642731 h 1729412"/>
                <a:gd name="connsiteX15" fmla="*/ 231913 w 324679"/>
                <a:gd name="connsiteY15" fmla="*/ 748748 h 1729412"/>
                <a:gd name="connsiteX16" fmla="*/ 258418 w 324679"/>
                <a:gd name="connsiteY16" fmla="*/ 755374 h 1729412"/>
                <a:gd name="connsiteX17" fmla="*/ 0 w 324679"/>
                <a:gd name="connsiteY17" fmla="*/ 848139 h 1729412"/>
                <a:gd name="connsiteX18" fmla="*/ 19879 w 324679"/>
                <a:gd name="connsiteY18" fmla="*/ 907774 h 1729412"/>
                <a:gd name="connsiteX19" fmla="*/ 192157 w 324679"/>
                <a:gd name="connsiteY19" fmla="*/ 1000539 h 1729412"/>
                <a:gd name="connsiteX20" fmla="*/ 159026 w 324679"/>
                <a:gd name="connsiteY20" fmla="*/ 1033670 h 1729412"/>
                <a:gd name="connsiteX21" fmla="*/ 106018 w 324679"/>
                <a:gd name="connsiteY21" fmla="*/ 1046922 h 1729412"/>
                <a:gd name="connsiteX22" fmla="*/ 139148 w 324679"/>
                <a:gd name="connsiteY22" fmla="*/ 1093305 h 1729412"/>
                <a:gd name="connsiteX23" fmla="*/ 251792 w 324679"/>
                <a:gd name="connsiteY23" fmla="*/ 1159565 h 1729412"/>
                <a:gd name="connsiteX24" fmla="*/ 178905 w 324679"/>
                <a:gd name="connsiteY24" fmla="*/ 1179444 h 1729412"/>
                <a:gd name="connsiteX25" fmla="*/ 106018 w 324679"/>
                <a:gd name="connsiteY25" fmla="*/ 1192696 h 1729412"/>
                <a:gd name="connsiteX26" fmla="*/ 139148 w 324679"/>
                <a:gd name="connsiteY26" fmla="*/ 1298713 h 1729412"/>
                <a:gd name="connsiteX27" fmla="*/ 258418 w 324679"/>
                <a:gd name="connsiteY27" fmla="*/ 1384852 h 1729412"/>
                <a:gd name="connsiteX28" fmla="*/ 271670 w 324679"/>
                <a:gd name="connsiteY28" fmla="*/ 1398105 h 1729412"/>
                <a:gd name="connsiteX29" fmla="*/ 172279 w 324679"/>
                <a:gd name="connsiteY29" fmla="*/ 1431235 h 1729412"/>
                <a:gd name="connsiteX30" fmla="*/ 159026 w 324679"/>
                <a:gd name="connsiteY30" fmla="*/ 1490870 h 1729412"/>
                <a:gd name="connsiteX31" fmla="*/ 125896 w 324679"/>
                <a:gd name="connsiteY31" fmla="*/ 1510748 h 1729412"/>
                <a:gd name="connsiteX32" fmla="*/ 205409 w 324679"/>
                <a:gd name="connsiteY32" fmla="*/ 1636644 h 1729412"/>
                <a:gd name="connsiteX33" fmla="*/ 225287 w 324679"/>
                <a:gd name="connsiteY33" fmla="*/ 1649896 h 1729412"/>
                <a:gd name="connsiteX34" fmla="*/ 198783 w 324679"/>
                <a:gd name="connsiteY34" fmla="*/ 1689652 h 1729412"/>
                <a:gd name="connsiteX35" fmla="*/ 178905 w 324679"/>
                <a:gd name="connsiteY35" fmla="*/ 1709531 h 1729412"/>
                <a:gd name="connsiteX36" fmla="*/ 139148 w 324679"/>
                <a:gd name="connsiteY36" fmla="*/ 1722783 h 1729412"/>
                <a:gd name="connsiteX37" fmla="*/ 46383 w 324679"/>
                <a:gd name="connsiteY37" fmla="*/ 1729409 h 172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24679" h="1729412">
                  <a:moveTo>
                    <a:pt x="59635" y="0"/>
                  </a:moveTo>
                  <a:lnTo>
                    <a:pt x="192157" y="13252"/>
                  </a:lnTo>
                  <a:cubicBezTo>
                    <a:pt x="229745" y="17316"/>
                    <a:pt x="269697" y="12464"/>
                    <a:pt x="304800" y="26505"/>
                  </a:cubicBezTo>
                  <a:cubicBezTo>
                    <a:pt x="318557" y="32008"/>
                    <a:pt x="318053" y="53009"/>
                    <a:pt x="324679" y="66261"/>
                  </a:cubicBezTo>
                  <a:cubicBezTo>
                    <a:pt x="289340" y="83931"/>
                    <a:pt x="255169" y="104163"/>
                    <a:pt x="218661" y="119270"/>
                  </a:cubicBezTo>
                  <a:cubicBezTo>
                    <a:pt x="46062" y="190690"/>
                    <a:pt x="199766" y="107350"/>
                    <a:pt x="86139" y="172278"/>
                  </a:cubicBezTo>
                  <a:cubicBezTo>
                    <a:pt x="83930" y="178904"/>
                    <a:pt x="77913" y="185358"/>
                    <a:pt x="79513" y="192157"/>
                  </a:cubicBezTo>
                  <a:cubicBezTo>
                    <a:pt x="108626" y="315884"/>
                    <a:pt x="104142" y="281421"/>
                    <a:pt x="225287" y="331305"/>
                  </a:cubicBezTo>
                  <a:cubicBezTo>
                    <a:pt x="203200" y="342348"/>
                    <a:pt x="182298" y="356177"/>
                    <a:pt x="159026" y="364435"/>
                  </a:cubicBezTo>
                  <a:cubicBezTo>
                    <a:pt x="5099" y="419054"/>
                    <a:pt x="28328" y="353497"/>
                    <a:pt x="13253" y="443948"/>
                  </a:cubicBezTo>
                  <a:cubicBezTo>
                    <a:pt x="30922" y="463826"/>
                    <a:pt x="45493" y="486969"/>
                    <a:pt x="66261" y="503583"/>
                  </a:cubicBezTo>
                  <a:cubicBezTo>
                    <a:pt x="77036" y="512203"/>
                    <a:pt x="114137" y="523959"/>
                    <a:pt x="132522" y="530087"/>
                  </a:cubicBezTo>
                  <a:cubicBezTo>
                    <a:pt x="136939" y="552174"/>
                    <a:pt x="156949" y="576791"/>
                    <a:pt x="145774" y="596348"/>
                  </a:cubicBezTo>
                  <a:cubicBezTo>
                    <a:pt x="133972" y="617002"/>
                    <a:pt x="101307" y="613317"/>
                    <a:pt x="79513" y="622852"/>
                  </a:cubicBezTo>
                  <a:cubicBezTo>
                    <a:pt x="65939" y="628791"/>
                    <a:pt x="53009" y="636105"/>
                    <a:pt x="39757" y="642731"/>
                  </a:cubicBezTo>
                  <a:cubicBezTo>
                    <a:pt x="134451" y="701914"/>
                    <a:pt x="136879" y="709616"/>
                    <a:pt x="231913" y="748748"/>
                  </a:cubicBezTo>
                  <a:cubicBezTo>
                    <a:pt x="240334" y="752215"/>
                    <a:pt x="249583" y="753165"/>
                    <a:pt x="258418" y="755374"/>
                  </a:cubicBezTo>
                  <a:cubicBezTo>
                    <a:pt x="43772" y="829390"/>
                    <a:pt x="129169" y="796472"/>
                    <a:pt x="0" y="848139"/>
                  </a:cubicBezTo>
                  <a:cubicBezTo>
                    <a:pt x="6626" y="868017"/>
                    <a:pt x="5518" y="892516"/>
                    <a:pt x="19879" y="907774"/>
                  </a:cubicBezTo>
                  <a:cubicBezTo>
                    <a:pt x="48827" y="938531"/>
                    <a:pt x="154314" y="983073"/>
                    <a:pt x="192157" y="1000539"/>
                  </a:cubicBezTo>
                  <a:cubicBezTo>
                    <a:pt x="181113" y="1011583"/>
                    <a:pt x="172777" y="1026265"/>
                    <a:pt x="159026" y="1033670"/>
                  </a:cubicBezTo>
                  <a:cubicBezTo>
                    <a:pt x="142990" y="1042305"/>
                    <a:pt x="111777" y="1029643"/>
                    <a:pt x="106018" y="1046922"/>
                  </a:cubicBezTo>
                  <a:cubicBezTo>
                    <a:pt x="100010" y="1064947"/>
                    <a:pt x="125713" y="1079870"/>
                    <a:pt x="139148" y="1093305"/>
                  </a:cubicBezTo>
                  <a:cubicBezTo>
                    <a:pt x="167637" y="1121794"/>
                    <a:pt x="217910" y="1142624"/>
                    <a:pt x="251792" y="1159565"/>
                  </a:cubicBezTo>
                  <a:cubicBezTo>
                    <a:pt x="227496" y="1166191"/>
                    <a:pt x="203462" y="1173863"/>
                    <a:pt x="178905" y="1179444"/>
                  </a:cubicBezTo>
                  <a:cubicBezTo>
                    <a:pt x="154825" y="1184917"/>
                    <a:pt x="113827" y="1169269"/>
                    <a:pt x="106018" y="1192696"/>
                  </a:cubicBezTo>
                  <a:cubicBezTo>
                    <a:pt x="94310" y="1227820"/>
                    <a:pt x="121514" y="1266158"/>
                    <a:pt x="139148" y="1298713"/>
                  </a:cubicBezTo>
                  <a:cubicBezTo>
                    <a:pt x="165323" y="1347036"/>
                    <a:pt x="213579" y="1362433"/>
                    <a:pt x="258418" y="1384852"/>
                  </a:cubicBezTo>
                  <a:cubicBezTo>
                    <a:pt x="262835" y="1389270"/>
                    <a:pt x="277171" y="1395143"/>
                    <a:pt x="271670" y="1398105"/>
                  </a:cubicBezTo>
                  <a:cubicBezTo>
                    <a:pt x="240922" y="1414662"/>
                    <a:pt x="172279" y="1431235"/>
                    <a:pt x="172279" y="1431235"/>
                  </a:cubicBezTo>
                  <a:cubicBezTo>
                    <a:pt x="167861" y="1451113"/>
                    <a:pt x="169287" y="1473281"/>
                    <a:pt x="159026" y="1490870"/>
                  </a:cubicBezTo>
                  <a:cubicBezTo>
                    <a:pt x="152537" y="1501994"/>
                    <a:pt x="125896" y="1497869"/>
                    <a:pt x="125896" y="1510748"/>
                  </a:cubicBezTo>
                  <a:cubicBezTo>
                    <a:pt x="125896" y="1564302"/>
                    <a:pt x="170356" y="1605096"/>
                    <a:pt x="205409" y="1636644"/>
                  </a:cubicBezTo>
                  <a:cubicBezTo>
                    <a:pt x="211328" y="1641971"/>
                    <a:pt x="218661" y="1645479"/>
                    <a:pt x="225287" y="1649896"/>
                  </a:cubicBezTo>
                  <a:cubicBezTo>
                    <a:pt x="248696" y="1685009"/>
                    <a:pt x="242055" y="1660803"/>
                    <a:pt x="198783" y="1689652"/>
                  </a:cubicBezTo>
                  <a:cubicBezTo>
                    <a:pt x="190986" y="1694850"/>
                    <a:pt x="187097" y="1704980"/>
                    <a:pt x="178905" y="1709531"/>
                  </a:cubicBezTo>
                  <a:cubicBezTo>
                    <a:pt x="166694" y="1716315"/>
                    <a:pt x="152927" y="1720487"/>
                    <a:pt x="139148" y="1722783"/>
                  </a:cubicBezTo>
                  <a:cubicBezTo>
                    <a:pt x="97190" y="1729776"/>
                    <a:pt x="79263" y="1729409"/>
                    <a:pt x="46383" y="1729409"/>
                  </a:cubicBezTo>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C00000"/>
                </a:solidFill>
              </a:endParaRPr>
            </a:p>
          </p:txBody>
        </p:sp>
        <mc:AlternateContent xmlns:mc="http://schemas.openxmlformats.org/markup-compatibility/2006" xmlns:a14="http://schemas.microsoft.com/office/drawing/2010/main">
          <mc:Choice Requires="a14">
            <p:sp>
              <p:nvSpPr>
                <p:cNvPr id="106" name="Rectangle 105">
                  <a:extLst>
                    <a:ext uri="{FF2B5EF4-FFF2-40B4-BE49-F238E27FC236}">
                      <a16:creationId xmlns:a16="http://schemas.microsoft.com/office/drawing/2014/main" id="{4C1D4411-BA54-83A2-A79F-87901F2A1835}"/>
                    </a:ext>
                  </a:extLst>
                </p:cNvPr>
                <p:cNvSpPr/>
                <p:nvPr/>
              </p:nvSpPr>
              <p:spPr>
                <a:xfrm>
                  <a:off x="3769846" y="5329061"/>
                  <a:ext cx="589228"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Block </a:t>
                  </a:r>
                  <a14:m>
                    <m:oMath xmlns:m="http://schemas.openxmlformats.org/officeDocument/2006/math">
                      <m:r>
                        <m:rPr>
                          <m:sty m:val="p"/>
                        </m:rPr>
                        <a:rPr lang="en-US" sz="700" b="0" i="0" smtClean="0">
                          <a:solidFill>
                            <a:schemeClr val="bg1"/>
                          </a:solidFill>
                          <a:latin typeface="Cambria Math" panose="02040503050406030204" pitchFamily="18" charset="0"/>
                          <a:cs typeface="Microsoft Sans Serif" panose="020B0604020202020204" pitchFamily="34" charset="0"/>
                        </a:rPr>
                        <m:t>B</m:t>
                      </m:r>
                      <m:r>
                        <a:rPr lang="en-US" sz="700" b="0" i="0" smtClean="0">
                          <a:solidFill>
                            <a:schemeClr val="bg1"/>
                          </a:solidFill>
                          <a:latin typeface="Cambria Math" panose="02040503050406030204" pitchFamily="18" charset="0"/>
                          <a:cs typeface="Microsoft Sans Serif" panose="020B0604020202020204" pitchFamily="34" charset="0"/>
                        </a:rPr>
                        <m:t>/</m:t>
                      </m:r>
                      <m:r>
                        <a:rPr lang="en-US" sz="700" b="0" i="1" smtClean="0">
                          <a:solidFill>
                            <a:schemeClr val="bg1"/>
                          </a:solidFill>
                          <a:latin typeface="Cambria Math" panose="02040503050406030204" pitchFamily="18" charset="0"/>
                          <a:cs typeface="Microsoft Sans Serif" panose="020B0604020202020204" pitchFamily="34" charset="0"/>
                        </a:rPr>
                        <m:t>𝐶</m:t>
                      </m:r>
                    </m:oMath>
                  </a14:m>
                  <a:endParaRPr lang="en-US" sz="700" dirty="0">
                    <a:solidFill>
                      <a:schemeClr val="bg1"/>
                    </a:solidFill>
                    <a:latin typeface="Microsoft Sans Serif"/>
                    <a:cs typeface="Microsoft Sans Serif" panose="020B0604020202020204" pitchFamily="34" charset="0"/>
                  </a:endParaRPr>
                </a:p>
              </p:txBody>
            </p:sp>
          </mc:Choice>
          <mc:Fallback xmlns="">
            <p:sp>
              <p:nvSpPr>
                <p:cNvPr id="106" name="Rectangle 105">
                  <a:extLst>
                    <a:ext uri="{FF2B5EF4-FFF2-40B4-BE49-F238E27FC236}">
                      <a16:creationId xmlns:a16="http://schemas.microsoft.com/office/drawing/2014/main" id="{4C1D4411-BA54-83A2-A79F-87901F2A1835}"/>
                    </a:ext>
                  </a:extLst>
                </p:cNvPr>
                <p:cNvSpPr>
                  <a:spLocks noRot="1" noChangeAspect="1" noMove="1" noResize="1" noEditPoints="1" noAdjustHandles="1" noChangeArrowheads="1" noChangeShapeType="1" noTextEdit="1"/>
                </p:cNvSpPr>
                <p:nvPr/>
              </p:nvSpPr>
              <p:spPr>
                <a:xfrm>
                  <a:off x="3769846" y="5329061"/>
                  <a:ext cx="589228" cy="183647"/>
                </a:xfrm>
                <a:prstGeom prst="rect">
                  <a:avLst/>
                </a:prstGeom>
                <a:blipFill>
                  <a:blip r:embed="rId8"/>
                  <a:stretch>
                    <a:fillRect b="-2857"/>
                  </a:stretch>
                </a:blipFill>
                <a:ln>
                  <a:solidFill>
                    <a:schemeClr val="tx1"/>
                  </a:solidFill>
                </a:ln>
              </p:spPr>
              <p:txBody>
                <a:bodyPr/>
                <a:lstStyle/>
                <a:p>
                  <a:r>
                    <a:rPr lang="en-US">
                      <a:noFill/>
                    </a:rPr>
                    <a:t> </a:t>
                  </a:r>
                </a:p>
              </p:txBody>
            </p:sp>
          </mc:Fallback>
        </mc:AlternateContent>
        <p:sp>
          <p:nvSpPr>
            <p:cNvPr id="107" name="Rectangle 106">
              <a:extLst>
                <a:ext uri="{FF2B5EF4-FFF2-40B4-BE49-F238E27FC236}">
                  <a16:creationId xmlns:a16="http://schemas.microsoft.com/office/drawing/2014/main" id="{0BBFF62B-A4E4-C339-F643-CBCC5C1A69AF}"/>
                </a:ext>
              </a:extLst>
            </p:cNvPr>
            <p:cNvSpPr/>
            <p:nvPr/>
          </p:nvSpPr>
          <p:spPr>
            <a:xfrm>
              <a:off x="3769846" y="5966992"/>
              <a:ext cx="589228"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Block 2</a:t>
              </a:r>
            </a:p>
          </p:txBody>
        </p:sp>
        <p:sp>
          <p:nvSpPr>
            <p:cNvPr id="108" name="Rectangle 107">
              <a:extLst>
                <a:ext uri="{FF2B5EF4-FFF2-40B4-BE49-F238E27FC236}">
                  <a16:creationId xmlns:a16="http://schemas.microsoft.com/office/drawing/2014/main" id="{CABE7461-CB20-B671-CF56-22CD325DAE88}"/>
                </a:ext>
              </a:extLst>
            </p:cNvPr>
            <p:cNvSpPr/>
            <p:nvPr/>
          </p:nvSpPr>
          <p:spPr>
            <a:xfrm>
              <a:off x="3769846" y="6150639"/>
              <a:ext cx="589228"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Block 1</a:t>
              </a:r>
            </a:p>
          </p:txBody>
        </p:sp>
        <p:sp>
          <p:nvSpPr>
            <p:cNvPr id="109" name="TextBox 108">
              <a:extLst>
                <a:ext uri="{FF2B5EF4-FFF2-40B4-BE49-F238E27FC236}">
                  <a16:creationId xmlns:a16="http://schemas.microsoft.com/office/drawing/2014/main" id="{BE1CDC71-BC45-E6E0-7B76-36AE2A0CA4D2}"/>
                </a:ext>
              </a:extLst>
            </p:cNvPr>
            <p:cNvSpPr txBox="1"/>
            <p:nvPr/>
          </p:nvSpPr>
          <p:spPr>
            <a:xfrm rot="16200000">
              <a:off x="3828005" y="5425456"/>
              <a:ext cx="338131" cy="88614"/>
            </a:xfrm>
            <a:prstGeom prst="rect">
              <a:avLst/>
            </a:prstGeom>
          </p:spPr>
          <p:txBody>
            <a:bodyPr wrap="square" lIns="0" tIns="0" rIns="0" bIns="0" rtlCol="0">
              <a:spAutoFit/>
            </a:bodyPr>
            <a:lstStyle/>
            <a:p>
              <a:pPr algn="l">
                <a:lnSpc>
                  <a:spcPct val="96000"/>
                </a:lnSpc>
              </a:pPr>
              <a:r>
                <a:rPr lang="en-US" sz="600" dirty="0">
                  <a:solidFill>
                    <a:schemeClr val="tx2"/>
                  </a:solidFill>
                  <a:latin typeface="Microsoft Sans Serif"/>
                  <a:cs typeface="Microsoft Sans Serif" panose="020B0604020202020204" pitchFamily="34" charset="0"/>
                </a:rPr>
                <a:t>…</a:t>
              </a:r>
            </a:p>
          </p:txBody>
        </p:sp>
        <p:sp>
          <p:nvSpPr>
            <p:cNvPr id="110" name="Rectangle 109">
              <a:extLst>
                <a:ext uri="{FF2B5EF4-FFF2-40B4-BE49-F238E27FC236}">
                  <a16:creationId xmlns:a16="http://schemas.microsoft.com/office/drawing/2014/main" id="{B1A9B167-759F-937D-5DE2-3A126FA34853}"/>
                </a:ext>
              </a:extLst>
            </p:cNvPr>
            <p:cNvSpPr/>
            <p:nvPr/>
          </p:nvSpPr>
          <p:spPr>
            <a:xfrm>
              <a:off x="3769846" y="5788178"/>
              <a:ext cx="589228" cy="18364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700" dirty="0">
                  <a:solidFill>
                    <a:schemeClr val="bg1"/>
                  </a:solidFill>
                  <a:latin typeface="Microsoft Sans Serif"/>
                  <a:cs typeface="Microsoft Sans Serif" panose="020B0604020202020204" pitchFamily="34" charset="0"/>
                </a:rPr>
                <a:t>Block 2</a:t>
              </a:r>
            </a:p>
          </p:txBody>
        </p:sp>
        <p:sp>
          <p:nvSpPr>
            <p:cNvPr id="112" name="Rectangle 111">
              <a:extLst>
                <a:ext uri="{FF2B5EF4-FFF2-40B4-BE49-F238E27FC236}">
                  <a16:creationId xmlns:a16="http://schemas.microsoft.com/office/drawing/2014/main" id="{09B3D919-4827-3867-B099-6F6204074BD6}"/>
                </a:ext>
              </a:extLst>
            </p:cNvPr>
            <p:cNvSpPr/>
            <p:nvPr/>
          </p:nvSpPr>
          <p:spPr>
            <a:xfrm>
              <a:off x="3581367" y="6360017"/>
              <a:ext cx="1333601" cy="170801"/>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13" name="Rectangle 112">
              <a:extLst>
                <a:ext uri="{FF2B5EF4-FFF2-40B4-BE49-F238E27FC236}">
                  <a16:creationId xmlns:a16="http://schemas.microsoft.com/office/drawing/2014/main" id="{5214005F-F9F1-9259-2DC5-8485A74134FF}"/>
                </a:ext>
              </a:extLst>
            </p:cNvPr>
            <p:cNvSpPr/>
            <p:nvPr/>
          </p:nvSpPr>
          <p:spPr>
            <a:xfrm>
              <a:off x="1706031" y="5313472"/>
              <a:ext cx="1239647" cy="1015333"/>
            </a:xfrm>
            <a:prstGeom prst="rect">
              <a:avLst/>
            </a:prstGeom>
            <a:solidFill>
              <a:schemeClr val="accent6"/>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cxnSp>
          <p:nvCxnSpPr>
            <p:cNvPr id="115" name="Straight Arrow Connector 114">
              <a:extLst>
                <a:ext uri="{FF2B5EF4-FFF2-40B4-BE49-F238E27FC236}">
                  <a16:creationId xmlns:a16="http://schemas.microsoft.com/office/drawing/2014/main" id="{1FFB86A0-42FD-4D92-1457-B340C01B7CF8}"/>
                </a:ext>
              </a:extLst>
            </p:cNvPr>
            <p:cNvCxnSpPr>
              <a:cxnSpLocks/>
            </p:cNvCxnSpPr>
            <p:nvPr/>
          </p:nvCxnSpPr>
          <p:spPr>
            <a:xfrm>
              <a:off x="1746127" y="5375169"/>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sp>
          <p:nvSpPr>
            <p:cNvPr id="116" name="Rectangle 115">
              <a:extLst>
                <a:ext uri="{FF2B5EF4-FFF2-40B4-BE49-F238E27FC236}">
                  <a16:creationId xmlns:a16="http://schemas.microsoft.com/office/drawing/2014/main" id="{EF8679C2-8BEB-2B6E-32F9-8BB75EB83EDC}"/>
                </a:ext>
              </a:extLst>
            </p:cNvPr>
            <p:cNvSpPr/>
            <p:nvPr/>
          </p:nvSpPr>
          <p:spPr>
            <a:xfrm>
              <a:off x="1706030" y="5312934"/>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17" name="Rectangle 116">
              <a:extLst>
                <a:ext uri="{FF2B5EF4-FFF2-40B4-BE49-F238E27FC236}">
                  <a16:creationId xmlns:a16="http://schemas.microsoft.com/office/drawing/2014/main" id="{E66B48B5-3F60-F7A3-54C4-30800ACD975C}"/>
                </a:ext>
              </a:extLst>
            </p:cNvPr>
            <p:cNvSpPr/>
            <p:nvPr/>
          </p:nvSpPr>
          <p:spPr>
            <a:xfrm rot="5400000">
              <a:off x="1254017"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18" name="Rectangle 117">
              <a:extLst>
                <a:ext uri="{FF2B5EF4-FFF2-40B4-BE49-F238E27FC236}">
                  <a16:creationId xmlns:a16="http://schemas.microsoft.com/office/drawing/2014/main" id="{8E110C7C-0317-F4BB-69C1-F4D3D2AFE5BF}"/>
                </a:ext>
              </a:extLst>
            </p:cNvPr>
            <p:cNvSpPr/>
            <p:nvPr/>
          </p:nvSpPr>
          <p:spPr>
            <a:xfrm rot="5400000">
              <a:off x="1366800"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19" name="Rectangle 118">
              <a:extLst>
                <a:ext uri="{FF2B5EF4-FFF2-40B4-BE49-F238E27FC236}">
                  <a16:creationId xmlns:a16="http://schemas.microsoft.com/office/drawing/2014/main" id="{E8E91194-8B8C-646C-9B44-0418BC59B8E0}"/>
                </a:ext>
              </a:extLst>
            </p:cNvPr>
            <p:cNvSpPr/>
            <p:nvPr/>
          </p:nvSpPr>
          <p:spPr>
            <a:xfrm rot="5400000">
              <a:off x="1479540"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0" name="Rectangle 119">
              <a:extLst>
                <a:ext uri="{FF2B5EF4-FFF2-40B4-BE49-F238E27FC236}">
                  <a16:creationId xmlns:a16="http://schemas.microsoft.com/office/drawing/2014/main" id="{6D389673-7127-6B5C-B5AC-B18C09BECF2F}"/>
                </a:ext>
              </a:extLst>
            </p:cNvPr>
            <p:cNvSpPr/>
            <p:nvPr/>
          </p:nvSpPr>
          <p:spPr>
            <a:xfrm rot="5400000">
              <a:off x="1592323"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1" name="Rectangle 120">
              <a:extLst>
                <a:ext uri="{FF2B5EF4-FFF2-40B4-BE49-F238E27FC236}">
                  <a16:creationId xmlns:a16="http://schemas.microsoft.com/office/drawing/2014/main" id="{2AD89E7F-5590-D18B-D4FF-31DAABA2F502}"/>
                </a:ext>
              </a:extLst>
            </p:cNvPr>
            <p:cNvSpPr/>
            <p:nvPr/>
          </p:nvSpPr>
          <p:spPr>
            <a:xfrm rot="5400000">
              <a:off x="1705177"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2" name="Rectangle 121">
              <a:extLst>
                <a:ext uri="{FF2B5EF4-FFF2-40B4-BE49-F238E27FC236}">
                  <a16:creationId xmlns:a16="http://schemas.microsoft.com/office/drawing/2014/main" id="{C7A05D6F-7926-362E-2612-BE7619580408}"/>
                </a:ext>
              </a:extLst>
            </p:cNvPr>
            <p:cNvSpPr/>
            <p:nvPr/>
          </p:nvSpPr>
          <p:spPr>
            <a:xfrm rot="5400000">
              <a:off x="1817960"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3" name="Rectangle 122">
              <a:extLst>
                <a:ext uri="{FF2B5EF4-FFF2-40B4-BE49-F238E27FC236}">
                  <a16:creationId xmlns:a16="http://schemas.microsoft.com/office/drawing/2014/main" id="{EB433D63-0155-2052-8C35-E5A3E13F03A7}"/>
                </a:ext>
              </a:extLst>
            </p:cNvPr>
            <p:cNvSpPr/>
            <p:nvPr/>
          </p:nvSpPr>
          <p:spPr>
            <a:xfrm rot="5400000">
              <a:off x="1930700"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4" name="Rectangle 123">
              <a:extLst>
                <a:ext uri="{FF2B5EF4-FFF2-40B4-BE49-F238E27FC236}">
                  <a16:creationId xmlns:a16="http://schemas.microsoft.com/office/drawing/2014/main" id="{25FCA18A-4403-9F7C-C45F-E70939D9086D}"/>
                </a:ext>
              </a:extLst>
            </p:cNvPr>
            <p:cNvSpPr/>
            <p:nvPr/>
          </p:nvSpPr>
          <p:spPr>
            <a:xfrm rot="5400000">
              <a:off x="2043483"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5" name="Rectangle 124">
              <a:extLst>
                <a:ext uri="{FF2B5EF4-FFF2-40B4-BE49-F238E27FC236}">
                  <a16:creationId xmlns:a16="http://schemas.microsoft.com/office/drawing/2014/main" id="{F3D43FB0-DFA1-9EBA-7805-A5277E1C509B}"/>
                </a:ext>
              </a:extLst>
            </p:cNvPr>
            <p:cNvSpPr/>
            <p:nvPr/>
          </p:nvSpPr>
          <p:spPr>
            <a:xfrm rot="5400000">
              <a:off x="2156034"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6" name="Rectangle 125">
              <a:extLst>
                <a:ext uri="{FF2B5EF4-FFF2-40B4-BE49-F238E27FC236}">
                  <a16:creationId xmlns:a16="http://schemas.microsoft.com/office/drawing/2014/main" id="{A1BB8DE2-182B-40AF-4E6C-D817D3297506}"/>
                </a:ext>
              </a:extLst>
            </p:cNvPr>
            <p:cNvSpPr/>
            <p:nvPr/>
          </p:nvSpPr>
          <p:spPr>
            <a:xfrm rot="5400000">
              <a:off x="2268773"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7" name="Rectangle 126">
              <a:extLst>
                <a:ext uri="{FF2B5EF4-FFF2-40B4-BE49-F238E27FC236}">
                  <a16:creationId xmlns:a16="http://schemas.microsoft.com/office/drawing/2014/main" id="{20700A9A-8F62-D5C5-AF21-6B4D40C10171}"/>
                </a:ext>
              </a:extLst>
            </p:cNvPr>
            <p:cNvSpPr/>
            <p:nvPr/>
          </p:nvSpPr>
          <p:spPr>
            <a:xfrm rot="5400000">
              <a:off x="2381556" y="5764633"/>
              <a:ext cx="1015560" cy="112783"/>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8" name="Rectangle 127">
              <a:extLst>
                <a:ext uri="{FF2B5EF4-FFF2-40B4-BE49-F238E27FC236}">
                  <a16:creationId xmlns:a16="http://schemas.microsoft.com/office/drawing/2014/main" id="{3A677C5B-474B-D9CD-6C4E-EFE4A2145058}"/>
                </a:ext>
              </a:extLst>
            </p:cNvPr>
            <p:cNvSpPr/>
            <p:nvPr/>
          </p:nvSpPr>
          <p:spPr>
            <a:xfrm>
              <a:off x="1703557" y="5425717"/>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29" name="Rectangle 128">
              <a:extLst>
                <a:ext uri="{FF2B5EF4-FFF2-40B4-BE49-F238E27FC236}">
                  <a16:creationId xmlns:a16="http://schemas.microsoft.com/office/drawing/2014/main" id="{C12E7721-9191-B971-8995-C371CE7D2AF7}"/>
                </a:ext>
              </a:extLst>
            </p:cNvPr>
            <p:cNvSpPr/>
            <p:nvPr/>
          </p:nvSpPr>
          <p:spPr>
            <a:xfrm>
              <a:off x="1703557" y="5537962"/>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0" name="Rectangle 129">
              <a:extLst>
                <a:ext uri="{FF2B5EF4-FFF2-40B4-BE49-F238E27FC236}">
                  <a16:creationId xmlns:a16="http://schemas.microsoft.com/office/drawing/2014/main" id="{DBD21290-5B08-E6DA-8112-7EDF70090681}"/>
                </a:ext>
              </a:extLst>
            </p:cNvPr>
            <p:cNvSpPr/>
            <p:nvPr/>
          </p:nvSpPr>
          <p:spPr>
            <a:xfrm>
              <a:off x="1703557" y="5650745"/>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1" name="Rectangle 130">
              <a:extLst>
                <a:ext uri="{FF2B5EF4-FFF2-40B4-BE49-F238E27FC236}">
                  <a16:creationId xmlns:a16="http://schemas.microsoft.com/office/drawing/2014/main" id="{3F352C16-DE1D-4901-C216-C1C99A378B3F}"/>
                </a:ext>
              </a:extLst>
            </p:cNvPr>
            <p:cNvSpPr/>
            <p:nvPr/>
          </p:nvSpPr>
          <p:spPr>
            <a:xfrm>
              <a:off x="1703557" y="5762991"/>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2" name="Rectangle 131">
              <a:extLst>
                <a:ext uri="{FF2B5EF4-FFF2-40B4-BE49-F238E27FC236}">
                  <a16:creationId xmlns:a16="http://schemas.microsoft.com/office/drawing/2014/main" id="{33E45A75-11E2-F914-6CBF-C7E7178C0394}"/>
                </a:ext>
              </a:extLst>
            </p:cNvPr>
            <p:cNvSpPr/>
            <p:nvPr/>
          </p:nvSpPr>
          <p:spPr>
            <a:xfrm>
              <a:off x="1706260" y="5875526"/>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3" name="Rectangle 132">
              <a:extLst>
                <a:ext uri="{FF2B5EF4-FFF2-40B4-BE49-F238E27FC236}">
                  <a16:creationId xmlns:a16="http://schemas.microsoft.com/office/drawing/2014/main" id="{F17C203C-B2F4-E0D9-E112-BFC8232384D8}"/>
                </a:ext>
              </a:extLst>
            </p:cNvPr>
            <p:cNvSpPr/>
            <p:nvPr/>
          </p:nvSpPr>
          <p:spPr>
            <a:xfrm>
              <a:off x="1706260" y="5990993"/>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4" name="Rectangle 133">
              <a:extLst>
                <a:ext uri="{FF2B5EF4-FFF2-40B4-BE49-F238E27FC236}">
                  <a16:creationId xmlns:a16="http://schemas.microsoft.com/office/drawing/2014/main" id="{B95C312B-9B5F-6B12-C2BC-AF2FCA850FAF}"/>
                </a:ext>
              </a:extLst>
            </p:cNvPr>
            <p:cNvSpPr/>
            <p:nvPr/>
          </p:nvSpPr>
          <p:spPr>
            <a:xfrm>
              <a:off x="1706260" y="6103776"/>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35" name="Rectangle 134">
              <a:extLst>
                <a:ext uri="{FF2B5EF4-FFF2-40B4-BE49-F238E27FC236}">
                  <a16:creationId xmlns:a16="http://schemas.microsoft.com/office/drawing/2014/main" id="{F2419F7E-9584-1D15-738D-FCF52872CC22}"/>
                </a:ext>
              </a:extLst>
            </p:cNvPr>
            <p:cNvSpPr/>
            <p:nvPr/>
          </p:nvSpPr>
          <p:spPr>
            <a:xfrm>
              <a:off x="1706260" y="6216021"/>
              <a:ext cx="1239647" cy="112784"/>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cxnSp>
          <p:nvCxnSpPr>
            <p:cNvPr id="136" name="Straight Arrow Connector 135">
              <a:extLst>
                <a:ext uri="{FF2B5EF4-FFF2-40B4-BE49-F238E27FC236}">
                  <a16:creationId xmlns:a16="http://schemas.microsoft.com/office/drawing/2014/main" id="{E8C78B8B-5FF8-7433-BAA5-C4687AACC35B}"/>
                </a:ext>
              </a:extLst>
            </p:cNvPr>
            <p:cNvCxnSpPr>
              <a:cxnSpLocks/>
            </p:cNvCxnSpPr>
            <p:nvPr/>
          </p:nvCxnSpPr>
          <p:spPr>
            <a:xfrm>
              <a:off x="1746127" y="5482109"/>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37" name="Straight Arrow Connector 136">
              <a:extLst>
                <a:ext uri="{FF2B5EF4-FFF2-40B4-BE49-F238E27FC236}">
                  <a16:creationId xmlns:a16="http://schemas.microsoft.com/office/drawing/2014/main" id="{0BE08A9C-F5AB-7055-31DC-9EAE6EEEC85D}"/>
                </a:ext>
              </a:extLst>
            </p:cNvPr>
            <p:cNvCxnSpPr>
              <a:cxnSpLocks/>
            </p:cNvCxnSpPr>
            <p:nvPr/>
          </p:nvCxnSpPr>
          <p:spPr>
            <a:xfrm>
              <a:off x="1750787" y="5594354"/>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38" name="Straight Arrow Connector 137">
              <a:extLst>
                <a:ext uri="{FF2B5EF4-FFF2-40B4-BE49-F238E27FC236}">
                  <a16:creationId xmlns:a16="http://schemas.microsoft.com/office/drawing/2014/main" id="{BD2E7733-69F3-C8D9-D98C-03438C734218}"/>
                </a:ext>
              </a:extLst>
            </p:cNvPr>
            <p:cNvCxnSpPr>
              <a:cxnSpLocks/>
            </p:cNvCxnSpPr>
            <p:nvPr/>
          </p:nvCxnSpPr>
          <p:spPr>
            <a:xfrm>
              <a:off x="1742997" y="5711458"/>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39" name="Straight Arrow Connector 138">
              <a:extLst>
                <a:ext uri="{FF2B5EF4-FFF2-40B4-BE49-F238E27FC236}">
                  <a16:creationId xmlns:a16="http://schemas.microsoft.com/office/drawing/2014/main" id="{1DAD170C-78EE-B4A7-3D04-2E476BF3DB5B}"/>
                </a:ext>
              </a:extLst>
            </p:cNvPr>
            <p:cNvCxnSpPr>
              <a:cxnSpLocks/>
            </p:cNvCxnSpPr>
            <p:nvPr/>
          </p:nvCxnSpPr>
          <p:spPr>
            <a:xfrm>
              <a:off x="1749257" y="5823879"/>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DCE844F9-93E9-1911-BF54-24A17D3BC962}"/>
                </a:ext>
              </a:extLst>
            </p:cNvPr>
            <p:cNvCxnSpPr>
              <a:cxnSpLocks/>
            </p:cNvCxnSpPr>
            <p:nvPr/>
          </p:nvCxnSpPr>
          <p:spPr>
            <a:xfrm>
              <a:off x="1749257" y="5930819"/>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41" name="Straight Arrow Connector 140">
              <a:extLst>
                <a:ext uri="{FF2B5EF4-FFF2-40B4-BE49-F238E27FC236}">
                  <a16:creationId xmlns:a16="http://schemas.microsoft.com/office/drawing/2014/main" id="{2F1B1AD6-4A3B-64F1-1B21-89920D77267E}"/>
                </a:ext>
              </a:extLst>
            </p:cNvPr>
            <p:cNvCxnSpPr>
              <a:cxnSpLocks/>
            </p:cNvCxnSpPr>
            <p:nvPr/>
          </p:nvCxnSpPr>
          <p:spPr>
            <a:xfrm>
              <a:off x="1753917" y="6043064"/>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42" name="Straight Arrow Connector 141">
              <a:extLst>
                <a:ext uri="{FF2B5EF4-FFF2-40B4-BE49-F238E27FC236}">
                  <a16:creationId xmlns:a16="http://schemas.microsoft.com/office/drawing/2014/main" id="{E8E00F7D-CE83-25FA-C0D0-4FD253A026CA}"/>
                </a:ext>
              </a:extLst>
            </p:cNvPr>
            <p:cNvCxnSpPr>
              <a:cxnSpLocks/>
            </p:cNvCxnSpPr>
            <p:nvPr/>
          </p:nvCxnSpPr>
          <p:spPr>
            <a:xfrm>
              <a:off x="1746127" y="6160168"/>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43" name="Straight Arrow Connector 142">
              <a:extLst>
                <a:ext uri="{FF2B5EF4-FFF2-40B4-BE49-F238E27FC236}">
                  <a16:creationId xmlns:a16="http://schemas.microsoft.com/office/drawing/2014/main" id="{C5BF0DAE-B454-2691-91B7-47C76EBCD8F4}"/>
                </a:ext>
              </a:extLst>
            </p:cNvPr>
            <p:cNvCxnSpPr>
              <a:cxnSpLocks/>
            </p:cNvCxnSpPr>
            <p:nvPr/>
          </p:nvCxnSpPr>
          <p:spPr>
            <a:xfrm>
              <a:off x="1746127" y="6272413"/>
              <a:ext cx="1160765" cy="0"/>
            </a:xfrm>
            <a:prstGeom prst="straightConnector1">
              <a:avLst/>
            </a:prstGeom>
            <a:ln w="25400">
              <a:solidFill>
                <a:schemeClr val="bg1"/>
              </a:solidFill>
              <a:headEnd type="none" w="sm" len="sm"/>
              <a:tailEnd type="triangle"/>
            </a:ln>
          </p:spPr>
          <p:style>
            <a:lnRef idx="1">
              <a:schemeClr val="dk1"/>
            </a:lnRef>
            <a:fillRef idx="0">
              <a:schemeClr val="dk1"/>
            </a:fillRef>
            <a:effectRef idx="0">
              <a:schemeClr val="dk1"/>
            </a:effectRef>
            <a:fontRef idx="minor">
              <a:schemeClr val="tx1"/>
            </a:fontRef>
          </p:style>
        </p:cxnSp>
        <p:cxnSp>
          <p:nvCxnSpPr>
            <p:cNvPr id="144" name="Straight Arrow Connector 143">
              <a:extLst>
                <a:ext uri="{FF2B5EF4-FFF2-40B4-BE49-F238E27FC236}">
                  <a16:creationId xmlns:a16="http://schemas.microsoft.com/office/drawing/2014/main" id="{CD0EC0D8-3B32-9169-9724-1C38E02F4F10}"/>
                </a:ext>
              </a:extLst>
            </p:cNvPr>
            <p:cNvCxnSpPr>
              <a:cxnSpLocks/>
            </p:cNvCxnSpPr>
            <p:nvPr/>
          </p:nvCxnSpPr>
          <p:spPr>
            <a:xfrm flipV="1">
              <a:off x="1746127" y="5378942"/>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45" name="Straight Arrow Connector 144">
              <a:extLst>
                <a:ext uri="{FF2B5EF4-FFF2-40B4-BE49-F238E27FC236}">
                  <a16:creationId xmlns:a16="http://schemas.microsoft.com/office/drawing/2014/main" id="{6EC478B2-5B25-B9BA-2152-3E3A7EB3F213}"/>
                </a:ext>
              </a:extLst>
            </p:cNvPr>
            <p:cNvCxnSpPr>
              <a:cxnSpLocks/>
            </p:cNvCxnSpPr>
            <p:nvPr/>
          </p:nvCxnSpPr>
          <p:spPr>
            <a:xfrm flipV="1">
              <a:off x="1724538" y="5488135"/>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46" name="Straight Arrow Connector 145">
              <a:extLst>
                <a:ext uri="{FF2B5EF4-FFF2-40B4-BE49-F238E27FC236}">
                  <a16:creationId xmlns:a16="http://schemas.microsoft.com/office/drawing/2014/main" id="{FD1FB63D-0ABB-70BB-FA50-C673C51BBEAA}"/>
                </a:ext>
              </a:extLst>
            </p:cNvPr>
            <p:cNvCxnSpPr>
              <a:cxnSpLocks/>
            </p:cNvCxnSpPr>
            <p:nvPr/>
          </p:nvCxnSpPr>
          <p:spPr>
            <a:xfrm flipV="1">
              <a:off x="1730876" y="5604601"/>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47" name="Straight Arrow Connector 146">
              <a:extLst>
                <a:ext uri="{FF2B5EF4-FFF2-40B4-BE49-F238E27FC236}">
                  <a16:creationId xmlns:a16="http://schemas.microsoft.com/office/drawing/2014/main" id="{1C0DC905-2DE6-16C8-0DD7-7BC22BD3B121}"/>
                </a:ext>
              </a:extLst>
            </p:cNvPr>
            <p:cNvCxnSpPr>
              <a:cxnSpLocks/>
            </p:cNvCxnSpPr>
            <p:nvPr/>
          </p:nvCxnSpPr>
          <p:spPr>
            <a:xfrm flipV="1">
              <a:off x="1727070" y="5720981"/>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48" name="Straight Arrow Connector 147">
              <a:extLst>
                <a:ext uri="{FF2B5EF4-FFF2-40B4-BE49-F238E27FC236}">
                  <a16:creationId xmlns:a16="http://schemas.microsoft.com/office/drawing/2014/main" id="{0A37070F-C711-B75B-4F1D-F84D7A7CFFAC}"/>
                </a:ext>
              </a:extLst>
            </p:cNvPr>
            <p:cNvCxnSpPr>
              <a:cxnSpLocks/>
            </p:cNvCxnSpPr>
            <p:nvPr/>
          </p:nvCxnSpPr>
          <p:spPr>
            <a:xfrm flipV="1">
              <a:off x="1727069" y="5827115"/>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49" name="Straight Arrow Connector 148">
              <a:extLst>
                <a:ext uri="{FF2B5EF4-FFF2-40B4-BE49-F238E27FC236}">
                  <a16:creationId xmlns:a16="http://schemas.microsoft.com/office/drawing/2014/main" id="{C378A971-3D98-A950-66B1-39567BEE0771}"/>
                </a:ext>
              </a:extLst>
            </p:cNvPr>
            <p:cNvCxnSpPr>
              <a:cxnSpLocks/>
            </p:cNvCxnSpPr>
            <p:nvPr/>
          </p:nvCxnSpPr>
          <p:spPr>
            <a:xfrm flipV="1">
              <a:off x="1733496" y="5943369"/>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50" name="Straight Arrow Connector 149">
              <a:extLst>
                <a:ext uri="{FF2B5EF4-FFF2-40B4-BE49-F238E27FC236}">
                  <a16:creationId xmlns:a16="http://schemas.microsoft.com/office/drawing/2014/main" id="{5EB18CE7-15F9-E301-5E95-923B21F51C17}"/>
                </a:ext>
              </a:extLst>
            </p:cNvPr>
            <p:cNvCxnSpPr>
              <a:cxnSpLocks/>
            </p:cNvCxnSpPr>
            <p:nvPr/>
          </p:nvCxnSpPr>
          <p:spPr>
            <a:xfrm flipV="1">
              <a:off x="1742997" y="6046484"/>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51" name="Straight Arrow Connector 150">
              <a:extLst>
                <a:ext uri="{FF2B5EF4-FFF2-40B4-BE49-F238E27FC236}">
                  <a16:creationId xmlns:a16="http://schemas.microsoft.com/office/drawing/2014/main" id="{ACD2495E-B0F1-AF38-2709-CF5805A3CC4C}"/>
                </a:ext>
              </a:extLst>
            </p:cNvPr>
            <p:cNvCxnSpPr>
              <a:cxnSpLocks/>
            </p:cNvCxnSpPr>
            <p:nvPr/>
          </p:nvCxnSpPr>
          <p:spPr>
            <a:xfrm flipV="1">
              <a:off x="1724538" y="6166385"/>
              <a:ext cx="1157635" cy="103166"/>
            </a:xfrm>
            <a:prstGeom prst="straightConnector1">
              <a:avLst/>
            </a:prstGeom>
            <a:ln w="25400">
              <a:solidFill>
                <a:schemeClr val="bg1"/>
              </a:solidFill>
              <a:prstDash val="lgDash"/>
              <a:headEnd type="triangle" w="sm" len="sm"/>
              <a:tailEnd type="none"/>
            </a:ln>
          </p:spPr>
          <p:style>
            <a:lnRef idx="1">
              <a:schemeClr val="dk1"/>
            </a:lnRef>
            <a:fillRef idx="0">
              <a:schemeClr val="dk1"/>
            </a:fillRef>
            <a:effectRef idx="0">
              <a:schemeClr val="dk1"/>
            </a:effectRef>
            <a:fontRef idx="minor">
              <a:schemeClr val="tx1"/>
            </a:fontRef>
          </p:style>
        </p:cxnSp>
        <p:cxnSp>
          <p:nvCxnSpPr>
            <p:cNvPr id="152" name="Straight Arrow Connector 151">
              <a:extLst>
                <a:ext uri="{FF2B5EF4-FFF2-40B4-BE49-F238E27FC236}">
                  <a16:creationId xmlns:a16="http://schemas.microsoft.com/office/drawing/2014/main" id="{B96EF0E1-DD47-569B-1065-BF61A913F452}"/>
                </a:ext>
              </a:extLst>
            </p:cNvPr>
            <p:cNvCxnSpPr/>
            <p:nvPr/>
          </p:nvCxnSpPr>
          <p:spPr>
            <a:xfrm flipV="1">
              <a:off x="2992466" y="5312934"/>
              <a:ext cx="0" cy="1005225"/>
            </a:xfrm>
            <a:prstGeom prst="straightConnector1">
              <a:avLst/>
            </a:prstGeom>
            <a:ln w="12700">
              <a:headEnd type="triangle" w="sm" len="sm"/>
              <a:tailEnd type="triangle"/>
            </a:ln>
          </p:spPr>
          <p:style>
            <a:lnRef idx="1">
              <a:schemeClr val="dk1"/>
            </a:lnRef>
            <a:fillRef idx="0">
              <a:schemeClr val="dk1"/>
            </a:fillRef>
            <a:effectRef idx="0">
              <a:schemeClr val="dk1"/>
            </a:effectRef>
            <a:fontRef idx="minor">
              <a:schemeClr val="tx1"/>
            </a:fontRef>
          </p:style>
        </p:cxnSp>
        <p:cxnSp>
          <p:nvCxnSpPr>
            <p:cNvPr id="153" name="Straight Arrow Connector 152">
              <a:extLst>
                <a:ext uri="{FF2B5EF4-FFF2-40B4-BE49-F238E27FC236}">
                  <a16:creationId xmlns:a16="http://schemas.microsoft.com/office/drawing/2014/main" id="{BA14BF2C-CE41-3ED8-46BF-44CE2C3C0E87}"/>
                </a:ext>
              </a:extLst>
            </p:cNvPr>
            <p:cNvCxnSpPr>
              <a:cxnSpLocks/>
            </p:cNvCxnSpPr>
            <p:nvPr/>
          </p:nvCxnSpPr>
          <p:spPr>
            <a:xfrm flipH="1">
              <a:off x="1699258" y="6369726"/>
              <a:ext cx="1243946" cy="3204"/>
            </a:xfrm>
            <a:prstGeom prst="straightConnector1">
              <a:avLst/>
            </a:prstGeom>
            <a:ln w="12700">
              <a:headEnd type="triangle" w="sm" len="sm"/>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54" name="TextBox 153">
                  <a:extLst>
                    <a:ext uri="{FF2B5EF4-FFF2-40B4-BE49-F238E27FC236}">
                      <a16:creationId xmlns:a16="http://schemas.microsoft.com/office/drawing/2014/main" id="{B8C99326-5D72-7253-BD7A-95E63678D9A7}"/>
                    </a:ext>
                  </a:extLst>
                </p:cNvPr>
                <p:cNvSpPr txBox="1"/>
                <p:nvPr/>
              </p:nvSpPr>
              <p:spPr>
                <a:xfrm>
                  <a:off x="3043925" y="6031574"/>
                  <a:ext cx="448283" cy="132985"/>
                </a:xfrm>
                <a:prstGeom prst="rect">
                  <a:avLst/>
                </a:prstGeom>
                <a:ln>
                  <a:noFill/>
                </a:ln>
              </p:spPr>
              <p:txBody>
                <a:bodyPr wrap="square" lIns="0" tIns="0" rIns="0" bIns="0" rtlCol="0">
                  <a:spAutoFit/>
                </a:bodyPr>
                <a:lstStyle/>
                <a:p>
                  <a:pPr algn="l">
                    <a:lnSpc>
                      <a:spcPct val="96000"/>
                    </a:lnSpc>
                  </a:pPr>
                  <a14:m>
                    <m:oMath xmlns:m="http://schemas.openxmlformats.org/officeDocument/2006/math">
                      <m:r>
                        <a:rPr lang="en-US" sz="900" b="0" i="1" dirty="0" smtClean="0">
                          <a:solidFill>
                            <a:schemeClr val="tx2"/>
                          </a:solidFill>
                          <a:latin typeface="Cambria Math" panose="02040503050406030204" pitchFamily="18" charset="0"/>
                          <a:cs typeface="Microsoft Sans Serif" panose="020B0604020202020204" pitchFamily="34" charset="0"/>
                        </a:rPr>
                        <m:t>𝐶</m:t>
                      </m:r>
                    </m:oMath>
                  </a14:m>
                  <a:r>
                    <a:rPr lang="en-US" sz="900" dirty="0">
                      <a:solidFill>
                        <a:schemeClr val="tx2"/>
                      </a:solidFill>
                      <a:latin typeface="Microsoft Sans Serif"/>
                      <a:cs typeface="Microsoft Sans Serif" panose="020B0604020202020204" pitchFamily="34" charset="0"/>
                    </a:rPr>
                    <a:t> rows</a:t>
                  </a:r>
                </a:p>
              </p:txBody>
            </p:sp>
          </mc:Choice>
          <mc:Fallback xmlns="">
            <p:sp>
              <p:nvSpPr>
                <p:cNvPr id="154" name="TextBox 153">
                  <a:extLst>
                    <a:ext uri="{FF2B5EF4-FFF2-40B4-BE49-F238E27FC236}">
                      <a16:creationId xmlns:a16="http://schemas.microsoft.com/office/drawing/2014/main" id="{B8C99326-5D72-7253-BD7A-95E63678D9A7}"/>
                    </a:ext>
                  </a:extLst>
                </p:cNvPr>
                <p:cNvSpPr txBox="1">
                  <a:spLocks noRot="1" noChangeAspect="1" noMove="1" noResize="1" noEditPoints="1" noAdjustHandles="1" noChangeArrowheads="1" noChangeShapeType="1" noTextEdit="1"/>
                </p:cNvSpPr>
                <p:nvPr/>
              </p:nvSpPr>
              <p:spPr>
                <a:xfrm>
                  <a:off x="3043925" y="6031574"/>
                  <a:ext cx="448283" cy="132985"/>
                </a:xfrm>
                <a:prstGeom prst="rect">
                  <a:avLst/>
                </a:prstGeom>
                <a:blipFill>
                  <a:blip r:embed="rId9"/>
                  <a:stretch>
                    <a:fillRect l="-8537" t="-33333" b="-375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5" name="TextBox 154">
                  <a:extLst>
                    <a:ext uri="{FF2B5EF4-FFF2-40B4-BE49-F238E27FC236}">
                      <a16:creationId xmlns:a16="http://schemas.microsoft.com/office/drawing/2014/main" id="{5777DF45-56DD-40A8-7625-DC5931B4EB29}"/>
                    </a:ext>
                  </a:extLst>
                </p:cNvPr>
                <p:cNvSpPr txBox="1"/>
                <p:nvPr/>
              </p:nvSpPr>
              <p:spPr>
                <a:xfrm>
                  <a:off x="2100103" y="6380595"/>
                  <a:ext cx="707211" cy="132985"/>
                </a:xfrm>
                <a:prstGeom prst="rect">
                  <a:avLst/>
                </a:prstGeom>
                <a:ln>
                  <a:noFill/>
                </a:ln>
              </p:spPr>
              <p:txBody>
                <a:bodyPr wrap="square" lIns="0" tIns="0" rIns="0" bIns="0" rtlCol="0">
                  <a:spAutoFit/>
                </a:bodyPr>
                <a:lstStyle/>
                <a:p>
                  <a:pPr algn="l">
                    <a:lnSpc>
                      <a:spcPct val="96000"/>
                    </a:lnSpc>
                  </a:pPr>
                  <a14:m>
                    <m:oMath xmlns:m="http://schemas.openxmlformats.org/officeDocument/2006/math">
                      <m:r>
                        <a:rPr lang="en-US" sz="900" b="0" i="1" dirty="0" smtClean="0">
                          <a:solidFill>
                            <a:schemeClr val="tx2"/>
                          </a:solidFill>
                          <a:latin typeface="Cambria Math" panose="02040503050406030204" pitchFamily="18" charset="0"/>
                          <a:cs typeface="Microsoft Sans Serif" panose="020B0604020202020204" pitchFamily="34" charset="0"/>
                        </a:rPr>
                        <m:t>𝑀</m:t>
                      </m:r>
                      <m:r>
                        <a:rPr lang="en-US" sz="900" b="0" i="1" dirty="0" smtClean="0">
                          <a:solidFill>
                            <a:schemeClr val="tx2"/>
                          </a:solidFill>
                          <a:latin typeface="Cambria Math" panose="02040503050406030204" pitchFamily="18" charset="0"/>
                          <a:cs typeface="Microsoft Sans Serif" panose="020B0604020202020204" pitchFamily="34" charset="0"/>
                        </a:rPr>
                        <m:t>/</m:t>
                      </m:r>
                      <m:r>
                        <a:rPr lang="en-US" sz="900" b="0" i="1" dirty="0" smtClean="0">
                          <a:solidFill>
                            <a:schemeClr val="tx2"/>
                          </a:solidFill>
                          <a:latin typeface="Cambria Math" panose="02040503050406030204" pitchFamily="18" charset="0"/>
                          <a:cs typeface="Microsoft Sans Serif" panose="020B0604020202020204" pitchFamily="34" charset="0"/>
                        </a:rPr>
                        <m:t>𝐶</m:t>
                      </m:r>
                    </m:oMath>
                  </a14:m>
                  <a:r>
                    <a:rPr lang="en-US" sz="900" dirty="0">
                      <a:solidFill>
                        <a:schemeClr val="tx2"/>
                      </a:solidFill>
                      <a:latin typeface="Microsoft Sans Serif"/>
                      <a:cs typeface="Microsoft Sans Serif" panose="020B0604020202020204" pitchFamily="34" charset="0"/>
                    </a:rPr>
                    <a:t> columns</a:t>
                  </a:r>
                </a:p>
              </p:txBody>
            </p:sp>
          </mc:Choice>
          <mc:Fallback xmlns="">
            <p:sp>
              <p:nvSpPr>
                <p:cNvPr id="155" name="TextBox 154">
                  <a:extLst>
                    <a:ext uri="{FF2B5EF4-FFF2-40B4-BE49-F238E27FC236}">
                      <a16:creationId xmlns:a16="http://schemas.microsoft.com/office/drawing/2014/main" id="{5777DF45-56DD-40A8-7625-DC5931B4EB29}"/>
                    </a:ext>
                  </a:extLst>
                </p:cNvPr>
                <p:cNvSpPr txBox="1">
                  <a:spLocks noRot="1" noChangeAspect="1" noMove="1" noResize="1" noEditPoints="1" noAdjustHandles="1" noChangeArrowheads="1" noChangeShapeType="1" noTextEdit="1"/>
                </p:cNvSpPr>
                <p:nvPr/>
              </p:nvSpPr>
              <p:spPr>
                <a:xfrm>
                  <a:off x="2100103" y="6380595"/>
                  <a:ext cx="707211" cy="132985"/>
                </a:xfrm>
                <a:prstGeom prst="rect">
                  <a:avLst/>
                </a:prstGeom>
                <a:blipFill>
                  <a:blip r:embed="rId10"/>
                  <a:stretch>
                    <a:fillRect l="-5426" t="-33333" b="-37500"/>
                  </a:stretch>
                </a:blipFill>
                <a:ln>
                  <a:noFill/>
                </a:ln>
              </p:spPr>
              <p:txBody>
                <a:bodyPr/>
                <a:lstStyle/>
                <a:p>
                  <a:r>
                    <a:rPr lang="en-US">
                      <a:noFill/>
                    </a:rPr>
                    <a:t> </a:t>
                  </a:r>
                </a:p>
              </p:txBody>
            </p:sp>
          </mc:Fallback>
        </mc:AlternateContent>
        <p:sp>
          <p:nvSpPr>
            <p:cNvPr id="157" name="Arrow: Right 156">
              <a:extLst>
                <a:ext uri="{FF2B5EF4-FFF2-40B4-BE49-F238E27FC236}">
                  <a16:creationId xmlns:a16="http://schemas.microsoft.com/office/drawing/2014/main" id="{687E94F3-B2B0-9B3D-A4CF-68F17227BD2F}"/>
                </a:ext>
              </a:extLst>
            </p:cNvPr>
            <p:cNvSpPr/>
            <p:nvPr/>
          </p:nvSpPr>
          <p:spPr>
            <a:xfrm>
              <a:off x="1245642" y="5737557"/>
              <a:ext cx="402207" cy="172643"/>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mc:AlternateContent xmlns:mc="http://schemas.openxmlformats.org/markup-compatibility/2006" xmlns:a14="http://schemas.microsoft.com/office/drawing/2010/main">
          <mc:Choice Requires="a14">
            <p:sp>
              <p:nvSpPr>
                <p:cNvPr id="160" name="TextBox 159">
                  <a:extLst>
                    <a:ext uri="{FF2B5EF4-FFF2-40B4-BE49-F238E27FC236}">
                      <a16:creationId xmlns:a16="http://schemas.microsoft.com/office/drawing/2014/main" id="{FFF580BE-59A3-A66D-51B2-D96DBF27902B}"/>
                    </a:ext>
                  </a:extLst>
                </p:cNvPr>
                <p:cNvSpPr txBox="1"/>
                <p:nvPr/>
              </p:nvSpPr>
              <p:spPr>
                <a:xfrm>
                  <a:off x="1154854" y="6208017"/>
                  <a:ext cx="512368" cy="265970"/>
                </a:xfrm>
                <a:prstGeom prst="rect">
                  <a:avLst/>
                </a:prstGeom>
                <a:ln>
                  <a:noFill/>
                </a:ln>
              </p:spPr>
              <p:txBody>
                <a:bodyPr wrap="square" lIns="0" tIns="0" rIns="0" bIns="0" rtlCol="0">
                  <a:spAutoFit/>
                </a:bodyPr>
                <a:lstStyle/>
                <a:p>
                  <a:pPr algn="ctr">
                    <a:lnSpc>
                      <a:spcPct val="96000"/>
                    </a:lnSpc>
                  </a:pPr>
                  <a14:m>
                    <m:oMath xmlns:m="http://schemas.openxmlformats.org/officeDocument/2006/math">
                      <m:r>
                        <a:rPr lang="en-US" sz="900" b="0" i="1" smtClean="0">
                          <a:solidFill>
                            <a:schemeClr val="tx2"/>
                          </a:solidFill>
                          <a:latin typeface="Cambria Math" panose="02040503050406030204" pitchFamily="18" charset="0"/>
                          <a:cs typeface="Microsoft Sans Serif" panose="020B0604020202020204" pitchFamily="34" charset="0"/>
                        </a:rPr>
                        <m:t>𝑀</m:t>
                      </m:r>
                    </m:oMath>
                  </a14:m>
                  <a:r>
                    <a:rPr lang="en-US" sz="900" dirty="0">
                      <a:solidFill>
                        <a:schemeClr val="tx2"/>
                      </a:solidFill>
                      <a:latin typeface="Microsoft Sans Serif"/>
                      <a:cs typeface="Microsoft Sans Serif" panose="020B0604020202020204" pitchFamily="34" charset="0"/>
                    </a:rPr>
                    <a:t> input tones</a:t>
                  </a:r>
                </a:p>
              </p:txBody>
            </p:sp>
          </mc:Choice>
          <mc:Fallback xmlns="">
            <p:sp>
              <p:nvSpPr>
                <p:cNvPr id="160" name="TextBox 159">
                  <a:extLst>
                    <a:ext uri="{FF2B5EF4-FFF2-40B4-BE49-F238E27FC236}">
                      <a16:creationId xmlns:a16="http://schemas.microsoft.com/office/drawing/2014/main" id="{FFF580BE-59A3-A66D-51B2-D96DBF27902B}"/>
                    </a:ext>
                  </a:extLst>
                </p:cNvPr>
                <p:cNvSpPr txBox="1">
                  <a:spLocks noRot="1" noChangeAspect="1" noMove="1" noResize="1" noEditPoints="1" noAdjustHandles="1" noChangeArrowheads="1" noChangeShapeType="1" noTextEdit="1"/>
                </p:cNvSpPr>
                <p:nvPr/>
              </p:nvSpPr>
              <p:spPr>
                <a:xfrm>
                  <a:off x="1154854" y="6208017"/>
                  <a:ext cx="512368" cy="265970"/>
                </a:xfrm>
                <a:prstGeom prst="rect">
                  <a:avLst/>
                </a:prstGeom>
                <a:blipFill>
                  <a:blip r:embed="rId11"/>
                  <a:stretch>
                    <a:fillRect t="-16327" b="-12245"/>
                  </a:stretch>
                </a:blipFill>
                <a:ln>
                  <a:noFill/>
                </a:ln>
              </p:spPr>
              <p:txBody>
                <a:bodyPr/>
                <a:lstStyle/>
                <a:p>
                  <a:r>
                    <a:rPr lang="en-US">
                      <a:noFill/>
                    </a:rPr>
                    <a:t> </a:t>
                  </a:r>
                </a:p>
              </p:txBody>
            </p:sp>
          </mc:Fallback>
        </mc:AlternateContent>
        <p:sp>
          <p:nvSpPr>
            <p:cNvPr id="162" name="TextBox 161">
              <a:extLst>
                <a:ext uri="{FF2B5EF4-FFF2-40B4-BE49-F238E27FC236}">
                  <a16:creationId xmlns:a16="http://schemas.microsoft.com/office/drawing/2014/main" id="{72232B88-2958-3942-8237-FEB593F2F210}"/>
                </a:ext>
              </a:extLst>
            </p:cNvPr>
            <p:cNvSpPr txBox="1"/>
            <p:nvPr/>
          </p:nvSpPr>
          <p:spPr>
            <a:xfrm>
              <a:off x="1168239" y="5334604"/>
              <a:ext cx="495203" cy="265970"/>
            </a:xfrm>
            <a:prstGeom prst="rect">
              <a:avLst/>
            </a:prstGeom>
          </p:spPr>
          <p:txBody>
            <a:bodyPr wrap="square" lIns="0" tIns="0" rIns="0" bIns="0" rtlCol="0">
              <a:spAutoFit/>
            </a:bodyPr>
            <a:lstStyle/>
            <a:p>
              <a:pPr algn="ctr">
                <a:lnSpc>
                  <a:spcPct val="96000"/>
                </a:lnSpc>
              </a:pPr>
              <a:r>
                <a:rPr lang="en-US" sz="900" dirty="0">
                  <a:solidFill>
                    <a:schemeClr val="tx2"/>
                  </a:solidFill>
                  <a:latin typeface="Microsoft Sans Serif"/>
                  <a:cs typeface="Microsoft Sans Serif" panose="020B0604020202020204" pitchFamily="34" charset="0"/>
                </a:rPr>
                <a:t>Write row-wise</a:t>
              </a:r>
            </a:p>
          </p:txBody>
        </p:sp>
        <p:sp>
          <p:nvSpPr>
            <p:cNvPr id="163" name="TextBox 162">
              <a:extLst>
                <a:ext uri="{FF2B5EF4-FFF2-40B4-BE49-F238E27FC236}">
                  <a16:creationId xmlns:a16="http://schemas.microsoft.com/office/drawing/2014/main" id="{3FF1C8E4-B7BC-859D-538A-7F8C13476476}"/>
                </a:ext>
              </a:extLst>
            </p:cNvPr>
            <p:cNvSpPr txBox="1"/>
            <p:nvPr/>
          </p:nvSpPr>
          <p:spPr>
            <a:xfrm>
              <a:off x="3002378" y="5318223"/>
              <a:ext cx="495203" cy="265970"/>
            </a:xfrm>
            <a:prstGeom prst="rect">
              <a:avLst/>
            </a:prstGeom>
          </p:spPr>
          <p:txBody>
            <a:bodyPr wrap="square" lIns="0" tIns="0" rIns="0" bIns="0" rtlCol="0">
              <a:spAutoFit/>
            </a:bodyPr>
            <a:lstStyle/>
            <a:p>
              <a:pPr algn="ctr">
                <a:lnSpc>
                  <a:spcPct val="96000"/>
                </a:lnSpc>
              </a:pPr>
              <a:r>
                <a:rPr lang="en-US" sz="900" dirty="0">
                  <a:solidFill>
                    <a:schemeClr val="tx2"/>
                  </a:solidFill>
                  <a:latin typeface="Microsoft Sans Serif"/>
                  <a:cs typeface="Microsoft Sans Serif" panose="020B0604020202020204" pitchFamily="34" charset="0"/>
                </a:rPr>
                <a:t>Read </a:t>
              </a:r>
            </a:p>
            <a:p>
              <a:pPr algn="ctr">
                <a:lnSpc>
                  <a:spcPct val="96000"/>
                </a:lnSpc>
              </a:pPr>
              <a:r>
                <a:rPr lang="en-US" sz="900" dirty="0">
                  <a:solidFill>
                    <a:schemeClr val="tx2"/>
                  </a:solidFill>
                  <a:latin typeface="Microsoft Sans Serif"/>
                  <a:cs typeface="Microsoft Sans Serif" panose="020B0604020202020204" pitchFamily="34" charset="0"/>
                </a:rPr>
                <a:t>col-wise</a:t>
              </a:r>
            </a:p>
          </p:txBody>
        </p:sp>
        <mc:AlternateContent xmlns:mc="http://schemas.openxmlformats.org/markup-compatibility/2006" xmlns:a14="http://schemas.microsoft.com/office/drawing/2010/main">
          <mc:Choice Requires="a14">
            <p:sp>
              <p:nvSpPr>
                <p:cNvPr id="166" name="TextBox 165">
                  <a:extLst>
                    <a:ext uri="{FF2B5EF4-FFF2-40B4-BE49-F238E27FC236}">
                      <a16:creationId xmlns:a16="http://schemas.microsoft.com/office/drawing/2014/main" id="{D7055E15-3B41-BD1D-5DC4-E514B3552DB0}"/>
                    </a:ext>
                  </a:extLst>
                </p:cNvPr>
                <p:cNvSpPr txBox="1"/>
                <p:nvPr/>
              </p:nvSpPr>
              <p:spPr>
                <a:xfrm>
                  <a:off x="3618454" y="6374557"/>
                  <a:ext cx="1296515" cy="119399"/>
                </a:xfrm>
                <a:prstGeom prst="rect">
                  <a:avLst/>
                </a:prstGeom>
                <a:ln>
                  <a:noFill/>
                </a:ln>
              </p:spPr>
              <p:txBody>
                <a:bodyPr wrap="square" lIns="0" tIns="0" rIns="0" bIns="0" rtlCol="0">
                  <a:spAutoFit/>
                </a:bodyPr>
                <a:lstStyle/>
                <a:p>
                  <a:pPr algn="ctr">
                    <a:lnSpc>
                      <a:spcPct val="96000"/>
                    </a:lnSpc>
                  </a:pPr>
                  <a14:m>
                    <m:oMath xmlns:m="http://schemas.openxmlformats.org/officeDocument/2006/math">
                      <m:r>
                        <a:rPr lang="en-US" sz="900" b="0" i="1" smtClean="0">
                          <a:solidFill>
                            <a:schemeClr val="tx2"/>
                          </a:solidFill>
                          <a:latin typeface="Cambria Math" panose="02040503050406030204" pitchFamily="18" charset="0"/>
                          <a:cs typeface="Microsoft Sans Serif" panose="020B0604020202020204" pitchFamily="34" charset="0"/>
                        </a:rPr>
                        <m:t>𝑀</m:t>
                      </m:r>
                    </m:oMath>
                  </a14:m>
                  <a:r>
                    <a:rPr lang="en-US" sz="900" dirty="0">
                      <a:solidFill>
                        <a:schemeClr val="tx2"/>
                      </a:solidFill>
                      <a:latin typeface="Microsoft Sans Serif"/>
                      <a:cs typeface="Microsoft Sans Serif" panose="020B0604020202020204" pitchFamily="34" charset="0"/>
                    </a:rPr>
                    <a:t> interleaved OFDM tones</a:t>
                  </a:r>
                </a:p>
              </p:txBody>
            </p:sp>
          </mc:Choice>
          <mc:Fallback xmlns="">
            <p:sp>
              <p:nvSpPr>
                <p:cNvPr id="166" name="TextBox 165">
                  <a:extLst>
                    <a:ext uri="{FF2B5EF4-FFF2-40B4-BE49-F238E27FC236}">
                      <a16:creationId xmlns:a16="http://schemas.microsoft.com/office/drawing/2014/main" id="{D7055E15-3B41-BD1D-5DC4-E514B3552DB0}"/>
                    </a:ext>
                  </a:extLst>
                </p:cNvPr>
                <p:cNvSpPr txBox="1">
                  <a:spLocks noRot="1" noChangeAspect="1" noMove="1" noResize="1" noEditPoints="1" noAdjustHandles="1" noChangeArrowheads="1" noChangeShapeType="1" noTextEdit="1"/>
                </p:cNvSpPr>
                <p:nvPr/>
              </p:nvSpPr>
              <p:spPr>
                <a:xfrm>
                  <a:off x="3618454" y="6374557"/>
                  <a:ext cx="1296515" cy="119399"/>
                </a:xfrm>
                <a:prstGeom prst="rect">
                  <a:avLst/>
                </a:prstGeom>
                <a:blipFill>
                  <a:blip r:embed="rId12"/>
                  <a:stretch>
                    <a:fillRect l="-422" t="-36364" r="-2110" b="-50000"/>
                  </a:stretch>
                </a:blipFill>
                <a:ln>
                  <a:noFill/>
                </a:ln>
              </p:spPr>
              <p:txBody>
                <a:bodyPr/>
                <a:lstStyle/>
                <a:p>
                  <a:r>
                    <a:rPr lang="en-US">
                      <a:noFill/>
                    </a:rPr>
                    <a:t> </a:t>
                  </a:r>
                </a:p>
              </p:txBody>
            </p:sp>
          </mc:Fallback>
        </mc:AlternateContent>
        <p:sp>
          <p:nvSpPr>
            <p:cNvPr id="167" name="Arrow: Right 166">
              <a:extLst>
                <a:ext uri="{FF2B5EF4-FFF2-40B4-BE49-F238E27FC236}">
                  <a16:creationId xmlns:a16="http://schemas.microsoft.com/office/drawing/2014/main" id="{40AB54F1-F827-ED6E-5E97-4CBBF4E9825D}"/>
                </a:ext>
              </a:extLst>
            </p:cNvPr>
            <p:cNvSpPr/>
            <p:nvPr/>
          </p:nvSpPr>
          <p:spPr>
            <a:xfrm>
              <a:off x="3043376" y="5726835"/>
              <a:ext cx="453114" cy="172643"/>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sp>
          <p:nvSpPr>
            <p:cNvPr id="168" name="Rectangle 167">
              <a:extLst>
                <a:ext uri="{FF2B5EF4-FFF2-40B4-BE49-F238E27FC236}">
                  <a16:creationId xmlns:a16="http://schemas.microsoft.com/office/drawing/2014/main" id="{8A1066B8-D12E-C5B0-C791-652A4EEC697D}"/>
                </a:ext>
              </a:extLst>
            </p:cNvPr>
            <p:cNvSpPr/>
            <p:nvPr/>
          </p:nvSpPr>
          <p:spPr>
            <a:xfrm>
              <a:off x="1165032" y="6206945"/>
              <a:ext cx="476040" cy="262764"/>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700" dirty="0" err="1">
                <a:solidFill>
                  <a:schemeClr val="bg1"/>
                </a:solidFill>
                <a:latin typeface="Microsoft Sans Serif"/>
                <a:cs typeface="Microsoft Sans Serif" panose="020B0604020202020204" pitchFamily="34" charset="0"/>
              </a:endParaRPr>
            </a:p>
          </p:txBody>
        </p:sp>
      </p:grpSp>
      <p:cxnSp>
        <p:nvCxnSpPr>
          <p:cNvPr id="172" name="Straight Connector 171">
            <a:extLst>
              <a:ext uri="{FF2B5EF4-FFF2-40B4-BE49-F238E27FC236}">
                <a16:creationId xmlns:a16="http://schemas.microsoft.com/office/drawing/2014/main" id="{6CE37B2D-F05A-39BA-C856-80389B242D1B}"/>
              </a:ext>
            </a:extLst>
          </p:cNvPr>
          <p:cNvCxnSpPr/>
          <p:nvPr/>
        </p:nvCxnSpPr>
        <p:spPr>
          <a:xfrm flipH="1" flipV="1">
            <a:off x="5121965" y="3816625"/>
            <a:ext cx="974035" cy="571907"/>
          </a:xfrm>
          <a:prstGeom prst="line">
            <a:avLst/>
          </a:prstGeom>
          <a:ln w="25400" cap="rnd">
            <a:solidFill>
              <a:srgbClr val="7030A0"/>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128653FE-3821-9867-674F-7B931D23E865}"/>
              </a:ext>
            </a:extLst>
          </p:cNvPr>
          <p:cNvCxnSpPr>
            <a:cxnSpLocks/>
          </p:cNvCxnSpPr>
          <p:nvPr/>
        </p:nvCxnSpPr>
        <p:spPr>
          <a:xfrm flipH="1">
            <a:off x="5200896" y="4441701"/>
            <a:ext cx="896438" cy="753707"/>
          </a:xfrm>
          <a:prstGeom prst="line">
            <a:avLst/>
          </a:prstGeom>
          <a:ln w="25400" cap="rnd">
            <a:solidFill>
              <a:schemeClr val="accent3">
                <a:lumMod val="75000"/>
              </a:schemeClr>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41C98763-1ECF-1825-DE5F-206376F8D34E}"/>
              </a:ext>
            </a:extLst>
          </p:cNvPr>
          <p:cNvSpPr txBox="1"/>
          <p:nvPr/>
        </p:nvSpPr>
        <p:spPr>
          <a:xfrm rot="1829171">
            <a:off x="5119465" y="3904523"/>
            <a:ext cx="1157668" cy="177293"/>
          </a:xfrm>
          <a:prstGeom prst="rect">
            <a:avLst/>
          </a:prstGeom>
        </p:spPr>
        <p:txBody>
          <a:bodyPr wrap="square" lIns="0" tIns="0" rIns="0" bIns="0" rtlCol="0">
            <a:spAutoFit/>
          </a:bodyPr>
          <a:lstStyle/>
          <a:p>
            <a:pPr algn="l">
              <a:lnSpc>
                <a:spcPct val="96000"/>
              </a:lnSpc>
            </a:pPr>
            <a:r>
              <a:rPr lang="en-US" sz="1200" b="1" dirty="0">
                <a:solidFill>
                  <a:srgbClr val="7030A0"/>
                </a:solidFill>
                <a:latin typeface="Microsoft Sans Serif"/>
                <a:cs typeface="Microsoft Sans Serif" panose="020B0604020202020204" pitchFamily="34" charset="0"/>
              </a:rPr>
              <a:t>Time </a:t>
            </a:r>
            <a:r>
              <a:rPr lang="en-US" sz="1200" b="1" dirty="0" err="1">
                <a:solidFill>
                  <a:srgbClr val="7030A0"/>
                </a:solidFill>
                <a:latin typeface="Microsoft Sans Serif"/>
                <a:cs typeface="Microsoft Sans Serif" panose="020B0604020202020204" pitchFamily="34" charset="0"/>
              </a:rPr>
              <a:t>interleaver</a:t>
            </a:r>
            <a:endParaRPr lang="en-US" sz="1200" b="1" dirty="0">
              <a:solidFill>
                <a:srgbClr val="7030A0"/>
              </a:solidFill>
              <a:latin typeface="Microsoft Sans Serif"/>
              <a:cs typeface="Microsoft Sans Serif" panose="020B0604020202020204" pitchFamily="34" charset="0"/>
            </a:endParaRPr>
          </a:p>
        </p:txBody>
      </p:sp>
      <p:sp>
        <p:nvSpPr>
          <p:cNvPr id="177" name="TextBox 176">
            <a:extLst>
              <a:ext uri="{FF2B5EF4-FFF2-40B4-BE49-F238E27FC236}">
                <a16:creationId xmlns:a16="http://schemas.microsoft.com/office/drawing/2014/main" id="{1711B416-47FD-7232-3127-C939C9DE6F62}"/>
              </a:ext>
            </a:extLst>
          </p:cNvPr>
          <p:cNvSpPr txBox="1"/>
          <p:nvPr/>
        </p:nvSpPr>
        <p:spPr>
          <a:xfrm rot="19193388">
            <a:off x="4826230" y="4953037"/>
            <a:ext cx="1470083" cy="177293"/>
          </a:xfrm>
          <a:prstGeom prst="rect">
            <a:avLst/>
          </a:prstGeom>
        </p:spPr>
        <p:txBody>
          <a:bodyPr wrap="square" lIns="0" tIns="0" rIns="0" bIns="0" rtlCol="0">
            <a:spAutoFit/>
          </a:bodyPr>
          <a:lstStyle/>
          <a:p>
            <a:pPr algn="l">
              <a:lnSpc>
                <a:spcPct val="96000"/>
              </a:lnSpc>
            </a:pPr>
            <a:r>
              <a:rPr lang="en-US" sz="1200" b="1" dirty="0">
                <a:solidFill>
                  <a:schemeClr val="accent3">
                    <a:lumMod val="75000"/>
                  </a:schemeClr>
                </a:solidFill>
                <a:latin typeface="Microsoft Sans Serif"/>
                <a:cs typeface="Microsoft Sans Serif" panose="020B0604020202020204" pitchFamily="34" charset="0"/>
              </a:rPr>
              <a:t>Frequency </a:t>
            </a:r>
            <a:r>
              <a:rPr lang="en-US" sz="1200" b="1" dirty="0" err="1">
                <a:solidFill>
                  <a:schemeClr val="accent3">
                    <a:lumMod val="75000"/>
                  </a:schemeClr>
                </a:solidFill>
                <a:latin typeface="Microsoft Sans Serif"/>
                <a:cs typeface="Microsoft Sans Serif" panose="020B0604020202020204" pitchFamily="34" charset="0"/>
              </a:rPr>
              <a:t>interleaver</a:t>
            </a:r>
            <a:endParaRPr lang="en-US" sz="1200" b="1" dirty="0">
              <a:solidFill>
                <a:schemeClr val="accent3">
                  <a:lumMod val="75000"/>
                </a:schemeClr>
              </a:solidFill>
              <a:latin typeface="Microsoft Sans Serif"/>
              <a:cs typeface="Microsoft Sans Serif" panose="020B0604020202020204" pitchFamily="34" charset="0"/>
            </a:endParaRPr>
          </a:p>
        </p:txBody>
      </p:sp>
      <p:pic>
        <p:nvPicPr>
          <p:cNvPr id="7" name="Picture 6">
            <a:extLst>
              <a:ext uri="{FF2B5EF4-FFF2-40B4-BE49-F238E27FC236}">
                <a16:creationId xmlns:a16="http://schemas.microsoft.com/office/drawing/2014/main" id="{E20FED7D-FB42-0102-DF7C-3BF303FF8A3D}"/>
              </a:ext>
            </a:extLst>
          </p:cNvPr>
          <p:cNvPicPr>
            <a:picLocks/>
          </p:cNvPicPr>
          <p:nvPr/>
        </p:nvPicPr>
        <p:blipFill>
          <a:blip r:embed="rId13">
            <a:clrChange>
              <a:clrFrom>
                <a:srgbClr val="FFFFFF"/>
              </a:clrFrom>
              <a:clrTo>
                <a:srgbClr val="FFFFFF">
                  <a:alpha val="0"/>
                </a:srgbClr>
              </a:clrTo>
            </a:clrChange>
          </a:blip>
          <a:stretch>
            <a:fillRect/>
          </a:stretch>
        </p:blipFill>
        <p:spPr>
          <a:xfrm>
            <a:off x="7359283" y="4100742"/>
            <a:ext cx="4663440" cy="164592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Rectangle 7">
            <a:extLst>
              <a:ext uri="{FF2B5EF4-FFF2-40B4-BE49-F238E27FC236}">
                <a16:creationId xmlns:a16="http://schemas.microsoft.com/office/drawing/2014/main" id="{3131FA81-028C-C1F6-098C-E178AFDAF18F}"/>
              </a:ext>
            </a:extLst>
          </p:cNvPr>
          <p:cNvSpPr/>
          <p:nvPr/>
        </p:nvSpPr>
        <p:spPr>
          <a:xfrm>
            <a:off x="7169205" y="1081262"/>
            <a:ext cx="4910964" cy="5883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dirty="0" err="1">
                <a:solidFill>
                  <a:schemeClr val="bg1"/>
                </a:solidFill>
                <a:latin typeface="Microsoft Sans Serif"/>
                <a:cs typeface="Microsoft Sans Serif" panose="020B0604020202020204" pitchFamily="34" charset="0"/>
              </a:rPr>
              <a:t>Now</a:t>
            </a:r>
            <a:r>
              <a:rPr lang="de-DE" dirty="0">
                <a:solidFill>
                  <a:schemeClr val="bg1"/>
                </a:solidFill>
                <a:latin typeface="Microsoft Sans Serif"/>
                <a:cs typeface="Microsoft Sans Serif" panose="020B0604020202020204" pitchFamily="34" charset="0"/>
              </a:rPr>
              <a:t> </a:t>
            </a:r>
            <a:r>
              <a:rPr lang="de-DE" dirty="0" err="1">
                <a:solidFill>
                  <a:schemeClr val="bg1"/>
                </a:solidFill>
                <a:latin typeface="Microsoft Sans Serif"/>
                <a:cs typeface="Microsoft Sans Serif" panose="020B0604020202020204" pitchFamily="34" charset="0"/>
              </a:rPr>
              <a:t>specified</a:t>
            </a:r>
            <a:r>
              <a:rPr lang="de-DE" dirty="0">
                <a:solidFill>
                  <a:schemeClr val="bg1"/>
                </a:solidFill>
                <a:latin typeface="Microsoft Sans Serif"/>
                <a:cs typeface="Microsoft Sans Serif" panose="020B0604020202020204" pitchFamily="34" charset="0"/>
              </a:rPr>
              <a:t> in Rel-19</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71375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B54C43F-F56B-5DAE-8CB6-238C753D21E5}"/>
              </a:ext>
            </a:extLst>
          </p:cNvPr>
          <p:cNvSpPr>
            <a:spLocks noGrp="1"/>
          </p:cNvSpPr>
          <p:nvPr>
            <p:ph type="ftr" sz="quarter" idx="10"/>
          </p:nvPr>
        </p:nvSpPr>
        <p:spPr/>
        <p:txBody>
          <a:bodyPr/>
          <a:lstStyle/>
          <a:p>
            <a:r>
              <a:rPr lang="en-US"/>
              <a:t>5G Broadcast Conference</a:t>
            </a:r>
          </a:p>
        </p:txBody>
      </p:sp>
      <p:sp>
        <p:nvSpPr>
          <p:cNvPr id="3" name="Title 2">
            <a:extLst>
              <a:ext uri="{FF2B5EF4-FFF2-40B4-BE49-F238E27FC236}">
                <a16:creationId xmlns:a16="http://schemas.microsoft.com/office/drawing/2014/main" id="{051E66CD-F849-87EF-41D7-A418A47A044C}"/>
              </a:ext>
            </a:extLst>
          </p:cNvPr>
          <p:cNvSpPr>
            <a:spLocks noGrp="1"/>
          </p:cNvSpPr>
          <p:nvPr>
            <p:ph type="title"/>
          </p:nvPr>
        </p:nvSpPr>
        <p:spPr/>
        <p:txBody>
          <a:bodyPr/>
          <a:lstStyle/>
          <a:p>
            <a:r>
              <a:rPr lang="de-DE" dirty="0"/>
              <a:t>Summary and Conclusions of Paper</a:t>
            </a:r>
            <a:endParaRPr lang="en-US" dirty="0"/>
          </a:p>
        </p:txBody>
      </p:sp>
      <p:sp>
        <p:nvSpPr>
          <p:cNvPr id="9" name="Subtitle 8">
            <a:extLst>
              <a:ext uri="{FF2B5EF4-FFF2-40B4-BE49-F238E27FC236}">
                <a16:creationId xmlns:a16="http://schemas.microsoft.com/office/drawing/2014/main" id="{3F1C0EF8-2171-4698-D775-42274CC059AC}"/>
              </a:ext>
            </a:extLst>
          </p:cNvPr>
          <p:cNvSpPr>
            <a:spLocks noGrp="1"/>
          </p:cNvSpPr>
          <p:nvPr>
            <p:ph type="subTitle" idx="1"/>
          </p:nvPr>
        </p:nvSpPr>
        <p:spPr/>
        <p:txBody>
          <a:bodyPr/>
          <a:lstStyle/>
          <a:p>
            <a:r>
              <a:rPr lang="en-US"/>
              <a:t>5G BROADCAST RECEIVERS: OPTIMIZING PERFORMANCE UNDER IMPLEMENTATION CONSTRAINTS</a:t>
            </a:r>
          </a:p>
        </p:txBody>
      </p:sp>
      <p:sp>
        <p:nvSpPr>
          <p:cNvPr id="12" name="Content Placeholder 11">
            <a:extLst>
              <a:ext uri="{FF2B5EF4-FFF2-40B4-BE49-F238E27FC236}">
                <a16:creationId xmlns:a16="http://schemas.microsoft.com/office/drawing/2014/main" id="{A13416DD-C42C-514F-06E2-C2DA34012FDB}"/>
              </a:ext>
            </a:extLst>
          </p:cNvPr>
          <p:cNvSpPr>
            <a:spLocks noGrp="1"/>
          </p:cNvSpPr>
          <p:nvPr>
            <p:ph sz="quarter" idx="16"/>
          </p:nvPr>
        </p:nvSpPr>
        <p:spPr/>
        <p:txBody>
          <a:bodyPr/>
          <a:lstStyle/>
          <a:p>
            <a:r>
              <a:rPr lang="en-GB" sz="1800" dirty="0">
                <a:effectLst/>
                <a:latin typeface="Arial" panose="020B0604020202020204" pitchFamily="34" charset="0"/>
                <a:ea typeface="SimSun" panose="02010600030101010101" pitchFamily="2" charset="-122"/>
                <a:cs typeface="Times New Roman" panose="02020603050405020304" pitchFamily="18" charset="0"/>
              </a:rPr>
              <a:t>Broadcast networks and usage of configurations needs to be done for worst-case scenario. </a:t>
            </a:r>
          </a:p>
          <a:p>
            <a:r>
              <a:rPr lang="en-GB" sz="1800" dirty="0">
                <a:effectLst/>
                <a:latin typeface="Arial" panose="020B0604020202020204" pitchFamily="34" charset="0"/>
                <a:ea typeface="SimSun" panose="02010600030101010101" pitchFamily="2" charset="-122"/>
                <a:cs typeface="Times New Roman" panose="02020603050405020304" pitchFamily="18" charset="0"/>
              </a:rPr>
              <a:t>For example, gains achieved in the 120 kmph scenario may not relevant, if such a planning would fail to serve a large number of receivers moving at lower speeds. </a:t>
            </a:r>
          </a:p>
          <a:p>
            <a:r>
              <a:rPr lang="en-GB" sz="1800" dirty="0">
                <a:latin typeface="Arial" panose="020B0604020202020204" pitchFamily="34" charset="0"/>
                <a:ea typeface="SimSun" panose="02010600030101010101" pitchFamily="2" charset="-122"/>
                <a:cs typeface="Times New Roman" panose="02020603050405020304" pitchFamily="18" charset="0"/>
              </a:rPr>
              <a:t>In this case, comparison between 5G broadcast and ATSC3.0 is provided for NLOS for different speeds and configurations</a:t>
            </a:r>
            <a:endParaRPr lang="en-US" dirty="0"/>
          </a:p>
        </p:txBody>
      </p:sp>
      <p:sp>
        <p:nvSpPr>
          <p:cNvPr id="19" name="Content Placeholder 18">
            <a:extLst>
              <a:ext uri="{FF2B5EF4-FFF2-40B4-BE49-F238E27FC236}">
                <a16:creationId xmlns:a16="http://schemas.microsoft.com/office/drawing/2014/main" id="{BE5EDC00-C011-B383-3B40-B00B316CFEA1}"/>
              </a:ext>
            </a:extLst>
          </p:cNvPr>
          <p:cNvSpPr>
            <a:spLocks noGrp="1"/>
          </p:cNvSpPr>
          <p:nvPr>
            <p:ph sz="quarter" idx="17"/>
          </p:nvPr>
        </p:nvSpPr>
        <p:spPr/>
        <p:txBody>
          <a:bodyPr>
            <a:normAutofit fontScale="92500" lnSpcReduction="10000"/>
          </a:bodyPr>
          <a:lstStyle/>
          <a:p>
            <a:r>
              <a:rPr lang="en-US" sz="2000" dirty="0"/>
              <a:t>The main design target &amp; “reason for being” of 5G broadcast is to enable operation of a broadcast network where the receivers are </a:t>
            </a:r>
            <a:r>
              <a:rPr lang="en-US" sz="2000" dirty="0">
                <a:solidFill>
                  <a:schemeClr val="bg2"/>
                </a:solidFill>
              </a:rPr>
              <a:t>hardware-compatible</a:t>
            </a:r>
            <a:r>
              <a:rPr lang="en-US" sz="2000" dirty="0">
                <a:solidFill>
                  <a:srgbClr val="FF0000"/>
                </a:solidFill>
              </a:rPr>
              <a:t> </a:t>
            </a:r>
            <a:r>
              <a:rPr lang="en-US" sz="2000" dirty="0"/>
              <a:t>with cellular modems</a:t>
            </a:r>
          </a:p>
          <a:p>
            <a:pPr lvl="1"/>
            <a:r>
              <a:rPr lang="en-US" dirty="0"/>
              <a:t>“Hardware compatible” means lower barrier to adoption in mobile devices compared to other broadcasting technologies</a:t>
            </a:r>
          </a:p>
          <a:p>
            <a:pPr lvl="2"/>
            <a:r>
              <a:rPr lang="en-US" sz="1400" dirty="0"/>
              <a:t>Several 5G Broadcast building blocks are already there in a 4G/5G modem, hence the additions are marginal. </a:t>
            </a:r>
          </a:p>
          <a:p>
            <a:pPr lvl="2"/>
            <a:r>
              <a:rPr lang="en-US" sz="1400" dirty="0"/>
              <a:t>For other technologies, a separate piece of silicon / die area would be required</a:t>
            </a:r>
          </a:p>
          <a:p>
            <a:r>
              <a:rPr lang="en-US" dirty="0"/>
              <a:t>In comparison with unconstrained broadcast designs, 5G Broadcast Rel-18 is only marginally worse </a:t>
            </a:r>
          </a:p>
          <a:p>
            <a:r>
              <a:rPr lang="en-US" dirty="0"/>
              <a:t>Address remaining gaps in Rel-19 without compromising the </a:t>
            </a:r>
            <a:r>
              <a:rPr lang="en-US" b="1" dirty="0"/>
              <a:t>design goals implementing a Time-Frequency Interleaver re-using HARQ procedures</a:t>
            </a:r>
          </a:p>
        </p:txBody>
      </p:sp>
      <p:graphicFrame>
        <p:nvGraphicFramePr>
          <p:cNvPr id="20" name="Content Placeholder 5">
            <a:extLst>
              <a:ext uri="{FF2B5EF4-FFF2-40B4-BE49-F238E27FC236}">
                <a16:creationId xmlns:a16="http://schemas.microsoft.com/office/drawing/2014/main" id="{D3180204-E078-547B-3B70-B25512E6DA8F}"/>
              </a:ext>
            </a:extLst>
          </p:cNvPr>
          <p:cNvGraphicFramePr>
            <a:graphicFrameLocks/>
          </p:cNvGraphicFramePr>
          <p:nvPr/>
        </p:nvGraphicFramePr>
        <p:xfrm>
          <a:off x="399286" y="4714479"/>
          <a:ext cx="5576890" cy="1498537"/>
        </p:xfrm>
        <a:graphic>
          <a:graphicData uri="http://schemas.openxmlformats.org/drawingml/2006/table">
            <a:tbl>
              <a:tblPr firstRow="1" firstCol="1" lastRow="1" bandRow="1">
                <a:tableStyleId>{5C22544A-7EE6-4342-B048-85BDC9FD1C3A}</a:tableStyleId>
              </a:tblPr>
              <a:tblGrid>
                <a:gridCol w="1162050">
                  <a:extLst>
                    <a:ext uri="{9D8B030D-6E8A-4147-A177-3AD203B41FA5}">
                      <a16:colId xmlns:a16="http://schemas.microsoft.com/office/drawing/2014/main" val="3036771167"/>
                    </a:ext>
                  </a:extLst>
                </a:gridCol>
                <a:gridCol w="1068706">
                  <a:extLst>
                    <a:ext uri="{9D8B030D-6E8A-4147-A177-3AD203B41FA5}">
                      <a16:colId xmlns:a16="http://schemas.microsoft.com/office/drawing/2014/main" val="2760916208"/>
                    </a:ext>
                  </a:extLst>
                </a:gridCol>
                <a:gridCol w="1115378">
                  <a:extLst>
                    <a:ext uri="{9D8B030D-6E8A-4147-A177-3AD203B41FA5}">
                      <a16:colId xmlns:a16="http://schemas.microsoft.com/office/drawing/2014/main" val="999946938"/>
                    </a:ext>
                  </a:extLst>
                </a:gridCol>
                <a:gridCol w="1115378">
                  <a:extLst>
                    <a:ext uri="{9D8B030D-6E8A-4147-A177-3AD203B41FA5}">
                      <a16:colId xmlns:a16="http://schemas.microsoft.com/office/drawing/2014/main" val="2782295726"/>
                    </a:ext>
                  </a:extLst>
                </a:gridCol>
                <a:gridCol w="1115378">
                  <a:extLst>
                    <a:ext uri="{9D8B030D-6E8A-4147-A177-3AD203B41FA5}">
                      <a16:colId xmlns:a16="http://schemas.microsoft.com/office/drawing/2014/main" val="896708219"/>
                    </a:ext>
                  </a:extLst>
                </a:gridCol>
              </a:tblGrid>
              <a:tr h="190500">
                <a:tc>
                  <a:txBody>
                    <a:bodyPr/>
                    <a:lstStyle/>
                    <a:p>
                      <a:r>
                        <a:rPr lang="en-US" sz="1600">
                          <a:effectLst/>
                        </a:rPr>
                        <a:t>SNR for</a:t>
                      </a:r>
                      <a:endParaRPr lang="en-US" sz="1600">
                        <a:effectLst/>
                        <a:latin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ATSC 3.0 + 1Rx</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ATSC 3.0 + 2Rx</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5G + 2Rx</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de-DE" sz="1600">
                          <a:effectLst/>
                        </a:rPr>
                        <a:t>5G + 2Rx + TFI</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97403677"/>
                  </a:ext>
                </a:extLst>
              </a:tr>
              <a:tr h="190500">
                <a:tc>
                  <a:txBody>
                    <a:bodyPr/>
                    <a:lstStyle/>
                    <a:p>
                      <a:pPr marL="0" marR="0" algn="ctr">
                        <a:lnSpc>
                          <a:spcPct val="107000"/>
                        </a:lnSpc>
                        <a:spcBef>
                          <a:spcPts val="0"/>
                        </a:spcBef>
                        <a:spcAft>
                          <a:spcPts val="0"/>
                        </a:spcAft>
                      </a:pPr>
                      <a:r>
                        <a:rPr lang="en-US" sz="1600">
                          <a:effectLst/>
                        </a:rPr>
                        <a:t>3 kmph</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4.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8.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8.9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586272"/>
                  </a:ext>
                </a:extLst>
              </a:tr>
              <a:tr h="190500">
                <a:tc>
                  <a:txBody>
                    <a:bodyPr/>
                    <a:lstStyle/>
                    <a:p>
                      <a:pPr marL="0" marR="0" algn="ctr">
                        <a:lnSpc>
                          <a:spcPct val="107000"/>
                        </a:lnSpc>
                        <a:spcBef>
                          <a:spcPts val="0"/>
                        </a:spcBef>
                        <a:spcAft>
                          <a:spcPts val="0"/>
                        </a:spcAft>
                      </a:pPr>
                      <a:r>
                        <a:rPr lang="en-US" sz="1600">
                          <a:effectLst/>
                        </a:rPr>
                        <a:t>40 kmph</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1.2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6.6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9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7.3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97555604"/>
                  </a:ext>
                </a:extLst>
              </a:tr>
              <a:tr h="190500">
                <a:tc>
                  <a:txBody>
                    <a:bodyPr/>
                    <a:lstStyle/>
                    <a:p>
                      <a:pPr marL="0" marR="0" algn="ctr">
                        <a:lnSpc>
                          <a:spcPct val="107000"/>
                        </a:lnSpc>
                        <a:spcBef>
                          <a:spcPts val="0"/>
                        </a:spcBef>
                        <a:spcAft>
                          <a:spcPts val="0"/>
                        </a:spcAft>
                      </a:pPr>
                      <a:r>
                        <a:rPr lang="en-US" sz="1600">
                          <a:effectLst/>
                        </a:rPr>
                        <a:t>120 kmph</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8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6.2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1.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89883500"/>
                  </a:ext>
                </a:extLst>
              </a:tr>
              <a:tr h="190500">
                <a:tc>
                  <a:txBody>
                    <a:bodyPr/>
                    <a:lstStyle/>
                    <a:p>
                      <a:pPr marL="0" marR="0" algn="ctr">
                        <a:lnSpc>
                          <a:spcPct val="107000"/>
                        </a:lnSpc>
                        <a:spcBef>
                          <a:spcPts val="0"/>
                        </a:spcBef>
                        <a:spcAft>
                          <a:spcPts val="0"/>
                        </a:spcAft>
                      </a:pPr>
                      <a:r>
                        <a:rPr lang="en-US" sz="1600">
                          <a:effectLst/>
                        </a:rPr>
                        <a:t>Worst cas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4.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8.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1.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8.9 d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29949285"/>
                  </a:ext>
                </a:extLst>
              </a:tr>
            </a:tbl>
          </a:graphicData>
        </a:graphic>
      </p:graphicFrame>
      <p:pic>
        <p:nvPicPr>
          <p:cNvPr id="4" name="Picture 4" descr="Why 3GPP Just Works– Multiple Generations Of Global Cellular Standards And  Solid Execution">
            <a:extLst>
              <a:ext uri="{FF2B5EF4-FFF2-40B4-BE49-F238E27FC236}">
                <a16:creationId xmlns:a16="http://schemas.microsoft.com/office/drawing/2014/main" id="{84970C4A-B0E9-04F2-148A-555FDB900F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00" y="97725"/>
            <a:ext cx="1556378" cy="90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51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81F0DF40-9F88-541F-56B1-0FF61A3D4A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0751" y="3270250"/>
            <a:ext cx="1229591" cy="1536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0B0920C-9ED2-7612-F599-78F23B4250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6151" y="1735658"/>
            <a:ext cx="1178792" cy="14734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3659494-5B82-8E9F-A744-B13FFE7029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46934" y="199824"/>
            <a:ext cx="1137227" cy="142153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E12499E-3278-EF17-C31D-338B176152B6}"/>
              </a:ext>
            </a:extLst>
          </p:cNvPr>
          <p:cNvPicPr>
            <a:picLocks noChangeAspect="1"/>
          </p:cNvPicPr>
          <p:nvPr/>
        </p:nvPicPr>
        <p:blipFill>
          <a:blip r:embed="rId5"/>
          <a:stretch>
            <a:fillRect/>
          </a:stretch>
        </p:blipFill>
        <p:spPr>
          <a:xfrm>
            <a:off x="279401" y="2377440"/>
            <a:ext cx="8933605" cy="2103120"/>
          </a:xfrm>
          <a:prstGeom prst="rect">
            <a:avLst/>
          </a:prstGeom>
        </p:spPr>
      </p:pic>
      <p:pic>
        <p:nvPicPr>
          <p:cNvPr id="5" name="Picture 4">
            <a:extLst>
              <a:ext uri="{FF2B5EF4-FFF2-40B4-BE49-F238E27FC236}">
                <a16:creationId xmlns:a16="http://schemas.microsoft.com/office/drawing/2014/main" id="{391039AC-8D84-F380-7CF4-C5182208B6C4}"/>
              </a:ext>
            </a:extLst>
          </p:cNvPr>
          <p:cNvPicPr>
            <a:picLocks noChangeAspect="1"/>
          </p:cNvPicPr>
          <p:nvPr/>
        </p:nvPicPr>
        <p:blipFill>
          <a:blip r:embed="rId6"/>
          <a:stretch>
            <a:fillRect/>
          </a:stretch>
        </p:blipFill>
        <p:spPr>
          <a:xfrm>
            <a:off x="9500751" y="4917987"/>
            <a:ext cx="1229591" cy="1536989"/>
          </a:xfrm>
          <a:prstGeom prst="rect">
            <a:avLst/>
          </a:prstGeom>
        </p:spPr>
      </p:pic>
      <p:sp>
        <p:nvSpPr>
          <p:cNvPr id="2" name="TextBox 1">
            <a:extLst>
              <a:ext uri="{FF2B5EF4-FFF2-40B4-BE49-F238E27FC236}">
                <a16:creationId xmlns:a16="http://schemas.microsoft.com/office/drawing/2014/main" id="{0D8B930C-877E-5EDC-DA52-BA8478860694}"/>
              </a:ext>
            </a:extLst>
          </p:cNvPr>
          <p:cNvSpPr txBox="1"/>
          <p:nvPr/>
        </p:nvSpPr>
        <p:spPr>
          <a:xfrm>
            <a:off x="1625600" y="5372100"/>
            <a:ext cx="6825586" cy="590931"/>
          </a:xfrm>
          <a:prstGeom prst="rect">
            <a:avLst/>
          </a:prstGeom>
        </p:spPr>
        <p:txBody>
          <a:bodyPr wrap="none" lIns="0" tIns="0" rIns="0" bIns="0" rtlCol="0">
            <a:spAutoFit/>
          </a:bodyPr>
          <a:lstStyle/>
          <a:p>
            <a:pPr algn="l">
              <a:lnSpc>
                <a:spcPct val="96000"/>
              </a:lnSpc>
            </a:pPr>
            <a:r>
              <a:rPr lang="de-DE" sz="2000" dirty="0">
                <a:solidFill>
                  <a:schemeClr val="bg1"/>
                </a:solidFill>
                <a:latin typeface="Microsoft Sans Serif"/>
                <a:cs typeface="Microsoft Sans Serif" panose="020B0604020202020204" pitchFamily="34" charset="0"/>
              </a:rPr>
              <a:t>SET EXPO Paper August 2024</a:t>
            </a:r>
          </a:p>
          <a:p>
            <a:pPr algn="l">
              <a:lnSpc>
                <a:spcPct val="96000"/>
              </a:lnSpc>
            </a:pPr>
            <a:r>
              <a:rPr lang="de-DE" sz="2000" dirty="0">
                <a:solidFill>
                  <a:schemeClr val="bg1"/>
                </a:solidFill>
                <a:latin typeface="Microsoft Sans Serif"/>
                <a:cs typeface="Microsoft Sans Serif" panose="020B0604020202020204" pitchFamily="34" charset="0"/>
              </a:rPr>
              <a:t>Also </a:t>
            </a:r>
            <a:r>
              <a:rPr lang="de-DE" sz="2000" dirty="0" err="1">
                <a:solidFill>
                  <a:schemeClr val="bg1"/>
                </a:solidFill>
                <a:latin typeface="Microsoft Sans Serif"/>
                <a:cs typeface="Microsoft Sans Serif" panose="020B0604020202020204" pitchFamily="34" charset="0"/>
              </a:rPr>
              <a:t>presented</a:t>
            </a:r>
            <a:r>
              <a:rPr lang="de-DE" sz="2000" dirty="0">
                <a:solidFill>
                  <a:schemeClr val="bg1"/>
                </a:solidFill>
                <a:latin typeface="Microsoft Sans Serif"/>
                <a:cs typeface="Microsoft Sans Serif" panose="020B0604020202020204" pitchFamily="34" charset="0"/>
              </a:rPr>
              <a:t> </a:t>
            </a:r>
            <a:r>
              <a:rPr lang="de-DE" sz="2000" dirty="0" err="1">
                <a:solidFill>
                  <a:schemeClr val="bg1"/>
                </a:solidFill>
                <a:latin typeface="Microsoft Sans Serif"/>
                <a:cs typeface="Microsoft Sans Serif" panose="020B0604020202020204" pitchFamily="34" charset="0"/>
              </a:rPr>
              <a:t>more</a:t>
            </a:r>
            <a:r>
              <a:rPr lang="de-DE" sz="2000" dirty="0">
                <a:solidFill>
                  <a:schemeClr val="bg1"/>
                </a:solidFill>
                <a:latin typeface="Microsoft Sans Serif"/>
                <a:cs typeface="Microsoft Sans Serif" panose="020B0604020202020204" pitchFamily="34" charset="0"/>
              </a:rPr>
              <a:t> </a:t>
            </a:r>
            <a:r>
              <a:rPr lang="de-DE" sz="2000" dirty="0" err="1">
                <a:solidFill>
                  <a:schemeClr val="bg1"/>
                </a:solidFill>
                <a:latin typeface="Microsoft Sans Serif"/>
                <a:cs typeface="Microsoft Sans Serif" panose="020B0604020202020204" pitchFamily="34" charset="0"/>
              </a:rPr>
              <a:t>details</a:t>
            </a:r>
            <a:r>
              <a:rPr lang="de-DE" sz="2000" dirty="0">
                <a:solidFill>
                  <a:schemeClr val="bg1"/>
                </a:solidFill>
                <a:latin typeface="Microsoft Sans Serif"/>
                <a:cs typeface="Microsoft Sans Serif" panose="020B0604020202020204" pitchFamily="34" charset="0"/>
              </a:rPr>
              <a:t> </a:t>
            </a:r>
            <a:r>
              <a:rPr lang="de-DE" sz="2000" dirty="0" err="1">
                <a:solidFill>
                  <a:schemeClr val="bg1"/>
                </a:solidFill>
                <a:latin typeface="Microsoft Sans Serif"/>
                <a:cs typeface="Microsoft Sans Serif" panose="020B0604020202020204" pitchFamily="34" charset="0"/>
              </a:rPr>
              <a:t>during</a:t>
            </a:r>
            <a:r>
              <a:rPr lang="de-DE" sz="2000" dirty="0">
                <a:solidFill>
                  <a:schemeClr val="bg1"/>
                </a:solidFill>
                <a:latin typeface="Microsoft Sans Serif"/>
                <a:cs typeface="Microsoft Sans Serif" panose="020B0604020202020204" pitchFamily="34" charset="0"/>
              </a:rPr>
              <a:t> IBC 2024 and NAB 2025</a:t>
            </a:r>
            <a:endParaRPr lang="en-US" sz="2000" dirty="0">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90713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68A17-E75B-6157-AE7D-F3944E6EB8F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6B6A70E-A9E6-2610-8E19-C4D9F2DF0262}"/>
              </a:ext>
            </a:extLst>
          </p:cNvPr>
          <p:cNvSpPr/>
          <p:nvPr/>
        </p:nvSpPr>
        <p:spPr>
          <a:xfrm>
            <a:off x="0" y="-26152"/>
            <a:ext cx="12192000" cy="1149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icrosoft Sans Serif" panose="020B0604020202020204" pitchFamily="34" charset="0"/>
            </a:endParaRPr>
          </a:p>
        </p:txBody>
      </p:sp>
      <p:sp>
        <p:nvSpPr>
          <p:cNvPr id="3" name="Title 3">
            <a:extLst>
              <a:ext uri="{FF2B5EF4-FFF2-40B4-BE49-F238E27FC236}">
                <a16:creationId xmlns:a16="http://schemas.microsoft.com/office/drawing/2014/main" id="{7E0C25A0-A03B-DFF7-085B-C5517EFA1881}"/>
              </a:ext>
            </a:extLst>
          </p:cNvPr>
          <p:cNvSpPr txBox="1">
            <a:spLocks/>
          </p:cNvSpPr>
          <p:nvPr/>
        </p:nvSpPr>
        <p:spPr>
          <a:xfrm>
            <a:off x="293349" y="500265"/>
            <a:ext cx="11187112" cy="997694"/>
          </a:xfrm>
          <a:prstGeom prst="rect">
            <a:avLst/>
          </a:prstGeom>
        </p:spPr>
        <p:txBody>
          <a:bodyPr/>
          <a:lstStyle>
            <a:lvl1pPr algn="l" defTabSz="914400" rtl="0" eaLnBrk="1" latinLnBrk="0" hangingPunct="1">
              <a:lnSpc>
                <a:spcPct val="84000"/>
              </a:lnSpc>
              <a:spcBef>
                <a:spcPct val="0"/>
              </a:spcBef>
              <a:buNone/>
              <a:defRPr sz="2800" kern="2000" spc="-50" baseline="0">
                <a:solidFill>
                  <a:schemeClr val="tx2"/>
                </a:solidFill>
                <a:latin typeface="+mj-lt"/>
                <a:ea typeface="+mj-ea"/>
                <a:cs typeface="+mj-cs"/>
              </a:defRPr>
            </a:lvl1pPr>
          </a:lstStyle>
          <a:p>
            <a:pPr marL="0" marR="0" lvl="0" indent="0" algn="l" defTabSz="914400" rtl="0" eaLnBrk="1" fontAlgn="auto" latinLnBrk="0" hangingPunct="1">
              <a:lnSpc>
                <a:spcPct val="84000"/>
              </a:lnSpc>
              <a:spcBef>
                <a:spcPct val="0"/>
              </a:spcBef>
              <a:spcAft>
                <a:spcPts val="0"/>
              </a:spcAft>
              <a:buClrTx/>
              <a:buSzTx/>
              <a:buFontTx/>
              <a:buNone/>
              <a:tabLst/>
              <a:defRPr/>
            </a:pPr>
            <a:r>
              <a:rPr kumimoji="0" lang="en-US" sz="2800" b="0" i="0" u="none" strike="noStrike" kern="2000" cap="none" spc="-50" normalizeH="0" baseline="0" noProof="0">
                <a:ln>
                  <a:noFill/>
                </a:ln>
                <a:solidFill>
                  <a:srgbClr val="FFFFFF"/>
                </a:solidFill>
                <a:effectLst/>
                <a:uLnTx/>
                <a:uFillTx/>
                <a:latin typeface="Aptos Display" panose="02110004020202020204"/>
                <a:ea typeface="+mj-ea"/>
                <a:cs typeface="+mj-cs"/>
              </a:rPr>
              <a:t>Why 5G Broadcast for mobile?</a:t>
            </a:r>
          </a:p>
        </p:txBody>
      </p:sp>
      <p:graphicFrame>
        <p:nvGraphicFramePr>
          <p:cNvPr id="4" name="Table 9">
            <a:extLst>
              <a:ext uri="{FF2B5EF4-FFF2-40B4-BE49-F238E27FC236}">
                <a16:creationId xmlns:a16="http://schemas.microsoft.com/office/drawing/2014/main" id="{7BE2F6B5-B1CE-90CF-4A06-46A0D99EBA97}"/>
              </a:ext>
            </a:extLst>
          </p:cNvPr>
          <p:cNvGraphicFramePr>
            <a:graphicFrameLocks/>
          </p:cNvGraphicFramePr>
          <p:nvPr>
            <p:extLst>
              <p:ext uri="{D42A27DB-BD31-4B8C-83A1-F6EECF244321}">
                <p14:modId xmlns:p14="http://schemas.microsoft.com/office/powerpoint/2010/main" val="3939085165"/>
              </p:ext>
            </p:extLst>
          </p:nvPr>
        </p:nvGraphicFramePr>
        <p:xfrm>
          <a:off x="408924" y="2024376"/>
          <a:ext cx="11626235" cy="2590800"/>
        </p:xfrm>
        <a:graphic>
          <a:graphicData uri="http://schemas.openxmlformats.org/drawingml/2006/table">
            <a:tbl>
              <a:tblPr firstRow="1" bandRow="1">
                <a:tableStyleId>{72833802-FEF1-4C79-8D5D-14CF1EAF98D9}</a:tableStyleId>
              </a:tblPr>
              <a:tblGrid>
                <a:gridCol w="3052571">
                  <a:extLst>
                    <a:ext uri="{9D8B030D-6E8A-4147-A177-3AD203B41FA5}">
                      <a16:colId xmlns:a16="http://schemas.microsoft.com/office/drawing/2014/main" val="3613675494"/>
                    </a:ext>
                  </a:extLst>
                </a:gridCol>
                <a:gridCol w="2228256">
                  <a:extLst>
                    <a:ext uri="{9D8B030D-6E8A-4147-A177-3AD203B41FA5}">
                      <a16:colId xmlns:a16="http://schemas.microsoft.com/office/drawing/2014/main" val="243019665"/>
                    </a:ext>
                  </a:extLst>
                </a:gridCol>
                <a:gridCol w="2953123">
                  <a:extLst>
                    <a:ext uri="{9D8B030D-6E8A-4147-A177-3AD203B41FA5}">
                      <a16:colId xmlns:a16="http://schemas.microsoft.com/office/drawing/2014/main" val="926456397"/>
                    </a:ext>
                  </a:extLst>
                </a:gridCol>
                <a:gridCol w="3392285">
                  <a:extLst>
                    <a:ext uri="{9D8B030D-6E8A-4147-A177-3AD203B41FA5}">
                      <a16:colId xmlns:a16="http://schemas.microsoft.com/office/drawing/2014/main" val="2259573721"/>
                    </a:ext>
                  </a:extLst>
                </a:gridCol>
              </a:tblGrid>
              <a:tr h="374097">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r>
                        <a:rPr lang="en-US" sz="1200"/>
                        <a:t>Building block</a:t>
                      </a:r>
                    </a:p>
                  </a:txBody>
                  <a:tcPr anchor="ct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pPr algn="ctr"/>
                      <a:r>
                        <a:rPr lang="en-US" sz="1000"/>
                        <a:t>Hardware (HW) / Software (SW) / Firmware (FW)</a:t>
                      </a:r>
                    </a:p>
                  </a:txBody>
                  <a:tcPr anchor="ct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pPr algn="ctr"/>
                      <a:r>
                        <a:rPr lang="en-US" sz="1200"/>
                        <a:t>5G Broadcast</a:t>
                      </a:r>
                    </a:p>
                  </a:txBody>
                  <a:tcPr anchor="ctr"/>
                </a:tc>
                <a:tc>
                  <a:txBody>
                    <a:bodyPr/>
                    <a:lstStyle>
                      <a:lvl1pPr marL="0" algn="l" defTabSz="914400" rtl="0" eaLnBrk="1" latinLnBrk="0" hangingPunct="1">
                        <a:defRPr sz="1800" b="1" kern="1200">
                          <a:solidFill>
                            <a:schemeClr val="lt1"/>
                          </a:solidFill>
                          <a:latin typeface="Microsoft Sans Serif"/>
                        </a:defRPr>
                      </a:lvl1pPr>
                      <a:lvl2pPr marL="457200" algn="l" defTabSz="914400" rtl="0" eaLnBrk="1" latinLnBrk="0" hangingPunct="1">
                        <a:defRPr sz="1800" b="1" kern="1200">
                          <a:solidFill>
                            <a:schemeClr val="lt1"/>
                          </a:solidFill>
                          <a:latin typeface="Microsoft Sans Serif"/>
                        </a:defRPr>
                      </a:lvl2pPr>
                      <a:lvl3pPr marL="914400" algn="l" defTabSz="914400" rtl="0" eaLnBrk="1" latinLnBrk="0" hangingPunct="1">
                        <a:defRPr sz="1800" b="1" kern="1200">
                          <a:solidFill>
                            <a:schemeClr val="lt1"/>
                          </a:solidFill>
                          <a:latin typeface="Microsoft Sans Serif"/>
                        </a:defRPr>
                      </a:lvl3pPr>
                      <a:lvl4pPr marL="1371600" algn="l" defTabSz="914400" rtl="0" eaLnBrk="1" latinLnBrk="0" hangingPunct="1">
                        <a:defRPr sz="1800" b="1" kern="1200">
                          <a:solidFill>
                            <a:schemeClr val="lt1"/>
                          </a:solidFill>
                          <a:latin typeface="Microsoft Sans Serif"/>
                        </a:defRPr>
                      </a:lvl4pPr>
                      <a:lvl5pPr marL="1828800" algn="l" defTabSz="914400" rtl="0" eaLnBrk="1" latinLnBrk="0" hangingPunct="1">
                        <a:defRPr sz="1800" b="1" kern="1200">
                          <a:solidFill>
                            <a:schemeClr val="lt1"/>
                          </a:solidFill>
                          <a:latin typeface="Microsoft Sans Serif"/>
                        </a:defRPr>
                      </a:lvl5pPr>
                      <a:lvl6pPr marL="2286000" algn="l" defTabSz="914400" rtl="0" eaLnBrk="1" latinLnBrk="0" hangingPunct="1">
                        <a:defRPr sz="1800" b="1" kern="1200">
                          <a:solidFill>
                            <a:schemeClr val="lt1"/>
                          </a:solidFill>
                          <a:latin typeface="Microsoft Sans Serif"/>
                        </a:defRPr>
                      </a:lvl6pPr>
                      <a:lvl7pPr marL="2743200" algn="l" defTabSz="914400" rtl="0" eaLnBrk="1" latinLnBrk="0" hangingPunct="1">
                        <a:defRPr sz="1800" b="1" kern="1200">
                          <a:solidFill>
                            <a:schemeClr val="lt1"/>
                          </a:solidFill>
                          <a:latin typeface="Microsoft Sans Serif"/>
                        </a:defRPr>
                      </a:lvl7pPr>
                      <a:lvl8pPr marL="3200400" algn="l" defTabSz="914400" rtl="0" eaLnBrk="1" latinLnBrk="0" hangingPunct="1">
                        <a:defRPr sz="1800" b="1" kern="1200">
                          <a:solidFill>
                            <a:schemeClr val="lt1"/>
                          </a:solidFill>
                          <a:latin typeface="Microsoft Sans Serif"/>
                        </a:defRPr>
                      </a:lvl8pPr>
                      <a:lvl9pPr marL="3657600" algn="l" defTabSz="914400" rtl="0" eaLnBrk="1" latinLnBrk="0" hangingPunct="1">
                        <a:defRPr sz="1800" b="1" kern="1200">
                          <a:solidFill>
                            <a:schemeClr val="lt1"/>
                          </a:solidFill>
                          <a:latin typeface="Microsoft Sans Serif"/>
                        </a:defRPr>
                      </a:lvl9pPr>
                    </a:lstStyle>
                    <a:p>
                      <a:pPr algn="ctr"/>
                      <a:r>
                        <a:rPr lang="en-US" sz="1200" dirty="0"/>
                        <a:t>Legacy Broadcast (DVB, ATSC, etc.)</a:t>
                      </a:r>
                    </a:p>
                  </a:txBody>
                  <a:tcPr anchor="ctr"/>
                </a:tc>
                <a:extLst>
                  <a:ext uri="{0D108BD9-81ED-4DB2-BD59-A6C34878D82A}">
                    <a16:rowId xmlns:a16="http://schemas.microsoft.com/office/drawing/2014/main" val="3876967855"/>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RF</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gridSpan="2">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dirty="0">
                          <a:solidFill>
                            <a:schemeClr val="accent5">
                              <a:lumMod val="75000"/>
                            </a:schemeClr>
                          </a:solidFill>
                        </a:rPr>
                        <a:t>Requires new components depending on supported band</a:t>
                      </a:r>
                    </a:p>
                  </a:txBody>
                  <a:tcPr anchor="ctr"/>
                </a:tc>
                <a:tc hMerge="1">
                  <a:txBody>
                    <a:bodyPr/>
                    <a:lstStyle/>
                    <a:p>
                      <a:endParaRPr lang="en-US"/>
                    </a:p>
                  </a:txBody>
                  <a:tcPr/>
                </a:tc>
                <a:extLst>
                  <a:ext uri="{0D108BD9-81ED-4DB2-BD59-A6C34878D82A}">
                    <a16:rowId xmlns:a16="http://schemas.microsoft.com/office/drawing/2014/main" val="3410681678"/>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OFDM IFFT</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chemeClr val="accent5">
                              <a:lumMod val="75000"/>
                            </a:schemeClr>
                          </a:solidFill>
                        </a:rPr>
                        <a:t>Can reuse 4G/5G HW</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chemeClr val="accent5">
                              <a:lumMod val="75000"/>
                            </a:schemeClr>
                          </a:solidFill>
                        </a:rPr>
                        <a:t>May reuse 4G/5G HW</a:t>
                      </a:r>
                    </a:p>
                  </a:txBody>
                  <a:tcPr anchor="ctr"/>
                </a:tc>
                <a:extLst>
                  <a:ext uri="{0D108BD9-81ED-4DB2-BD59-A6C34878D82A}">
                    <a16:rowId xmlns:a16="http://schemas.microsoft.com/office/drawing/2014/main" val="543417424"/>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Searcher</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 / F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FF0000"/>
                          </a:solidFill>
                        </a:rPr>
                        <a:t>Different</a:t>
                      </a:r>
                    </a:p>
                  </a:txBody>
                  <a:tcPr anchor="ctr"/>
                </a:tc>
                <a:extLst>
                  <a:ext uri="{0D108BD9-81ED-4DB2-BD59-A6C34878D82A}">
                    <a16:rowId xmlns:a16="http://schemas.microsoft.com/office/drawing/2014/main" val="3314129780"/>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Tone/LLR mappin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FF0000"/>
                          </a:solidFill>
                        </a:rPr>
                        <a:t>Different</a:t>
                      </a:r>
                    </a:p>
                  </a:txBody>
                  <a:tcPr anchor="ctr"/>
                </a:tc>
                <a:extLst>
                  <a:ext uri="{0D108BD9-81ED-4DB2-BD59-A6C34878D82A}">
                    <a16:rowId xmlns:a16="http://schemas.microsoft.com/office/drawing/2014/main" val="2925460460"/>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Modulation de-mapper</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FF0000"/>
                          </a:solidFill>
                        </a:rPr>
                        <a:t>Different</a:t>
                      </a:r>
                    </a:p>
                  </a:txBody>
                  <a:tcPr anchor="ctr"/>
                </a:tc>
                <a:extLst>
                  <a:ext uri="{0D108BD9-81ED-4DB2-BD59-A6C34878D82A}">
                    <a16:rowId xmlns:a16="http://schemas.microsoft.com/office/drawing/2014/main" val="2764160760"/>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Coding / packet segmentation</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FF0000"/>
                          </a:solidFill>
                        </a:rPr>
                        <a:t>Different</a:t>
                      </a:r>
                    </a:p>
                  </a:txBody>
                  <a:tcPr anchor="ctr"/>
                </a:tc>
                <a:extLst>
                  <a:ext uri="{0D108BD9-81ED-4DB2-BD59-A6C34878D82A}">
                    <a16:rowId xmlns:a16="http://schemas.microsoft.com/office/drawing/2014/main" val="3611512436"/>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Scramblin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H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FF0000"/>
                          </a:solidFill>
                        </a:rPr>
                        <a:t>Different</a:t>
                      </a:r>
                    </a:p>
                  </a:txBody>
                  <a:tcPr anchor="ctr"/>
                </a:tc>
                <a:extLst>
                  <a:ext uri="{0D108BD9-81ED-4DB2-BD59-A6C34878D82A}">
                    <a16:rowId xmlns:a16="http://schemas.microsoft.com/office/drawing/2014/main" val="3819354018"/>
                  </a:ext>
                </a:extLst>
              </a:tr>
              <a:tr h="270853">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r>
                        <a:rPr lang="en-US" sz="1200" b="0"/>
                        <a:t>RAN protocol stack</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t>SW</a:t>
                      </a:r>
                      <a:endParaRPr lang="en-US" sz="1200" i="1"/>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a:solidFill>
                            <a:srgbClr val="00B050"/>
                          </a:solidFill>
                        </a:rPr>
                        <a:t>Same as 4G/5G</a:t>
                      </a:r>
                    </a:p>
                  </a:txBody>
                  <a:tcPr anchor="ctr"/>
                </a:tc>
                <a:tc>
                  <a:txBody>
                    <a:bodyPr/>
                    <a:lstStyle>
                      <a:lvl1pPr marL="0" algn="l" defTabSz="914400" rtl="0" eaLnBrk="1" latinLnBrk="0" hangingPunct="1">
                        <a:defRPr sz="1800" kern="1200">
                          <a:solidFill>
                            <a:schemeClr val="dk1"/>
                          </a:solidFill>
                          <a:latin typeface="Microsoft Sans Serif"/>
                        </a:defRPr>
                      </a:lvl1pPr>
                      <a:lvl2pPr marL="457200" algn="l" defTabSz="914400" rtl="0" eaLnBrk="1" latinLnBrk="0" hangingPunct="1">
                        <a:defRPr sz="1800" kern="1200">
                          <a:solidFill>
                            <a:schemeClr val="dk1"/>
                          </a:solidFill>
                          <a:latin typeface="Microsoft Sans Serif"/>
                        </a:defRPr>
                      </a:lvl2pPr>
                      <a:lvl3pPr marL="914400" algn="l" defTabSz="914400" rtl="0" eaLnBrk="1" latinLnBrk="0" hangingPunct="1">
                        <a:defRPr sz="1800" kern="1200">
                          <a:solidFill>
                            <a:schemeClr val="dk1"/>
                          </a:solidFill>
                          <a:latin typeface="Microsoft Sans Serif"/>
                        </a:defRPr>
                      </a:lvl3pPr>
                      <a:lvl4pPr marL="1371600" algn="l" defTabSz="914400" rtl="0" eaLnBrk="1" latinLnBrk="0" hangingPunct="1">
                        <a:defRPr sz="1800" kern="1200">
                          <a:solidFill>
                            <a:schemeClr val="dk1"/>
                          </a:solidFill>
                          <a:latin typeface="Microsoft Sans Serif"/>
                        </a:defRPr>
                      </a:lvl4pPr>
                      <a:lvl5pPr marL="1828800" algn="l" defTabSz="914400" rtl="0" eaLnBrk="1" latinLnBrk="0" hangingPunct="1">
                        <a:defRPr sz="1800" kern="1200">
                          <a:solidFill>
                            <a:schemeClr val="dk1"/>
                          </a:solidFill>
                          <a:latin typeface="Microsoft Sans Serif"/>
                        </a:defRPr>
                      </a:lvl5pPr>
                      <a:lvl6pPr marL="2286000" algn="l" defTabSz="914400" rtl="0" eaLnBrk="1" latinLnBrk="0" hangingPunct="1">
                        <a:defRPr sz="1800" kern="1200">
                          <a:solidFill>
                            <a:schemeClr val="dk1"/>
                          </a:solidFill>
                          <a:latin typeface="Microsoft Sans Serif"/>
                        </a:defRPr>
                      </a:lvl6pPr>
                      <a:lvl7pPr marL="2743200" algn="l" defTabSz="914400" rtl="0" eaLnBrk="1" latinLnBrk="0" hangingPunct="1">
                        <a:defRPr sz="1800" kern="1200">
                          <a:solidFill>
                            <a:schemeClr val="dk1"/>
                          </a:solidFill>
                          <a:latin typeface="Microsoft Sans Serif"/>
                        </a:defRPr>
                      </a:lvl7pPr>
                      <a:lvl8pPr marL="3200400" algn="l" defTabSz="914400" rtl="0" eaLnBrk="1" latinLnBrk="0" hangingPunct="1">
                        <a:defRPr sz="1800" kern="1200">
                          <a:solidFill>
                            <a:schemeClr val="dk1"/>
                          </a:solidFill>
                          <a:latin typeface="Microsoft Sans Serif"/>
                        </a:defRPr>
                      </a:lvl8pPr>
                      <a:lvl9pPr marL="3657600" algn="l" defTabSz="914400" rtl="0" eaLnBrk="1" latinLnBrk="0" hangingPunct="1">
                        <a:defRPr sz="1800" kern="1200">
                          <a:solidFill>
                            <a:schemeClr val="dk1"/>
                          </a:solidFill>
                          <a:latin typeface="Microsoft Sans Serif"/>
                        </a:defRPr>
                      </a:lvl9pPr>
                    </a:lstStyle>
                    <a:p>
                      <a:pPr algn="ctr"/>
                      <a:r>
                        <a:rPr lang="en-US" sz="1200" dirty="0">
                          <a:solidFill>
                            <a:srgbClr val="FF0000"/>
                          </a:solidFill>
                        </a:rPr>
                        <a:t>Different</a:t>
                      </a:r>
                    </a:p>
                  </a:txBody>
                  <a:tcPr anchor="ctr"/>
                </a:tc>
                <a:extLst>
                  <a:ext uri="{0D108BD9-81ED-4DB2-BD59-A6C34878D82A}">
                    <a16:rowId xmlns:a16="http://schemas.microsoft.com/office/drawing/2014/main" val="3429590628"/>
                  </a:ext>
                </a:extLst>
              </a:tr>
            </a:tbl>
          </a:graphicData>
        </a:graphic>
      </p:graphicFrame>
      <p:sp>
        <p:nvSpPr>
          <p:cNvPr id="5" name="Content Placeholder 4">
            <a:extLst>
              <a:ext uri="{FF2B5EF4-FFF2-40B4-BE49-F238E27FC236}">
                <a16:creationId xmlns:a16="http://schemas.microsoft.com/office/drawing/2014/main" id="{6B35AB78-F88B-F104-24E6-B8046F7B5AD7}"/>
              </a:ext>
            </a:extLst>
          </p:cNvPr>
          <p:cNvSpPr txBox="1">
            <a:spLocks/>
          </p:cNvSpPr>
          <p:nvPr/>
        </p:nvSpPr>
        <p:spPr>
          <a:xfrm>
            <a:off x="495299" y="1244627"/>
            <a:ext cx="11453486" cy="779749"/>
          </a:xfrm>
          <a:prstGeom prst="rect">
            <a:avLst/>
          </a:prstGeom>
        </p:spPr>
        <p:txBody>
          <a:bodyPr vert="horz" lIns="0" tIns="0" rIns="0" bIns="0" rtlCol="0">
            <a:noAutofit/>
          </a:bodyPr>
          <a:lstStyle>
            <a:lvl1pPr marL="190500" indent="-190500"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98463"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69913" indent="-163513"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tabLst/>
              <a:defRPr lang="en-US" sz="1600" kern="1200" dirty="0" smtClean="0">
                <a:solidFill>
                  <a:schemeClr val="tx1"/>
                </a:solidFill>
                <a:latin typeface="+mn-lt"/>
                <a:ea typeface="+mn-ea"/>
                <a:cs typeface="+mn-cs"/>
              </a:defRPr>
            </a:lvl3pPr>
            <a:lvl4pPr marL="742950"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190500" marR="0" lvl="0" indent="-1905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3171F"/>
                </a:solidFill>
                <a:effectLst/>
                <a:uLnTx/>
                <a:uFillTx/>
                <a:latin typeface="Microsoft Sans Serif"/>
                <a:ea typeface="+mn-ea"/>
                <a:cs typeface="+mn-cs"/>
              </a:rPr>
              <a:t>5G Broadcast reuses several building blocks of 4G/5G cellular modem </a:t>
            </a:r>
            <a:r>
              <a:rPr kumimoji="0" lang="en-US" sz="1600" b="0" i="0" u="none" strike="noStrike" kern="1200" cap="none" spc="0" normalizeH="0" baseline="0" noProof="0" dirty="0">
                <a:ln>
                  <a:noFill/>
                </a:ln>
                <a:solidFill>
                  <a:srgbClr val="13171F"/>
                </a:solidFill>
                <a:effectLst/>
                <a:uLnTx/>
                <a:uFillTx/>
                <a:latin typeface="Microsoft Sans Serif"/>
                <a:ea typeface="+mn-ea"/>
                <a:cs typeface="+mn-cs"/>
                <a:sym typeface="Wingdings" panose="05000000000000000000" pitchFamily="2" charset="2"/>
              </a:rPr>
              <a:t> it is a </a:t>
            </a:r>
            <a:r>
              <a:rPr kumimoji="0" lang="en-US" sz="1600" b="1" i="0" u="none" strike="noStrike" kern="1200" cap="none" spc="0" normalizeH="0" baseline="0" noProof="0" dirty="0">
                <a:ln>
                  <a:noFill/>
                </a:ln>
                <a:solidFill>
                  <a:srgbClr val="FF40FF"/>
                </a:solidFill>
                <a:effectLst/>
                <a:uLnTx/>
                <a:uFillTx/>
                <a:latin typeface="Microsoft Sans Serif"/>
                <a:ea typeface="+mn-ea"/>
                <a:cs typeface="+mn-cs"/>
                <a:sym typeface="Wingdings" panose="05000000000000000000" pitchFamily="2" charset="2"/>
              </a:rPr>
              <a:t>modem feature</a:t>
            </a:r>
            <a:endParaRPr kumimoji="0" lang="en-US" sz="1600" b="1" i="0" u="none" strike="noStrike" kern="1200" cap="none" spc="0" normalizeH="0" baseline="0" noProof="0" dirty="0">
              <a:ln>
                <a:noFill/>
              </a:ln>
              <a:solidFill>
                <a:srgbClr val="FF40FF"/>
              </a:solidFill>
              <a:effectLst/>
              <a:uLnTx/>
              <a:uFillTx/>
              <a:latin typeface="Microsoft Sans Serif"/>
              <a:ea typeface="+mn-ea"/>
              <a:cs typeface="+mn-cs"/>
            </a:endParaRPr>
          </a:p>
          <a:p>
            <a:pPr marL="190500" marR="0" lvl="0" indent="-1905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3171F"/>
                </a:solidFill>
                <a:effectLst/>
                <a:uLnTx/>
                <a:uFillTx/>
                <a:latin typeface="Microsoft Sans Serif"/>
                <a:ea typeface="+mn-ea"/>
                <a:cs typeface="+mn-cs"/>
              </a:rPr>
              <a:t>5G Broadcast in a mobile device doesn’t require separate demodulator chip as is the case with other broadcast standards</a:t>
            </a:r>
          </a:p>
        </p:txBody>
      </p:sp>
      <p:sp>
        <p:nvSpPr>
          <p:cNvPr id="6" name="Content Placeholder 4">
            <a:extLst>
              <a:ext uri="{FF2B5EF4-FFF2-40B4-BE49-F238E27FC236}">
                <a16:creationId xmlns:a16="http://schemas.microsoft.com/office/drawing/2014/main" id="{47E2F332-063E-61AF-FA69-3C4C59F4074C}"/>
              </a:ext>
            </a:extLst>
          </p:cNvPr>
          <p:cNvSpPr txBox="1">
            <a:spLocks/>
          </p:cNvSpPr>
          <p:nvPr/>
        </p:nvSpPr>
        <p:spPr>
          <a:xfrm>
            <a:off x="495298" y="4742976"/>
            <a:ext cx="11453486" cy="301913"/>
          </a:xfrm>
          <a:prstGeom prst="rect">
            <a:avLst/>
          </a:prstGeom>
          <a:solidFill>
            <a:srgbClr val="FFFF00"/>
          </a:solidFill>
        </p:spPr>
        <p:txBody>
          <a:bodyPr vert="horz" lIns="0" tIns="0" rIns="0" bIns="0" rtlCol="0">
            <a:noAutofit/>
          </a:bodyPr>
          <a:lstStyle>
            <a:lvl1pPr marL="190500" indent="-190500"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98463"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69913" indent="-163513"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tabLst/>
              <a:defRPr lang="en-US" sz="1600" kern="1200" dirty="0" smtClean="0">
                <a:solidFill>
                  <a:schemeClr val="tx1"/>
                </a:solidFill>
                <a:latin typeface="+mn-lt"/>
                <a:ea typeface="+mn-ea"/>
                <a:cs typeface="+mn-cs"/>
              </a:defRPr>
            </a:lvl3pPr>
            <a:lvl4pPr marL="742950"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13171F"/>
                </a:solidFill>
                <a:effectLst/>
                <a:uLnTx/>
                <a:uFillTx/>
                <a:latin typeface="Microsoft Sans Serif"/>
                <a:ea typeface="+mn-ea"/>
                <a:cs typeface="+mn-cs"/>
              </a:rPr>
              <a:t>A testament is the ability we can demonstrate 5G Broadcast in limited functionality with off the shelf phones</a:t>
            </a:r>
          </a:p>
        </p:txBody>
      </p:sp>
      <p:pic>
        <p:nvPicPr>
          <p:cNvPr id="8" name="Picture 7">
            <a:extLst>
              <a:ext uri="{FF2B5EF4-FFF2-40B4-BE49-F238E27FC236}">
                <a16:creationId xmlns:a16="http://schemas.microsoft.com/office/drawing/2014/main" id="{A9895FCE-F2A2-980A-F187-3397547C2C20}"/>
              </a:ext>
            </a:extLst>
          </p:cNvPr>
          <p:cNvPicPr>
            <a:picLocks noChangeAspect="1"/>
          </p:cNvPicPr>
          <p:nvPr/>
        </p:nvPicPr>
        <p:blipFill>
          <a:blip r:embed="rId2"/>
          <a:stretch>
            <a:fillRect/>
          </a:stretch>
        </p:blipFill>
        <p:spPr>
          <a:xfrm>
            <a:off x="660997" y="5127020"/>
            <a:ext cx="604756" cy="1228755"/>
          </a:xfrm>
          <a:prstGeom prst="rect">
            <a:avLst/>
          </a:prstGeom>
        </p:spPr>
      </p:pic>
      <p:sp>
        <p:nvSpPr>
          <p:cNvPr id="9" name="TextBox 8">
            <a:extLst>
              <a:ext uri="{FF2B5EF4-FFF2-40B4-BE49-F238E27FC236}">
                <a16:creationId xmlns:a16="http://schemas.microsoft.com/office/drawing/2014/main" id="{2A3A489F-32EA-E5FD-87A4-DFC8937AD018}"/>
              </a:ext>
            </a:extLst>
          </p:cNvPr>
          <p:cNvSpPr txBox="1"/>
          <p:nvPr/>
        </p:nvSpPr>
        <p:spPr>
          <a:xfrm>
            <a:off x="495298" y="6355775"/>
            <a:ext cx="936154" cy="16248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Microsoft Sans Serif" panose="020B0604020202020204" pitchFamily="34" charset="0"/>
              </a:rPr>
              <a:t>OnePlus 10 Pro</a:t>
            </a:r>
          </a:p>
        </p:txBody>
      </p:sp>
      <p:sp>
        <p:nvSpPr>
          <p:cNvPr id="12" name="TextBox 11">
            <a:extLst>
              <a:ext uri="{FF2B5EF4-FFF2-40B4-BE49-F238E27FC236}">
                <a16:creationId xmlns:a16="http://schemas.microsoft.com/office/drawing/2014/main" id="{F9B17B86-B862-2191-CF98-45F80AE74B56}"/>
              </a:ext>
            </a:extLst>
          </p:cNvPr>
          <p:cNvSpPr txBox="1"/>
          <p:nvPr/>
        </p:nvSpPr>
        <p:spPr>
          <a:xfrm>
            <a:off x="1821672" y="6355775"/>
            <a:ext cx="767839" cy="16248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Microsoft Sans Serif" panose="020B0604020202020204" pitchFamily="34" charset="0"/>
              </a:rPr>
              <a:t>OnePlus 10T</a:t>
            </a:r>
          </a:p>
        </p:txBody>
      </p:sp>
      <p:sp>
        <p:nvSpPr>
          <p:cNvPr id="15" name="TextBox 14">
            <a:extLst>
              <a:ext uri="{FF2B5EF4-FFF2-40B4-BE49-F238E27FC236}">
                <a16:creationId xmlns:a16="http://schemas.microsoft.com/office/drawing/2014/main" id="{4D08290E-BEC7-F6D5-E974-AC6E6D0EC0AD}"/>
              </a:ext>
            </a:extLst>
          </p:cNvPr>
          <p:cNvSpPr txBox="1"/>
          <p:nvPr/>
        </p:nvSpPr>
        <p:spPr>
          <a:xfrm>
            <a:off x="3027755" y="6355775"/>
            <a:ext cx="774251" cy="16248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Microsoft Sans Serif" panose="020B0604020202020204" pitchFamily="34" charset="0"/>
              </a:rPr>
              <a:t>Xiaomi Mi 13</a:t>
            </a:r>
          </a:p>
        </p:txBody>
      </p:sp>
      <p:sp>
        <p:nvSpPr>
          <p:cNvPr id="18" name="TextBox 17">
            <a:extLst>
              <a:ext uri="{FF2B5EF4-FFF2-40B4-BE49-F238E27FC236}">
                <a16:creationId xmlns:a16="http://schemas.microsoft.com/office/drawing/2014/main" id="{CC79D5CE-5548-C1A6-C462-D5E63869E64B}"/>
              </a:ext>
            </a:extLst>
          </p:cNvPr>
          <p:cNvSpPr txBox="1"/>
          <p:nvPr/>
        </p:nvSpPr>
        <p:spPr>
          <a:xfrm>
            <a:off x="4483879" y="6330036"/>
            <a:ext cx="849592" cy="16248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Microsoft Sans Serif" panose="020B0604020202020204" pitchFamily="34" charset="0"/>
              </a:rPr>
              <a:t>Motorola Razr</a:t>
            </a:r>
          </a:p>
        </p:txBody>
      </p:sp>
      <p:sp>
        <p:nvSpPr>
          <p:cNvPr id="21" name="TextBox 20">
            <a:extLst>
              <a:ext uri="{FF2B5EF4-FFF2-40B4-BE49-F238E27FC236}">
                <a16:creationId xmlns:a16="http://schemas.microsoft.com/office/drawing/2014/main" id="{5F00EAC3-BCD0-9F52-3046-0818E702C9A9}"/>
              </a:ext>
            </a:extLst>
          </p:cNvPr>
          <p:cNvSpPr txBox="1"/>
          <p:nvPr/>
        </p:nvSpPr>
        <p:spPr>
          <a:xfrm>
            <a:off x="5884707" y="6369313"/>
            <a:ext cx="880049" cy="162480"/>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Microsoft Sans Serif" panose="020B0604020202020204" pitchFamily="34" charset="0"/>
              </a:rPr>
              <a:t>Motorola Edge</a:t>
            </a:r>
          </a:p>
        </p:txBody>
      </p:sp>
      <p:sp>
        <p:nvSpPr>
          <p:cNvPr id="22" name="TextBox 21">
            <a:extLst>
              <a:ext uri="{FF2B5EF4-FFF2-40B4-BE49-F238E27FC236}">
                <a16:creationId xmlns:a16="http://schemas.microsoft.com/office/drawing/2014/main" id="{F009E492-59A3-FD37-89F1-D1397D1D5D83}"/>
              </a:ext>
            </a:extLst>
          </p:cNvPr>
          <p:cNvSpPr txBox="1"/>
          <p:nvPr/>
        </p:nvSpPr>
        <p:spPr>
          <a:xfrm>
            <a:off x="7570939" y="5749830"/>
            <a:ext cx="2818657" cy="206851"/>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icrosoft Sans Serif" panose="020B0604020202020204" pitchFamily="34" charset="0"/>
              </a:rPr>
              <a:t>More to be announced later in 2025 !</a:t>
            </a:r>
          </a:p>
        </p:txBody>
      </p:sp>
      <p:pic>
        <p:nvPicPr>
          <p:cNvPr id="2050" name="Picture 2" descr="Fast Charging Android Smartphone with Low Light Camera | motorola edge -  2024 | motorola US - Motorola">
            <a:extLst>
              <a:ext uri="{FF2B5EF4-FFF2-40B4-BE49-F238E27FC236}">
                <a16:creationId xmlns:a16="http://schemas.microsoft.com/office/drawing/2014/main" id="{6D1C0EEC-A0A9-80AF-A290-A057D1E603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1828" y="5017582"/>
            <a:ext cx="1447627" cy="144762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The new large screen flip phone | motorola razr | motorola US - Motorola">
            <a:extLst>
              <a:ext uri="{FF2B5EF4-FFF2-40B4-BE49-F238E27FC236}">
                <a16:creationId xmlns:a16="http://schemas.microsoft.com/office/drawing/2014/main" id="{DE623BF3-0A15-D6B9-0B92-606DB02666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1380" y="5026017"/>
            <a:ext cx="1447627" cy="144762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i 13">
            <a:extLst>
              <a:ext uri="{FF2B5EF4-FFF2-40B4-BE49-F238E27FC236}">
                <a16:creationId xmlns:a16="http://schemas.microsoft.com/office/drawing/2014/main" id="{2726B598-84FA-02D1-5959-DA624C404A2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06713" y="4879339"/>
            <a:ext cx="1629307" cy="162930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OnePlus 10T (5G) - Clove Technology">
            <a:extLst>
              <a:ext uri="{FF2B5EF4-FFF2-40B4-BE49-F238E27FC236}">
                <a16:creationId xmlns:a16="http://schemas.microsoft.com/office/drawing/2014/main" id="{3F1639C1-B822-9F48-FB01-6D4EFACB8EE8}"/>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7846" y="5073806"/>
            <a:ext cx="1335181" cy="1335181"/>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6">
            <a:extLst>
              <a:ext uri="{FF2B5EF4-FFF2-40B4-BE49-F238E27FC236}">
                <a16:creationId xmlns:a16="http://schemas.microsoft.com/office/drawing/2014/main" id="{28D73361-2463-F8BE-00FD-BE33C235F11A}"/>
              </a:ext>
            </a:extLst>
          </p:cNvPr>
          <p:cNvSpPr>
            <a:spLocks noGrp="1"/>
          </p:cNvSpPr>
          <p:nvPr>
            <p:ph type="ftr" sz="quarter" idx="10"/>
          </p:nvPr>
        </p:nvSpPr>
        <p:spPr/>
        <p:txBody>
          <a:bodyPr/>
          <a:lstStyle/>
          <a:p>
            <a:r>
              <a:rPr lang="en-CA"/>
              <a:t>5G Broadcast Conference</a:t>
            </a:r>
          </a:p>
        </p:txBody>
      </p:sp>
    </p:spTree>
    <p:extLst>
      <p:ext uri="{BB962C8B-B14F-4D97-AF65-F5344CB8AC3E}">
        <p14:creationId xmlns:p14="http://schemas.microsoft.com/office/powerpoint/2010/main" val="155512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8CA96-9CC8-F0B1-05E9-09A291F92F58}"/>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86113336-DFC4-98A5-E9D3-B2791B3A4C1A}"/>
              </a:ext>
            </a:extLst>
          </p:cNvPr>
          <p:cNvSpPr>
            <a:spLocks noGrp="1"/>
          </p:cNvSpPr>
          <p:nvPr>
            <p:ph type="title"/>
          </p:nvPr>
        </p:nvSpPr>
        <p:spPr>
          <a:xfrm>
            <a:off x="495298" y="2484723"/>
            <a:ext cx="8829675" cy="1445909"/>
          </a:xfrm>
        </p:spPr>
        <p:txBody>
          <a:bodyPr/>
          <a:lstStyle/>
          <a:p>
            <a:r>
              <a:rPr lang="en-US" dirty="0"/>
              <a:t>Standardization and Technology updates</a:t>
            </a:r>
          </a:p>
        </p:txBody>
      </p:sp>
    </p:spTree>
    <p:extLst>
      <p:ext uri="{BB962C8B-B14F-4D97-AF65-F5344CB8AC3E}">
        <p14:creationId xmlns:p14="http://schemas.microsoft.com/office/powerpoint/2010/main" val="3486338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C6B0D-A2CE-033C-9783-70A142305EEC}"/>
            </a:ext>
          </a:extLst>
        </p:cNvPr>
        <p:cNvGrpSpPr/>
        <p:nvPr/>
      </p:nvGrpSpPr>
      <p:grpSpPr>
        <a:xfrm>
          <a:off x="0" y="0"/>
          <a:ext cx="0" cy="0"/>
          <a:chOff x="0" y="0"/>
          <a:chExt cx="0" cy="0"/>
        </a:xfrm>
      </p:grpSpPr>
      <p:sp>
        <p:nvSpPr>
          <p:cNvPr id="36" name="Rectangle 35">
            <a:extLst>
              <a:ext uri="{FF2B5EF4-FFF2-40B4-BE49-F238E27FC236}">
                <a16:creationId xmlns:a16="http://schemas.microsoft.com/office/drawing/2014/main" id="{8488C5B9-5EE8-A072-BE03-337C4995E264}"/>
              </a:ext>
            </a:extLst>
          </p:cNvPr>
          <p:cNvSpPr/>
          <p:nvPr/>
        </p:nvSpPr>
        <p:spPr>
          <a:xfrm>
            <a:off x="7968259" y="1046548"/>
            <a:ext cx="3719558" cy="3721280"/>
          </a:xfrm>
          <a:prstGeom prst="rect">
            <a:avLst/>
          </a:prstGeom>
          <a:solidFill>
            <a:srgbClr val="FFFFFF"/>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35" name="Rectangle 34">
            <a:extLst>
              <a:ext uri="{FF2B5EF4-FFF2-40B4-BE49-F238E27FC236}">
                <a16:creationId xmlns:a16="http://schemas.microsoft.com/office/drawing/2014/main" id="{5165E8E9-6F8D-EFB6-6749-A16F8EE2E929}"/>
              </a:ext>
            </a:extLst>
          </p:cNvPr>
          <p:cNvSpPr/>
          <p:nvPr/>
        </p:nvSpPr>
        <p:spPr>
          <a:xfrm>
            <a:off x="3962436" y="1046548"/>
            <a:ext cx="3719558" cy="3721280"/>
          </a:xfrm>
          <a:prstGeom prst="rect">
            <a:avLst/>
          </a:prstGeom>
          <a:solidFill>
            <a:srgbClr val="FFFFFF"/>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2" name="Footer Placeholder 1">
            <a:extLst>
              <a:ext uri="{FF2B5EF4-FFF2-40B4-BE49-F238E27FC236}">
                <a16:creationId xmlns:a16="http://schemas.microsoft.com/office/drawing/2014/main" id="{52ACC895-5EC1-7FFD-9862-E1569B20F885}"/>
              </a:ext>
            </a:extLst>
          </p:cNvPr>
          <p:cNvSpPr>
            <a:spLocks noGrp="1"/>
          </p:cNvSpPr>
          <p:nvPr>
            <p:ph type="ftr" sz="quarter" idx="16"/>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40000"/>
                    <a:lumOff val="60000"/>
                  </a:srgbClr>
                </a:solidFill>
                <a:effectLst/>
                <a:uLnTx/>
                <a:uFillTx/>
                <a:latin typeface="Microsoft Sans Serif"/>
                <a:ea typeface="+mn-ea"/>
                <a:cs typeface="+mn-cs"/>
              </a:rPr>
              <a:t>5G Broadcast Conference</a:t>
            </a:r>
          </a:p>
        </p:txBody>
      </p:sp>
      <p:sp>
        <p:nvSpPr>
          <p:cNvPr id="6" name="Title 2">
            <a:extLst>
              <a:ext uri="{FF2B5EF4-FFF2-40B4-BE49-F238E27FC236}">
                <a16:creationId xmlns:a16="http://schemas.microsoft.com/office/drawing/2014/main" id="{085B870C-D277-8CCB-ECC0-625681660229}"/>
              </a:ext>
            </a:extLst>
          </p:cNvPr>
          <p:cNvSpPr txBox="1">
            <a:spLocks/>
          </p:cNvSpPr>
          <p:nvPr/>
        </p:nvSpPr>
        <p:spPr bwMode="gray">
          <a:xfrm>
            <a:off x="495300" y="2090172"/>
            <a:ext cx="3211513" cy="2677656"/>
          </a:xfrm>
          <a:prstGeom prst="rect">
            <a:avLst/>
          </a:prstGeom>
        </p:spPr>
        <p:txBody>
          <a:bodyPr vert="horz" wrap="square" lIns="0" tIns="0" rIns="0" bIns="0" rtlCol="0" anchor="ctr" anchorCtr="0">
            <a:spAutoFit/>
          </a:bodyPr>
          <a:lstStyle>
            <a:lvl1pPr algn="l" defTabSz="914400" rtl="0" eaLnBrk="1" latinLnBrk="0" hangingPunct="1">
              <a:lnSpc>
                <a:spcPct val="87000"/>
              </a:lnSpc>
              <a:spcBef>
                <a:spcPct val="0"/>
              </a:spcBef>
              <a:buNone/>
              <a:defRPr sz="5400" kern="1200" baseline="0">
                <a:solidFill>
                  <a:schemeClr val="bg1"/>
                </a:solidFill>
                <a:latin typeface="+mj-lt"/>
                <a:ea typeface="+mj-ea"/>
                <a:cs typeface="+mj-cs"/>
              </a:defRPr>
            </a:lvl1pPr>
          </a:lstStyle>
          <a:p>
            <a:pPr marL="0" marR="0" lvl="0" indent="0" algn="l" defTabSz="914400" rtl="0" eaLnBrk="1" fontAlgn="auto" latinLnBrk="0" hangingPunct="1">
              <a:lnSpc>
                <a:spcPct val="87000"/>
              </a:lnSpc>
              <a:spcBef>
                <a:spcPct val="0"/>
              </a:spcBef>
              <a:spcAft>
                <a:spcPts val="0"/>
              </a:spcAft>
              <a:buClrTx/>
              <a:buSzTx/>
              <a:buFontTx/>
              <a:buNone/>
              <a:tabLst/>
              <a:defRPr/>
            </a:pPr>
            <a:r>
              <a:rPr kumimoji="0" lang="en-US" sz="4000" b="0" i="0" u="none" strike="noStrike" kern="1200" cap="none" spc="0" normalizeH="0" baseline="0" noProof="0">
                <a:ln>
                  <a:noFill/>
                </a:ln>
                <a:solidFill>
                  <a:srgbClr val="F7F8FA"/>
                </a:solidFill>
                <a:effectLst/>
                <a:uLnTx/>
                <a:uFillTx/>
                <a:latin typeface="Microsoft Sans Serif"/>
                <a:ea typeface="+mj-ea"/>
                <a:cs typeface="+mj-cs"/>
              </a:rPr>
              <a:t>For more information on 5G broadcast standards…</a:t>
            </a:r>
          </a:p>
        </p:txBody>
      </p:sp>
      <p:pic>
        <p:nvPicPr>
          <p:cNvPr id="23" name="Picture 22">
            <a:extLst>
              <a:ext uri="{FF2B5EF4-FFF2-40B4-BE49-F238E27FC236}">
                <a16:creationId xmlns:a16="http://schemas.microsoft.com/office/drawing/2014/main" id="{82CDE0C2-08B5-0243-170E-CBE9D69FE807}"/>
              </a:ext>
            </a:extLst>
          </p:cNvPr>
          <p:cNvPicPr>
            <a:picLocks noChangeAspect="1"/>
          </p:cNvPicPr>
          <p:nvPr/>
        </p:nvPicPr>
        <p:blipFill>
          <a:blip r:embed="rId2"/>
          <a:stretch>
            <a:fillRect/>
          </a:stretch>
        </p:blipFill>
        <p:spPr>
          <a:xfrm>
            <a:off x="4361023" y="1117880"/>
            <a:ext cx="2922384" cy="3578616"/>
          </a:xfrm>
          <a:prstGeom prst="rect">
            <a:avLst/>
          </a:prstGeom>
          <a:ln>
            <a:noFill/>
          </a:ln>
        </p:spPr>
      </p:pic>
      <p:pic>
        <p:nvPicPr>
          <p:cNvPr id="24" name="Picture 23">
            <a:extLst>
              <a:ext uri="{FF2B5EF4-FFF2-40B4-BE49-F238E27FC236}">
                <a16:creationId xmlns:a16="http://schemas.microsoft.com/office/drawing/2014/main" id="{83B0554E-C765-72F3-DB66-6A7CA7CC8BD0}"/>
              </a:ext>
            </a:extLst>
          </p:cNvPr>
          <p:cNvPicPr>
            <a:picLocks noChangeAspect="1"/>
          </p:cNvPicPr>
          <p:nvPr/>
        </p:nvPicPr>
        <p:blipFill rotWithShape="1">
          <a:blip r:embed="rId3"/>
          <a:stretch/>
        </p:blipFill>
        <p:spPr>
          <a:xfrm>
            <a:off x="8074069" y="1296470"/>
            <a:ext cx="3507938" cy="2883644"/>
          </a:xfrm>
          <a:prstGeom prst="rect">
            <a:avLst/>
          </a:prstGeom>
        </p:spPr>
      </p:pic>
      <p:sp>
        <p:nvSpPr>
          <p:cNvPr id="26" name="Rectangle 25">
            <a:extLst>
              <a:ext uri="{FF2B5EF4-FFF2-40B4-BE49-F238E27FC236}">
                <a16:creationId xmlns:a16="http://schemas.microsoft.com/office/drawing/2014/main" id="{AD5BE93B-6610-0856-C1BC-2C7CD5528A63}"/>
              </a:ext>
            </a:extLst>
          </p:cNvPr>
          <p:cNvSpPr/>
          <p:nvPr/>
        </p:nvSpPr>
        <p:spPr>
          <a:xfrm>
            <a:off x="3962436" y="372517"/>
            <a:ext cx="3210187" cy="5816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4"/>
              </a:rPr>
              <a:t>ETSI TS 103 720</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Profile of 3GPP specification containing the necessary parts to deploy 5G broadcast</a:t>
            </a:r>
          </a:p>
        </p:txBody>
      </p:sp>
      <p:sp>
        <p:nvSpPr>
          <p:cNvPr id="27" name="Rectangle 26">
            <a:extLst>
              <a:ext uri="{FF2B5EF4-FFF2-40B4-BE49-F238E27FC236}">
                <a16:creationId xmlns:a16="http://schemas.microsoft.com/office/drawing/2014/main" id="{5705D0F9-92EB-6963-6631-011BCD473E54}"/>
              </a:ext>
            </a:extLst>
          </p:cNvPr>
          <p:cNvSpPr/>
          <p:nvPr/>
        </p:nvSpPr>
        <p:spPr>
          <a:xfrm>
            <a:off x="7968259" y="372517"/>
            <a:ext cx="3210187" cy="5816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5"/>
              </a:rPr>
              <a:t>TR 36.976</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Overall description</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of enhanced TV (</a:t>
            </a:r>
            <a:r>
              <a:rPr kumimoji="0" lang="en-US" sz="1400" b="0" i="0" u="none" strike="noStrike" kern="1200" cap="none" spc="0" normalizeH="0" baseline="0" noProof="0" err="1">
                <a:ln>
                  <a:noFill/>
                </a:ln>
                <a:solidFill>
                  <a:srgbClr val="13171F"/>
                </a:solidFill>
                <a:effectLst/>
                <a:uLnTx/>
                <a:uFillTx/>
                <a:latin typeface="Microsoft Sans Serif"/>
                <a:ea typeface="+mn-ea"/>
                <a:cs typeface="+mn-cs"/>
              </a:rPr>
              <a:t>enTV</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for</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5G broadcast</a:t>
            </a:r>
          </a:p>
        </p:txBody>
      </p:sp>
      <p:grpSp>
        <p:nvGrpSpPr>
          <p:cNvPr id="33" name="Group 32">
            <a:extLst>
              <a:ext uri="{FF2B5EF4-FFF2-40B4-BE49-F238E27FC236}">
                <a16:creationId xmlns:a16="http://schemas.microsoft.com/office/drawing/2014/main" id="{2C0BB6F5-CD30-6E47-ADDC-927F98C63E31}"/>
              </a:ext>
            </a:extLst>
          </p:cNvPr>
          <p:cNvGrpSpPr/>
          <p:nvPr/>
        </p:nvGrpSpPr>
        <p:grpSpPr>
          <a:xfrm>
            <a:off x="5784112" y="5094747"/>
            <a:ext cx="5912588" cy="1265879"/>
            <a:chOff x="3962436" y="4767828"/>
            <a:chExt cx="5973161" cy="1278847"/>
          </a:xfrm>
        </p:grpSpPr>
        <p:pic>
          <p:nvPicPr>
            <p:cNvPr id="28" name="Picture 27">
              <a:extLst>
                <a:ext uri="{FF2B5EF4-FFF2-40B4-BE49-F238E27FC236}">
                  <a16:creationId xmlns:a16="http://schemas.microsoft.com/office/drawing/2014/main" id="{896C72C9-FB84-8872-64D5-A0F7076B012A}"/>
                </a:ext>
              </a:extLst>
            </p:cNvPr>
            <p:cNvPicPr>
              <a:picLocks noChangeAspect="1"/>
            </p:cNvPicPr>
            <p:nvPr/>
          </p:nvPicPr>
          <p:blipFill>
            <a:blip r:embed="rId6"/>
            <a:stretch>
              <a:fillRect/>
            </a:stretch>
          </p:blipFill>
          <p:spPr>
            <a:xfrm>
              <a:off x="3962436" y="4767828"/>
              <a:ext cx="1876891" cy="1278847"/>
            </a:xfrm>
            <a:prstGeom prst="rect">
              <a:avLst/>
            </a:prstGeom>
            <a:ln>
              <a:solidFill>
                <a:schemeClr val="tx1"/>
              </a:solidFill>
            </a:ln>
          </p:spPr>
        </p:pic>
        <p:pic>
          <p:nvPicPr>
            <p:cNvPr id="29" name="Picture 28">
              <a:extLst>
                <a:ext uri="{FF2B5EF4-FFF2-40B4-BE49-F238E27FC236}">
                  <a16:creationId xmlns:a16="http://schemas.microsoft.com/office/drawing/2014/main" id="{E05982F1-2DE3-1226-D416-85E52C1D6EA4}"/>
                </a:ext>
              </a:extLst>
            </p:cNvPr>
            <p:cNvPicPr>
              <a:picLocks noChangeAspect="1"/>
            </p:cNvPicPr>
            <p:nvPr/>
          </p:nvPicPr>
          <p:blipFill>
            <a:blip r:embed="rId7"/>
            <a:stretch>
              <a:fillRect/>
            </a:stretch>
          </p:blipFill>
          <p:spPr>
            <a:xfrm>
              <a:off x="5961357" y="4767828"/>
              <a:ext cx="1926105" cy="1278846"/>
            </a:xfrm>
            <a:prstGeom prst="rect">
              <a:avLst/>
            </a:prstGeom>
            <a:ln>
              <a:solidFill>
                <a:schemeClr val="tx1"/>
              </a:solidFill>
            </a:ln>
          </p:spPr>
        </p:pic>
        <p:pic>
          <p:nvPicPr>
            <p:cNvPr id="30" name="Picture 29">
              <a:extLst>
                <a:ext uri="{FF2B5EF4-FFF2-40B4-BE49-F238E27FC236}">
                  <a16:creationId xmlns:a16="http://schemas.microsoft.com/office/drawing/2014/main" id="{EC6CC178-26AA-0A6A-014D-FB952316306F}"/>
                </a:ext>
              </a:extLst>
            </p:cNvPr>
            <p:cNvPicPr>
              <a:picLocks noChangeAspect="1"/>
            </p:cNvPicPr>
            <p:nvPr/>
          </p:nvPicPr>
          <p:blipFill>
            <a:blip r:embed="rId8"/>
            <a:stretch>
              <a:fillRect/>
            </a:stretch>
          </p:blipFill>
          <p:spPr>
            <a:xfrm>
              <a:off x="8009492" y="4767828"/>
              <a:ext cx="1926105" cy="1276696"/>
            </a:xfrm>
            <a:prstGeom prst="rect">
              <a:avLst/>
            </a:prstGeom>
            <a:ln>
              <a:solidFill>
                <a:schemeClr val="tx1"/>
              </a:solidFill>
            </a:ln>
          </p:spPr>
        </p:pic>
      </p:grpSp>
      <p:sp>
        <p:nvSpPr>
          <p:cNvPr id="32" name="Rectangle 31">
            <a:extLst>
              <a:ext uri="{FF2B5EF4-FFF2-40B4-BE49-F238E27FC236}">
                <a16:creationId xmlns:a16="http://schemas.microsoft.com/office/drawing/2014/main" id="{7F250FA5-B894-0D7A-9CF0-A67E9AEA334E}"/>
              </a:ext>
            </a:extLst>
          </p:cNvPr>
          <p:cNvSpPr/>
          <p:nvPr/>
        </p:nvSpPr>
        <p:spPr>
          <a:xfrm>
            <a:off x="3976807" y="5145989"/>
            <a:ext cx="2014972" cy="1163395"/>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rPr>
              <a:t>Various specifications</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of 5G PHY supporting broadcast together</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with unicast in TS </a:t>
            </a: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9"/>
              </a:rPr>
              <a:t>36.211</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a:t>
            </a: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10"/>
              </a:rPr>
              <a:t>36.212</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11"/>
              </a:rPr>
              <a:t>36.213</a:t>
            </a:r>
            <a:endParaRPr kumimoji="0" lang="en-US" sz="1400" b="0" i="0" u="none" strike="noStrike" kern="1200" cap="none" spc="0" normalizeH="0" baseline="0" noProof="0">
              <a:ln>
                <a:noFill/>
              </a:ln>
              <a:solidFill>
                <a:srgbClr val="13171F"/>
              </a:solidFill>
              <a:effectLst/>
              <a:uLnTx/>
              <a:uFillTx/>
              <a:latin typeface="Microsoft Sans Serif"/>
              <a:ea typeface="+mn-ea"/>
              <a:cs typeface="+mn-cs"/>
            </a:endParaRPr>
          </a:p>
        </p:txBody>
      </p:sp>
      <p:grpSp>
        <p:nvGrpSpPr>
          <p:cNvPr id="42" name="Group 41">
            <a:extLst>
              <a:ext uri="{FF2B5EF4-FFF2-40B4-BE49-F238E27FC236}">
                <a16:creationId xmlns:a16="http://schemas.microsoft.com/office/drawing/2014/main" id="{8F916967-C89E-34FF-FCB2-9DB7EB337A12}"/>
              </a:ext>
            </a:extLst>
          </p:cNvPr>
          <p:cNvGrpSpPr>
            <a:grpSpLocks noChangeAspect="1"/>
          </p:cNvGrpSpPr>
          <p:nvPr/>
        </p:nvGrpSpPr>
        <p:grpSpPr>
          <a:xfrm>
            <a:off x="504183" y="571500"/>
            <a:ext cx="772259" cy="914400"/>
            <a:chOff x="1339675" y="3217863"/>
            <a:chExt cx="930450" cy="1101707"/>
          </a:xfrm>
        </p:grpSpPr>
        <p:grpSp>
          <p:nvGrpSpPr>
            <p:cNvPr id="43" name="Group 42">
              <a:extLst>
                <a:ext uri="{FF2B5EF4-FFF2-40B4-BE49-F238E27FC236}">
                  <a16:creationId xmlns:a16="http://schemas.microsoft.com/office/drawing/2014/main" id="{80335BC8-0A91-219C-B8EE-D02206A14317}"/>
                </a:ext>
              </a:extLst>
            </p:cNvPr>
            <p:cNvGrpSpPr/>
            <p:nvPr/>
          </p:nvGrpSpPr>
          <p:grpSpPr>
            <a:xfrm>
              <a:off x="1339701" y="3217863"/>
              <a:ext cx="930424" cy="1101706"/>
              <a:chOff x="1339701" y="3217863"/>
              <a:chExt cx="930424" cy="1101706"/>
            </a:xfrm>
          </p:grpSpPr>
          <p:sp>
            <p:nvSpPr>
              <p:cNvPr id="45" name="Rectangle: Rounded Corners 44">
                <a:extLst>
                  <a:ext uri="{FF2B5EF4-FFF2-40B4-BE49-F238E27FC236}">
                    <a16:creationId xmlns:a16="http://schemas.microsoft.com/office/drawing/2014/main" id="{96FBC1F9-1349-C849-C16E-7E7BE244806A}"/>
                  </a:ext>
                </a:extLst>
              </p:cNvPr>
              <p:cNvSpPr/>
              <p:nvPr/>
            </p:nvSpPr>
            <p:spPr>
              <a:xfrm>
                <a:off x="1339701" y="4132675"/>
                <a:ext cx="919521" cy="186894"/>
              </a:xfrm>
              <a:prstGeom prst="roundRect">
                <a:avLst>
                  <a:gd name="adj" fmla="val 9743"/>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6" name="Freeform 5">
                <a:extLst>
                  <a:ext uri="{FF2B5EF4-FFF2-40B4-BE49-F238E27FC236}">
                    <a16:creationId xmlns:a16="http://schemas.microsoft.com/office/drawing/2014/main" id="{04602A0A-BA08-B8BA-6C8A-6BA246563B52}"/>
                  </a:ext>
                </a:extLst>
              </p:cNvPr>
              <p:cNvSpPr>
                <a:spLocks noEditPoints="1"/>
              </p:cNvSpPr>
              <p:nvPr/>
            </p:nvSpPr>
            <p:spPr bwMode="auto">
              <a:xfrm>
                <a:off x="1341438" y="3217863"/>
                <a:ext cx="928687" cy="881062"/>
              </a:xfrm>
              <a:custGeom>
                <a:avLst/>
                <a:gdLst>
                  <a:gd name="T0" fmla="*/ 4047 w 4086"/>
                  <a:gd name="T1" fmla="*/ 3736 h 3892"/>
                  <a:gd name="T2" fmla="*/ 187 w 4086"/>
                  <a:gd name="T3" fmla="*/ 43 h 3892"/>
                  <a:gd name="T4" fmla="*/ 47 w 4086"/>
                  <a:gd name="T5" fmla="*/ 35 h 3892"/>
                  <a:gd name="T6" fmla="*/ 0 w 4086"/>
                  <a:gd name="T7" fmla="*/ 124 h 3892"/>
                  <a:gd name="T8" fmla="*/ 0 w 4086"/>
                  <a:gd name="T9" fmla="*/ 3783 h 3892"/>
                  <a:gd name="T10" fmla="*/ 109 w 4086"/>
                  <a:gd name="T11" fmla="*/ 3892 h 3892"/>
                  <a:gd name="T12" fmla="*/ 3980 w 4086"/>
                  <a:gd name="T13" fmla="*/ 3892 h 3892"/>
                  <a:gd name="T14" fmla="*/ 4059 w 4086"/>
                  <a:gd name="T15" fmla="*/ 3853 h 3892"/>
                  <a:gd name="T16" fmla="*/ 4047 w 4086"/>
                  <a:gd name="T17" fmla="*/ 3736 h 3892"/>
                  <a:gd name="T18" fmla="*/ 2328 w 4086"/>
                  <a:gd name="T19" fmla="*/ 3132 h 3892"/>
                  <a:gd name="T20" fmla="*/ 807 w 4086"/>
                  <a:gd name="T21" fmla="*/ 3132 h 3892"/>
                  <a:gd name="T22" fmla="*/ 721 w 4086"/>
                  <a:gd name="T23" fmla="*/ 3050 h 3892"/>
                  <a:gd name="T24" fmla="*/ 721 w 4086"/>
                  <a:gd name="T25" fmla="*/ 1552 h 3892"/>
                  <a:gd name="T26" fmla="*/ 753 w 4086"/>
                  <a:gd name="T27" fmla="*/ 1538 h 3892"/>
                  <a:gd name="T28" fmla="*/ 2341 w 4086"/>
                  <a:gd name="T29" fmla="*/ 3099 h 3892"/>
                  <a:gd name="T30" fmla="*/ 2328 w 4086"/>
                  <a:gd name="T31" fmla="*/ 3132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6" h="3892">
                    <a:moveTo>
                      <a:pt x="4047" y="3736"/>
                    </a:moveTo>
                    <a:cubicBezTo>
                      <a:pt x="187" y="43"/>
                      <a:pt x="187" y="43"/>
                      <a:pt x="187" y="43"/>
                    </a:cubicBezTo>
                    <a:cubicBezTo>
                      <a:pt x="148" y="7"/>
                      <a:pt x="90" y="0"/>
                      <a:pt x="47" y="35"/>
                    </a:cubicBezTo>
                    <a:cubicBezTo>
                      <a:pt x="15" y="54"/>
                      <a:pt x="0" y="89"/>
                      <a:pt x="0" y="124"/>
                    </a:cubicBezTo>
                    <a:cubicBezTo>
                      <a:pt x="0" y="3783"/>
                      <a:pt x="0" y="3783"/>
                      <a:pt x="0" y="3783"/>
                    </a:cubicBezTo>
                    <a:cubicBezTo>
                      <a:pt x="0" y="3841"/>
                      <a:pt x="51" y="3892"/>
                      <a:pt x="109" y="3892"/>
                    </a:cubicBezTo>
                    <a:cubicBezTo>
                      <a:pt x="3980" y="3892"/>
                      <a:pt x="3980" y="3892"/>
                      <a:pt x="3980" y="3892"/>
                    </a:cubicBezTo>
                    <a:cubicBezTo>
                      <a:pt x="4012" y="3892"/>
                      <a:pt x="4039" y="3876"/>
                      <a:pt x="4059" y="3853"/>
                    </a:cubicBezTo>
                    <a:cubicBezTo>
                      <a:pt x="4086" y="3814"/>
                      <a:pt x="4078" y="3763"/>
                      <a:pt x="4047" y="3736"/>
                    </a:cubicBezTo>
                    <a:close/>
                    <a:moveTo>
                      <a:pt x="2328" y="3132"/>
                    </a:moveTo>
                    <a:cubicBezTo>
                      <a:pt x="807" y="3132"/>
                      <a:pt x="807" y="3132"/>
                      <a:pt x="807" y="3132"/>
                    </a:cubicBezTo>
                    <a:cubicBezTo>
                      <a:pt x="760" y="3132"/>
                      <a:pt x="721" y="3093"/>
                      <a:pt x="721" y="3050"/>
                    </a:cubicBezTo>
                    <a:cubicBezTo>
                      <a:pt x="721" y="1552"/>
                      <a:pt x="721" y="1552"/>
                      <a:pt x="721" y="1552"/>
                    </a:cubicBezTo>
                    <a:cubicBezTo>
                      <a:pt x="721" y="1535"/>
                      <a:pt x="741" y="1526"/>
                      <a:pt x="753" y="1538"/>
                    </a:cubicBezTo>
                    <a:cubicBezTo>
                      <a:pt x="2341" y="3099"/>
                      <a:pt x="2341" y="3099"/>
                      <a:pt x="2341" y="3099"/>
                    </a:cubicBezTo>
                    <a:cubicBezTo>
                      <a:pt x="2353" y="3111"/>
                      <a:pt x="2345" y="3132"/>
                      <a:pt x="2328" y="3132"/>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sp>
          <p:nvSpPr>
            <p:cNvPr id="44" name="Freeform: Shape 43">
              <a:extLst>
                <a:ext uri="{FF2B5EF4-FFF2-40B4-BE49-F238E27FC236}">
                  <a16:creationId xmlns:a16="http://schemas.microsoft.com/office/drawing/2014/main" id="{C06A55CA-703B-656C-55F3-CA402AE2348F}"/>
                </a:ext>
              </a:extLst>
            </p:cNvPr>
            <p:cNvSpPr/>
            <p:nvPr/>
          </p:nvSpPr>
          <p:spPr>
            <a:xfrm>
              <a:off x="1339675" y="4132676"/>
              <a:ext cx="919547" cy="186894"/>
            </a:xfrm>
            <a:custGeom>
              <a:avLst/>
              <a:gdLst>
                <a:gd name="connsiteX0" fmla="*/ 2207645 w 2249488"/>
                <a:gd name="connsiteY0" fmla="*/ 456054 h 457200"/>
                <a:gd name="connsiteX1" fmla="*/ 2204879 w 2249488"/>
                <a:gd name="connsiteY1" fmla="*/ 457200 h 457200"/>
                <a:gd name="connsiteX2" fmla="*/ 2202085 w 2249488"/>
                <a:gd name="connsiteY2" fmla="*/ 457200 h 457200"/>
                <a:gd name="connsiteX3" fmla="*/ 41716 w 2249488"/>
                <a:gd name="connsiteY3" fmla="*/ 456028 h 457200"/>
                <a:gd name="connsiteX4" fmla="*/ 47403 w 2249488"/>
                <a:gd name="connsiteY4" fmla="*/ 457200 h 457200"/>
                <a:gd name="connsiteX5" fmla="*/ 44545 w 2249488"/>
                <a:gd name="connsiteY5" fmla="*/ 457200 h 457200"/>
                <a:gd name="connsiteX6" fmla="*/ 19170 w 2249488"/>
                <a:gd name="connsiteY6" fmla="*/ 446690 h 457200"/>
                <a:gd name="connsiteX7" fmla="*/ 41716 w 2249488"/>
                <a:gd name="connsiteY7" fmla="*/ 456028 h 457200"/>
                <a:gd name="connsiteX8" fmla="*/ 29089 w 2249488"/>
                <a:gd name="connsiteY8" fmla="*/ 453426 h 457200"/>
                <a:gd name="connsiteX9" fmla="*/ 2230419 w 2249488"/>
                <a:gd name="connsiteY9" fmla="*/ 446622 h 457200"/>
                <a:gd name="connsiteX10" fmla="*/ 2220400 w 2249488"/>
                <a:gd name="connsiteY10" fmla="*/ 453426 h 457200"/>
                <a:gd name="connsiteX11" fmla="*/ 2207645 w 2249488"/>
                <a:gd name="connsiteY11" fmla="*/ 456054 h 457200"/>
                <a:gd name="connsiteX12" fmla="*/ 2249424 w 2249488"/>
                <a:gd name="connsiteY12" fmla="*/ 409907 h 457200"/>
                <a:gd name="connsiteX13" fmla="*/ 2249424 w 2249488"/>
                <a:gd name="connsiteY13" fmla="*/ 412655 h 457200"/>
                <a:gd name="connsiteX14" fmla="*/ 2236378 w 2249488"/>
                <a:gd name="connsiteY14" fmla="*/ 444153 h 457200"/>
                <a:gd name="connsiteX15" fmla="*/ 2230419 w 2249488"/>
                <a:gd name="connsiteY15" fmla="*/ 446622 h 457200"/>
                <a:gd name="connsiteX16" fmla="*/ 2235483 w 2249488"/>
                <a:gd name="connsiteY16" fmla="*/ 443182 h 457200"/>
                <a:gd name="connsiteX17" fmla="*/ 0 w 2249488"/>
                <a:gd name="connsiteY17" fmla="*/ 409755 h 457200"/>
                <a:gd name="connsiteX18" fmla="*/ 14006 w 2249488"/>
                <a:gd name="connsiteY18" fmla="*/ 443182 h 457200"/>
                <a:gd name="connsiteX19" fmla="*/ 19170 w 2249488"/>
                <a:gd name="connsiteY19" fmla="*/ 446690 h 457200"/>
                <a:gd name="connsiteX20" fmla="*/ 13047 w 2249488"/>
                <a:gd name="connsiteY20" fmla="*/ 444153 h 457200"/>
                <a:gd name="connsiteX21" fmla="*/ 0 w 2249488"/>
                <a:gd name="connsiteY21" fmla="*/ 412655 h 457200"/>
                <a:gd name="connsiteX22" fmla="*/ 1956451 w 2249488"/>
                <a:gd name="connsiteY22" fmla="*/ 342900 h 457200"/>
                <a:gd name="connsiteX23" fmla="*/ 1986617 w 2249488"/>
                <a:gd name="connsiteY23" fmla="*/ 368779 h 457200"/>
                <a:gd name="connsiteX24" fmla="*/ 1986617 w 2249488"/>
                <a:gd name="connsiteY24" fmla="*/ 457200 h 457200"/>
                <a:gd name="connsiteX25" fmla="*/ 1937059 w 2249488"/>
                <a:gd name="connsiteY25" fmla="*/ 457200 h 457200"/>
                <a:gd name="connsiteX26" fmla="*/ 1937059 w 2249488"/>
                <a:gd name="connsiteY26" fmla="*/ 368779 h 457200"/>
                <a:gd name="connsiteX27" fmla="*/ 1956451 w 2249488"/>
                <a:gd name="connsiteY27" fmla="*/ 342900 h 457200"/>
                <a:gd name="connsiteX28" fmla="*/ 1391925 w 2249488"/>
                <a:gd name="connsiteY28" fmla="*/ 342900 h 457200"/>
                <a:gd name="connsiteX29" fmla="*/ 1422090 w 2249488"/>
                <a:gd name="connsiteY29" fmla="*/ 368779 h 457200"/>
                <a:gd name="connsiteX30" fmla="*/ 1422090 w 2249488"/>
                <a:gd name="connsiteY30" fmla="*/ 457200 h 457200"/>
                <a:gd name="connsiteX31" fmla="*/ 1370378 w 2249488"/>
                <a:gd name="connsiteY31" fmla="*/ 457200 h 457200"/>
                <a:gd name="connsiteX32" fmla="*/ 1370378 w 2249488"/>
                <a:gd name="connsiteY32" fmla="*/ 368779 h 457200"/>
                <a:gd name="connsiteX33" fmla="*/ 1391925 w 2249488"/>
                <a:gd name="connsiteY33" fmla="*/ 342900 h 457200"/>
                <a:gd name="connsiteX34" fmla="*/ 825243 w 2249488"/>
                <a:gd name="connsiteY34" fmla="*/ 342900 h 457200"/>
                <a:gd name="connsiteX35" fmla="*/ 855409 w 2249488"/>
                <a:gd name="connsiteY35" fmla="*/ 368779 h 457200"/>
                <a:gd name="connsiteX36" fmla="*/ 855409 w 2249488"/>
                <a:gd name="connsiteY36" fmla="*/ 457200 h 457200"/>
                <a:gd name="connsiteX37" fmla="*/ 805851 w 2249488"/>
                <a:gd name="connsiteY37" fmla="*/ 457200 h 457200"/>
                <a:gd name="connsiteX38" fmla="*/ 805851 w 2249488"/>
                <a:gd name="connsiteY38" fmla="*/ 368779 h 457200"/>
                <a:gd name="connsiteX39" fmla="*/ 825243 w 2249488"/>
                <a:gd name="connsiteY39" fmla="*/ 342900 h 457200"/>
                <a:gd name="connsiteX40" fmla="*/ 258562 w 2249488"/>
                <a:gd name="connsiteY40" fmla="*/ 342900 h 457200"/>
                <a:gd name="connsiteX41" fmla="*/ 288728 w 2249488"/>
                <a:gd name="connsiteY41" fmla="*/ 368779 h 457200"/>
                <a:gd name="connsiteX42" fmla="*/ 288728 w 2249488"/>
                <a:gd name="connsiteY42" fmla="*/ 457200 h 457200"/>
                <a:gd name="connsiteX43" fmla="*/ 239170 w 2249488"/>
                <a:gd name="connsiteY43" fmla="*/ 457200 h 457200"/>
                <a:gd name="connsiteX44" fmla="*/ 239170 w 2249488"/>
                <a:gd name="connsiteY44" fmla="*/ 368779 h 457200"/>
                <a:gd name="connsiteX45" fmla="*/ 258562 w 2249488"/>
                <a:gd name="connsiteY45" fmla="*/ 342900 h 457200"/>
                <a:gd name="connsiteX46" fmla="*/ 1674188 w 2249488"/>
                <a:gd name="connsiteY46" fmla="*/ 228600 h 457200"/>
                <a:gd name="connsiteX47" fmla="*/ 1704354 w 2249488"/>
                <a:gd name="connsiteY47" fmla="*/ 254479 h 457200"/>
                <a:gd name="connsiteX48" fmla="*/ 1704354 w 2249488"/>
                <a:gd name="connsiteY48" fmla="*/ 457200 h 457200"/>
                <a:gd name="connsiteX49" fmla="*/ 1654796 w 2249488"/>
                <a:gd name="connsiteY49" fmla="*/ 457200 h 457200"/>
                <a:gd name="connsiteX50" fmla="*/ 1654796 w 2249488"/>
                <a:gd name="connsiteY50" fmla="*/ 254479 h 457200"/>
                <a:gd name="connsiteX51" fmla="*/ 1674188 w 2249488"/>
                <a:gd name="connsiteY51" fmla="*/ 228600 h 457200"/>
                <a:gd name="connsiteX52" fmla="*/ 1107507 w 2249488"/>
                <a:gd name="connsiteY52" fmla="*/ 228600 h 457200"/>
                <a:gd name="connsiteX53" fmla="*/ 1137672 w 2249488"/>
                <a:gd name="connsiteY53" fmla="*/ 254479 h 457200"/>
                <a:gd name="connsiteX54" fmla="*/ 1137672 w 2249488"/>
                <a:gd name="connsiteY54" fmla="*/ 457200 h 457200"/>
                <a:gd name="connsiteX55" fmla="*/ 1088115 w 2249488"/>
                <a:gd name="connsiteY55" fmla="*/ 457200 h 457200"/>
                <a:gd name="connsiteX56" fmla="*/ 1088115 w 2249488"/>
                <a:gd name="connsiteY56" fmla="*/ 254479 h 457200"/>
                <a:gd name="connsiteX57" fmla="*/ 1107507 w 2249488"/>
                <a:gd name="connsiteY57" fmla="*/ 228600 h 457200"/>
                <a:gd name="connsiteX58" fmla="*/ 542980 w 2249488"/>
                <a:gd name="connsiteY58" fmla="*/ 228600 h 457200"/>
                <a:gd name="connsiteX59" fmla="*/ 573146 w 2249488"/>
                <a:gd name="connsiteY59" fmla="*/ 254479 h 457200"/>
                <a:gd name="connsiteX60" fmla="*/ 573146 w 2249488"/>
                <a:gd name="connsiteY60" fmla="*/ 457200 h 457200"/>
                <a:gd name="connsiteX61" fmla="*/ 521433 w 2249488"/>
                <a:gd name="connsiteY61" fmla="*/ 457200 h 457200"/>
                <a:gd name="connsiteX62" fmla="*/ 521433 w 2249488"/>
                <a:gd name="connsiteY62" fmla="*/ 254479 h 457200"/>
                <a:gd name="connsiteX63" fmla="*/ 542980 w 2249488"/>
                <a:gd name="connsiteY63" fmla="*/ 228600 h 457200"/>
                <a:gd name="connsiteX64" fmla="*/ 2249424 w 2249488"/>
                <a:gd name="connsiteY64" fmla="*/ 47293 h 457200"/>
                <a:gd name="connsiteX65" fmla="*/ 2249488 w 2249488"/>
                <a:gd name="connsiteY65" fmla="*/ 47446 h 457200"/>
                <a:gd name="connsiteX66" fmla="*/ 2249488 w 2249488"/>
                <a:gd name="connsiteY66" fmla="*/ 409755 h 457200"/>
                <a:gd name="connsiteX67" fmla="*/ 2249424 w 2249488"/>
                <a:gd name="connsiteY67" fmla="*/ 409907 h 457200"/>
                <a:gd name="connsiteX68" fmla="*/ 2230419 w 2249488"/>
                <a:gd name="connsiteY68" fmla="*/ 10579 h 457200"/>
                <a:gd name="connsiteX69" fmla="*/ 2236378 w 2249488"/>
                <a:gd name="connsiteY69" fmla="*/ 13047 h 457200"/>
                <a:gd name="connsiteX70" fmla="*/ 2249424 w 2249488"/>
                <a:gd name="connsiteY70" fmla="*/ 44545 h 457200"/>
                <a:gd name="connsiteX71" fmla="*/ 2249424 w 2249488"/>
                <a:gd name="connsiteY71" fmla="*/ 47293 h 457200"/>
                <a:gd name="connsiteX72" fmla="*/ 2235483 w 2249488"/>
                <a:gd name="connsiteY72" fmla="*/ 14018 h 457200"/>
                <a:gd name="connsiteX73" fmla="*/ 19170 w 2249488"/>
                <a:gd name="connsiteY73" fmla="*/ 10511 h 457200"/>
                <a:gd name="connsiteX74" fmla="*/ 14006 w 2249488"/>
                <a:gd name="connsiteY74" fmla="*/ 14018 h 457200"/>
                <a:gd name="connsiteX75" fmla="*/ 0 w 2249488"/>
                <a:gd name="connsiteY75" fmla="*/ 47446 h 457200"/>
                <a:gd name="connsiteX76" fmla="*/ 0 w 2249488"/>
                <a:gd name="connsiteY76" fmla="*/ 44545 h 457200"/>
                <a:gd name="connsiteX77" fmla="*/ 13047 w 2249488"/>
                <a:gd name="connsiteY77" fmla="*/ 13047 h 457200"/>
                <a:gd name="connsiteX78" fmla="*/ 41716 w 2249488"/>
                <a:gd name="connsiteY78" fmla="*/ 1172 h 457200"/>
                <a:gd name="connsiteX79" fmla="*/ 19170 w 2249488"/>
                <a:gd name="connsiteY79" fmla="*/ 10511 h 457200"/>
                <a:gd name="connsiteX80" fmla="*/ 29089 w 2249488"/>
                <a:gd name="connsiteY80" fmla="*/ 3774 h 457200"/>
                <a:gd name="connsiteX81" fmla="*/ 2207645 w 2249488"/>
                <a:gd name="connsiteY81" fmla="*/ 1146 h 457200"/>
                <a:gd name="connsiteX82" fmla="*/ 2220400 w 2249488"/>
                <a:gd name="connsiteY82" fmla="*/ 3774 h 457200"/>
                <a:gd name="connsiteX83" fmla="*/ 2230419 w 2249488"/>
                <a:gd name="connsiteY83" fmla="*/ 10579 h 457200"/>
                <a:gd name="connsiteX84" fmla="*/ 2202085 w 2249488"/>
                <a:gd name="connsiteY84" fmla="*/ 0 h 457200"/>
                <a:gd name="connsiteX85" fmla="*/ 2204879 w 2249488"/>
                <a:gd name="connsiteY85" fmla="*/ 0 h 457200"/>
                <a:gd name="connsiteX86" fmla="*/ 2207645 w 2249488"/>
                <a:gd name="connsiteY86" fmla="*/ 1146 h 457200"/>
                <a:gd name="connsiteX87" fmla="*/ 44545 w 2249488"/>
                <a:gd name="connsiteY87" fmla="*/ 0 h 457200"/>
                <a:gd name="connsiteX88" fmla="*/ 47403 w 2249488"/>
                <a:gd name="connsiteY88" fmla="*/ 0 h 457200"/>
                <a:gd name="connsiteX89" fmla="*/ 41716 w 2249488"/>
                <a:gd name="connsiteY89" fmla="*/ 1172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249488" h="457200">
                  <a:moveTo>
                    <a:pt x="2207645" y="456054"/>
                  </a:moveTo>
                  <a:lnTo>
                    <a:pt x="2204879" y="457200"/>
                  </a:lnTo>
                  <a:lnTo>
                    <a:pt x="2202085" y="457200"/>
                  </a:lnTo>
                  <a:close/>
                  <a:moveTo>
                    <a:pt x="41716" y="456028"/>
                  </a:moveTo>
                  <a:lnTo>
                    <a:pt x="47403" y="457200"/>
                  </a:lnTo>
                  <a:lnTo>
                    <a:pt x="44545" y="457200"/>
                  </a:lnTo>
                  <a:close/>
                  <a:moveTo>
                    <a:pt x="19170" y="446690"/>
                  </a:moveTo>
                  <a:lnTo>
                    <a:pt x="41716" y="456028"/>
                  </a:lnTo>
                  <a:lnTo>
                    <a:pt x="29089" y="453426"/>
                  </a:lnTo>
                  <a:close/>
                  <a:moveTo>
                    <a:pt x="2230419" y="446622"/>
                  </a:moveTo>
                  <a:lnTo>
                    <a:pt x="2220400" y="453426"/>
                  </a:lnTo>
                  <a:lnTo>
                    <a:pt x="2207645" y="456054"/>
                  </a:lnTo>
                  <a:close/>
                  <a:moveTo>
                    <a:pt x="2249424" y="409907"/>
                  </a:moveTo>
                  <a:lnTo>
                    <a:pt x="2249424" y="412655"/>
                  </a:lnTo>
                  <a:cubicBezTo>
                    <a:pt x="2249424" y="424956"/>
                    <a:pt x="2244438" y="436092"/>
                    <a:pt x="2236378" y="444153"/>
                  </a:cubicBezTo>
                  <a:lnTo>
                    <a:pt x="2230419" y="446622"/>
                  </a:lnTo>
                  <a:lnTo>
                    <a:pt x="2235483" y="443182"/>
                  </a:lnTo>
                  <a:close/>
                  <a:moveTo>
                    <a:pt x="0" y="409755"/>
                  </a:moveTo>
                  <a:cubicBezTo>
                    <a:pt x="0" y="422694"/>
                    <a:pt x="5387" y="434556"/>
                    <a:pt x="14006" y="443182"/>
                  </a:cubicBezTo>
                  <a:lnTo>
                    <a:pt x="19170" y="446690"/>
                  </a:lnTo>
                  <a:lnTo>
                    <a:pt x="13047" y="444153"/>
                  </a:lnTo>
                  <a:cubicBezTo>
                    <a:pt x="4986" y="436092"/>
                    <a:pt x="0" y="424956"/>
                    <a:pt x="0" y="412655"/>
                  </a:cubicBezTo>
                  <a:close/>
                  <a:moveTo>
                    <a:pt x="1956451" y="342900"/>
                  </a:moveTo>
                  <a:cubicBezTo>
                    <a:pt x="1973689" y="340744"/>
                    <a:pt x="1986617" y="351527"/>
                    <a:pt x="1986617" y="368779"/>
                  </a:cubicBezTo>
                  <a:cubicBezTo>
                    <a:pt x="1986617" y="457200"/>
                    <a:pt x="1986617" y="457200"/>
                    <a:pt x="1986617" y="457200"/>
                  </a:cubicBezTo>
                  <a:lnTo>
                    <a:pt x="1937059" y="457200"/>
                  </a:lnTo>
                  <a:cubicBezTo>
                    <a:pt x="1937059" y="368779"/>
                    <a:pt x="1937059" y="368779"/>
                    <a:pt x="1937059" y="368779"/>
                  </a:cubicBezTo>
                  <a:cubicBezTo>
                    <a:pt x="1937059" y="355840"/>
                    <a:pt x="1945678" y="345057"/>
                    <a:pt x="1956451" y="342900"/>
                  </a:cubicBezTo>
                  <a:close/>
                  <a:moveTo>
                    <a:pt x="1391925" y="342900"/>
                  </a:moveTo>
                  <a:cubicBezTo>
                    <a:pt x="1407008" y="340744"/>
                    <a:pt x="1422090" y="351527"/>
                    <a:pt x="1422090" y="368779"/>
                  </a:cubicBezTo>
                  <a:cubicBezTo>
                    <a:pt x="1422090" y="457200"/>
                    <a:pt x="1422090" y="457200"/>
                    <a:pt x="1422090" y="457200"/>
                  </a:cubicBezTo>
                  <a:lnTo>
                    <a:pt x="1370378" y="457200"/>
                  </a:lnTo>
                  <a:cubicBezTo>
                    <a:pt x="1370378" y="368779"/>
                    <a:pt x="1370378" y="368779"/>
                    <a:pt x="1370378" y="368779"/>
                  </a:cubicBezTo>
                  <a:cubicBezTo>
                    <a:pt x="1370378" y="355840"/>
                    <a:pt x="1378997" y="345057"/>
                    <a:pt x="1391925" y="342900"/>
                  </a:cubicBezTo>
                  <a:close/>
                  <a:moveTo>
                    <a:pt x="825243" y="342900"/>
                  </a:moveTo>
                  <a:cubicBezTo>
                    <a:pt x="840326" y="340744"/>
                    <a:pt x="855409" y="351527"/>
                    <a:pt x="855409" y="368779"/>
                  </a:cubicBezTo>
                  <a:cubicBezTo>
                    <a:pt x="855409" y="457200"/>
                    <a:pt x="855409" y="457200"/>
                    <a:pt x="855409" y="457200"/>
                  </a:cubicBezTo>
                  <a:lnTo>
                    <a:pt x="805851" y="457200"/>
                  </a:lnTo>
                  <a:cubicBezTo>
                    <a:pt x="805851" y="368779"/>
                    <a:pt x="805851" y="368779"/>
                    <a:pt x="805851" y="368779"/>
                  </a:cubicBezTo>
                  <a:cubicBezTo>
                    <a:pt x="805851" y="355840"/>
                    <a:pt x="812315" y="345057"/>
                    <a:pt x="825243" y="342900"/>
                  </a:cubicBezTo>
                  <a:close/>
                  <a:moveTo>
                    <a:pt x="258562" y="342900"/>
                  </a:moveTo>
                  <a:cubicBezTo>
                    <a:pt x="275800" y="340744"/>
                    <a:pt x="288728" y="351527"/>
                    <a:pt x="288728" y="368779"/>
                  </a:cubicBezTo>
                  <a:cubicBezTo>
                    <a:pt x="288728" y="457200"/>
                    <a:pt x="288728" y="457200"/>
                    <a:pt x="288728" y="457200"/>
                  </a:cubicBezTo>
                  <a:lnTo>
                    <a:pt x="239170" y="457200"/>
                  </a:lnTo>
                  <a:cubicBezTo>
                    <a:pt x="239170" y="368779"/>
                    <a:pt x="239170" y="368779"/>
                    <a:pt x="239170" y="368779"/>
                  </a:cubicBezTo>
                  <a:cubicBezTo>
                    <a:pt x="239170" y="355840"/>
                    <a:pt x="247789" y="345057"/>
                    <a:pt x="258562" y="342900"/>
                  </a:cubicBezTo>
                  <a:close/>
                  <a:moveTo>
                    <a:pt x="1674188" y="228600"/>
                  </a:moveTo>
                  <a:cubicBezTo>
                    <a:pt x="1691426" y="226444"/>
                    <a:pt x="1704354" y="237227"/>
                    <a:pt x="1704354" y="254479"/>
                  </a:cubicBezTo>
                  <a:cubicBezTo>
                    <a:pt x="1704354" y="457200"/>
                    <a:pt x="1704354" y="457200"/>
                    <a:pt x="1704354" y="457200"/>
                  </a:cubicBezTo>
                  <a:lnTo>
                    <a:pt x="1654796" y="457200"/>
                  </a:lnTo>
                  <a:cubicBezTo>
                    <a:pt x="1654796" y="254479"/>
                    <a:pt x="1654796" y="254479"/>
                    <a:pt x="1654796" y="254479"/>
                  </a:cubicBezTo>
                  <a:cubicBezTo>
                    <a:pt x="1654796" y="241540"/>
                    <a:pt x="1663415" y="230757"/>
                    <a:pt x="1674188" y="228600"/>
                  </a:cubicBezTo>
                  <a:close/>
                  <a:moveTo>
                    <a:pt x="1107507" y="228600"/>
                  </a:moveTo>
                  <a:cubicBezTo>
                    <a:pt x="1124744" y="226444"/>
                    <a:pt x="1137672" y="237227"/>
                    <a:pt x="1137672" y="254479"/>
                  </a:cubicBezTo>
                  <a:cubicBezTo>
                    <a:pt x="1137672" y="457200"/>
                    <a:pt x="1137672" y="457200"/>
                    <a:pt x="1137672" y="457200"/>
                  </a:cubicBezTo>
                  <a:lnTo>
                    <a:pt x="1088115" y="457200"/>
                  </a:lnTo>
                  <a:cubicBezTo>
                    <a:pt x="1088115" y="254479"/>
                    <a:pt x="1088115" y="254479"/>
                    <a:pt x="1088115" y="254479"/>
                  </a:cubicBezTo>
                  <a:cubicBezTo>
                    <a:pt x="1088115" y="241540"/>
                    <a:pt x="1096733" y="230757"/>
                    <a:pt x="1107507" y="228600"/>
                  </a:cubicBezTo>
                  <a:close/>
                  <a:moveTo>
                    <a:pt x="542980" y="228600"/>
                  </a:moveTo>
                  <a:cubicBezTo>
                    <a:pt x="558063" y="226444"/>
                    <a:pt x="573146" y="237227"/>
                    <a:pt x="573146" y="254479"/>
                  </a:cubicBezTo>
                  <a:cubicBezTo>
                    <a:pt x="573146" y="457200"/>
                    <a:pt x="573146" y="457200"/>
                    <a:pt x="573146" y="457200"/>
                  </a:cubicBezTo>
                  <a:lnTo>
                    <a:pt x="521433" y="457200"/>
                  </a:lnTo>
                  <a:cubicBezTo>
                    <a:pt x="521433" y="254479"/>
                    <a:pt x="521433" y="254479"/>
                    <a:pt x="521433" y="254479"/>
                  </a:cubicBezTo>
                  <a:cubicBezTo>
                    <a:pt x="521433" y="241540"/>
                    <a:pt x="530052" y="230757"/>
                    <a:pt x="542980" y="228600"/>
                  </a:cubicBezTo>
                  <a:close/>
                  <a:moveTo>
                    <a:pt x="2249424" y="47293"/>
                  </a:moveTo>
                  <a:lnTo>
                    <a:pt x="2249488" y="47446"/>
                  </a:lnTo>
                  <a:cubicBezTo>
                    <a:pt x="2249488" y="47446"/>
                    <a:pt x="2249488" y="47446"/>
                    <a:pt x="2249488" y="409755"/>
                  </a:cubicBezTo>
                  <a:lnTo>
                    <a:pt x="2249424" y="409907"/>
                  </a:lnTo>
                  <a:close/>
                  <a:moveTo>
                    <a:pt x="2230419" y="10579"/>
                  </a:moveTo>
                  <a:lnTo>
                    <a:pt x="2236378" y="13047"/>
                  </a:lnTo>
                  <a:cubicBezTo>
                    <a:pt x="2244438" y="21108"/>
                    <a:pt x="2249424" y="32244"/>
                    <a:pt x="2249424" y="44545"/>
                  </a:cubicBezTo>
                  <a:lnTo>
                    <a:pt x="2249424" y="47293"/>
                  </a:lnTo>
                  <a:lnTo>
                    <a:pt x="2235483" y="14018"/>
                  </a:lnTo>
                  <a:close/>
                  <a:moveTo>
                    <a:pt x="19170" y="10511"/>
                  </a:moveTo>
                  <a:lnTo>
                    <a:pt x="14006" y="14018"/>
                  </a:lnTo>
                  <a:cubicBezTo>
                    <a:pt x="5387" y="22645"/>
                    <a:pt x="0" y="34506"/>
                    <a:pt x="0" y="47446"/>
                  </a:cubicBezTo>
                  <a:lnTo>
                    <a:pt x="0" y="44545"/>
                  </a:lnTo>
                  <a:cubicBezTo>
                    <a:pt x="0" y="32244"/>
                    <a:pt x="4986" y="21108"/>
                    <a:pt x="13047" y="13047"/>
                  </a:cubicBezTo>
                  <a:close/>
                  <a:moveTo>
                    <a:pt x="41716" y="1172"/>
                  </a:moveTo>
                  <a:lnTo>
                    <a:pt x="19170" y="10511"/>
                  </a:lnTo>
                  <a:lnTo>
                    <a:pt x="29089" y="3774"/>
                  </a:lnTo>
                  <a:close/>
                  <a:moveTo>
                    <a:pt x="2207645" y="1146"/>
                  </a:moveTo>
                  <a:lnTo>
                    <a:pt x="2220400" y="3774"/>
                  </a:lnTo>
                  <a:lnTo>
                    <a:pt x="2230419" y="10579"/>
                  </a:lnTo>
                  <a:close/>
                  <a:moveTo>
                    <a:pt x="2202085" y="0"/>
                  </a:moveTo>
                  <a:lnTo>
                    <a:pt x="2204879" y="0"/>
                  </a:lnTo>
                  <a:lnTo>
                    <a:pt x="2207645" y="1146"/>
                  </a:lnTo>
                  <a:close/>
                  <a:moveTo>
                    <a:pt x="44545" y="0"/>
                  </a:moveTo>
                  <a:lnTo>
                    <a:pt x="47403" y="0"/>
                  </a:lnTo>
                  <a:lnTo>
                    <a:pt x="41716" y="1172"/>
                  </a:lnTo>
                  <a:close/>
                </a:path>
              </a:pathLst>
            </a:custGeom>
            <a:solidFill>
              <a:schemeClr val="accent6">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spTree>
    <p:extLst>
      <p:ext uri="{BB962C8B-B14F-4D97-AF65-F5344CB8AC3E}">
        <p14:creationId xmlns:p14="http://schemas.microsoft.com/office/powerpoint/2010/main" val="274709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AF8DD-61D7-59BE-EA8C-0ACD6CAADBC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4D6ADB-405F-D15A-5C09-C2E6FB26F40E}"/>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3" name="Title 2">
            <a:extLst>
              <a:ext uri="{FF2B5EF4-FFF2-40B4-BE49-F238E27FC236}">
                <a16:creationId xmlns:a16="http://schemas.microsoft.com/office/drawing/2014/main" id="{543CD931-36A0-537F-5C52-74E0068FC055}"/>
              </a:ext>
            </a:extLst>
          </p:cNvPr>
          <p:cNvSpPr>
            <a:spLocks noGrp="1"/>
          </p:cNvSpPr>
          <p:nvPr>
            <p:ph type="title"/>
          </p:nvPr>
        </p:nvSpPr>
        <p:spPr>
          <a:xfrm>
            <a:off x="495300" y="565125"/>
            <a:ext cx="11187112" cy="439479"/>
          </a:xfrm>
        </p:spPr>
        <p:txBody>
          <a:bodyPr/>
          <a:lstStyle/>
          <a:p>
            <a:r>
              <a:rPr lang="de-DE"/>
              <a:t>5G Broadcast Standards Evolution</a:t>
            </a:r>
            <a:endParaRPr lang="en-US"/>
          </a:p>
        </p:txBody>
      </p:sp>
      <p:graphicFrame>
        <p:nvGraphicFramePr>
          <p:cNvPr id="6" name="Content Placeholder 5">
            <a:extLst>
              <a:ext uri="{FF2B5EF4-FFF2-40B4-BE49-F238E27FC236}">
                <a16:creationId xmlns:a16="http://schemas.microsoft.com/office/drawing/2014/main" id="{21E50237-972B-AACE-95B2-B062C6CD3D6A}"/>
              </a:ext>
            </a:extLst>
          </p:cNvPr>
          <p:cNvGraphicFramePr>
            <a:graphicFrameLocks noGrp="1"/>
          </p:cNvGraphicFramePr>
          <p:nvPr>
            <p:ph sz="quarter" idx="14"/>
            <p:extLst>
              <p:ext uri="{D42A27DB-BD31-4B8C-83A1-F6EECF244321}">
                <p14:modId xmlns:p14="http://schemas.microsoft.com/office/powerpoint/2010/main" val="3649001062"/>
              </p:ext>
            </p:extLst>
          </p:nvPr>
        </p:nvGraphicFramePr>
        <p:xfrm>
          <a:off x="0" y="657225"/>
          <a:ext cx="12192000" cy="47053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ubtitle 4">
            <a:extLst>
              <a:ext uri="{FF2B5EF4-FFF2-40B4-BE49-F238E27FC236}">
                <a16:creationId xmlns:a16="http://schemas.microsoft.com/office/drawing/2014/main" id="{D9A78F0C-99FC-A15C-2F3A-5547ECC17C26}"/>
              </a:ext>
            </a:extLst>
          </p:cNvPr>
          <p:cNvSpPr>
            <a:spLocks noGrp="1"/>
          </p:cNvSpPr>
          <p:nvPr>
            <p:ph type="subTitle" idx="1"/>
          </p:nvPr>
        </p:nvSpPr>
        <p:spPr/>
        <p:txBody>
          <a:bodyPr/>
          <a:lstStyle/>
          <a:p>
            <a:r>
              <a:rPr lang="de-DE" dirty="0"/>
              <a:t>Where do we stand?</a:t>
            </a:r>
            <a:endParaRPr lang="en-US" dirty="0"/>
          </a:p>
        </p:txBody>
      </p:sp>
      <p:sp>
        <p:nvSpPr>
          <p:cNvPr id="7" name="TextBox 6">
            <a:extLst>
              <a:ext uri="{FF2B5EF4-FFF2-40B4-BE49-F238E27FC236}">
                <a16:creationId xmlns:a16="http://schemas.microsoft.com/office/drawing/2014/main" id="{7EE8BFE2-51AC-FC94-76AB-C45EBB8B53AA}"/>
              </a:ext>
            </a:extLst>
          </p:cNvPr>
          <p:cNvSpPr txBox="1"/>
          <p:nvPr/>
        </p:nvSpPr>
        <p:spPr>
          <a:xfrm>
            <a:off x="258464"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3GPP</a:t>
            </a:r>
          </a:p>
        </p:txBody>
      </p:sp>
      <p:sp>
        <p:nvSpPr>
          <p:cNvPr id="8" name="TextBox 7">
            <a:extLst>
              <a:ext uri="{FF2B5EF4-FFF2-40B4-BE49-F238E27FC236}">
                <a16:creationId xmlns:a16="http://schemas.microsoft.com/office/drawing/2014/main" id="{089BCE4C-8CB8-88B4-E8F0-46C439954A00}"/>
              </a:ext>
            </a:extLst>
          </p:cNvPr>
          <p:cNvSpPr txBox="1"/>
          <p:nvPr/>
        </p:nvSpPr>
        <p:spPr>
          <a:xfrm>
            <a:off x="2797642"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3GPP </a:t>
            </a:r>
          </a:p>
        </p:txBody>
      </p:sp>
      <p:sp>
        <p:nvSpPr>
          <p:cNvPr id="9" name="TextBox 8">
            <a:extLst>
              <a:ext uri="{FF2B5EF4-FFF2-40B4-BE49-F238E27FC236}">
                <a16:creationId xmlns:a16="http://schemas.microsoft.com/office/drawing/2014/main" id="{81E21195-A9CB-AF5F-DF18-E72EA4D513DE}"/>
              </a:ext>
            </a:extLst>
          </p:cNvPr>
          <p:cNvSpPr txBox="1"/>
          <p:nvPr/>
        </p:nvSpPr>
        <p:spPr>
          <a:xfrm>
            <a:off x="1659532" y="1626302"/>
            <a:ext cx="1104615"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ITU</a:t>
            </a:r>
          </a:p>
        </p:txBody>
      </p:sp>
      <p:sp>
        <p:nvSpPr>
          <p:cNvPr id="10" name="TextBox 9">
            <a:extLst>
              <a:ext uri="{FF2B5EF4-FFF2-40B4-BE49-F238E27FC236}">
                <a16:creationId xmlns:a16="http://schemas.microsoft.com/office/drawing/2014/main" id="{72B50C1F-5583-7146-753C-1A2F93EDBC67}"/>
              </a:ext>
            </a:extLst>
          </p:cNvPr>
          <p:cNvSpPr txBox="1"/>
          <p:nvPr/>
        </p:nvSpPr>
        <p:spPr>
          <a:xfrm>
            <a:off x="4198710" y="1626302"/>
            <a:ext cx="1229761"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ETSI</a:t>
            </a:r>
          </a:p>
        </p:txBody>
      </p:sp>
      <p:sp>
        <p:nvSpPr>
          <p:cNvPr id="11" name="TextBox 10">
            <a:extLst>
              <a:ext uri="{FF2B5EF4-FFF2-40B4-BE49-F238E27FC236}">
                <a16:creationId xmlns:a16="http://schemas.microsoft.com/office/drawing/2014/main" id="{0C85DD22-7800-F4CE-524E-4C23CAA5AA44}"/>
              </a:ext>
            </a:extLst>
          </p:cNvPr>
          <p:cNvSpPr txBox="1"/>
          <p:nvPr/>
        </p:nvSpPr>
        <p:spPr>
          <a:xfrm>
            <a:off x="5461966"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3GPP </a:t>
            </a:r>
          </a:p>
        </p:txBody>
      </p:sp>
      <p:sp>
        <p:nvSpPr>
          <p:cNvPr id="12" name="TextBox 11">
            <a:extLst>
              <a:ext uri="{FF2B5EF4-FFF2-40B4-BE49-F238E27FC236}">
                <a16:creationId xmlns:a16="http://schemas.microsoft.com/office/drawing/2014/main" id="{AEA4455D-2786-651B-9AA8-47D08973F9F1}"/>
              </a:ext>
            </a:extLst>
          </p:cNvPr>
          <p:cNvSpPr txBox="1"/>
          <p:nvPr/>
        </p:nvSpPr>
        <p:spPr>
          <a:xfrm>
            <a:off x="6863034" y="1472414"/>
            <a:ext cx="1229761" cy="70788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ETSI</a:t>
            </a:r>
            <a:br>
              <a:rPr kumimoji="0" lang="en-US" sz="2000" b="0" i="0" u="none" strike="noStrike" kern="1200" cap="none" spc="0" normalizeH="0" baseline="0" noProof="0">
                <a:ln>
                  <a:noFill/>
                </a:ln>
                <a:solidFill>
                  <a:srgbClr val="2853DC"/>
                </a:solidFill>
                <a:effectLst/>
                <a:uLnTx/>
                <a:uFillTx/>
                <a:latin typeface="Arial"/>
                <a:ea typeface="+mn-ea"/>
                <a:cs typeface="+mn-cs"/>
              </a:rPr>
            </a:br>
            <a:r>
              <a:rPr kumimoji="0" lang="en-US" sz="2000" b="0" i="0" u="none" strike="noStrike" kern="1200" cap="none" spc="0" normalizeH="0" baseline="0" noProof="0">
                <a:ln>
                  <a:noFill/>
                </a:ln>
                <a:solidFill>
                  <a:srgbClr val="2853DC"/>
                </a:solidFill>
                <a:effectLst/>
                <a:uLnTx/>
                <a:uFillTx/>
                <a:latin typeface="Arial"/>
                <a:ea typeface="+mn-ea"/>
                <a:cs typeface="+mn-cs"/>
              </a:rPr>
              <a:t>5G-MAG</a:t>
            </a:r>
          </a:p>
        </p:txBody>
      </p:sp>
      <p:sp>
        <p:nvSpPr>
          <p:cNvPr id="14" name="TextBox 13">
            <a:extLst>
              <a:ext uri="{FF2B5EF4-FFF2-40B4-BE49-F238E27FC236}">
                <a16:creationId xmlns:a16="http://schemas.microsoft.com/office/drawing/2014/main" id="{1E5AD2A9-FCDB-A86C-C1D6-20ABF3F95B92}"/>
              </a:ext>
            </a:extLst>
          </p:cNvPr>
          <p:cNvSpPr txBox="1"/>
          <p:nvPr/>
        </p:nvSpPr>
        <p:spPr>
          <a:xfrm>
            <a:off x="8126290"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53DC"/>
                </a:solidFill>
                <a:effectLst/>
                <a:uLnTx/>
                <a:uFillTx/>
                <a:latin typeface="Arial"/>
                <a:ea typeface="+mn-ea"/>
                <a:cs typeface="+mn-cs"/>
              </a:rPr>
              <a:t>3GPP </a:t>
            </a:r>
          </a:p>
        </p:txBody>
      </p:sp>
      <p:sp>
        <p:nvSpPr>
          <p:cNvPr id="16" name="TextBox 15">
            <a:extLst>
              <a:ext uri="{FF2B5EF4-FFF2-40B4-BE49-F238E27FC236}">
                <a16:creationId xmlns:a16="http://schemas.microsoft.com/office/drawing/2014/main" id="{AF6E57EA-B1A0-0C24-F3C9-1E8D594AE0DD}"/>
              </a:ext>
            </a:extLst>
          </p:cNvPr>
          <p:cNvSpPr txBox="1"/>
          <p:nvPr/>
        </p:nvSpPr>
        <p:spPr>
          <a:xfrm>
            <a:off x="339959" y="39144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2017</a:t>
            </a:r>
          </a:p>
        </p:txBody>
      </p:sp>
      <p:sp>
        <p:nvSpPr>
          <p:cNvPr id="17" name="TextBox 16">
            <a:extLst>
              <a:ext uri="{FF2B5EF4-FFF2-40B4-BE49-F238E27FC236}">
                <a16:creationId xmlns:a16="http://schemas.microsoft.com/office/drawing/2014/main" id="{9548BCD4-D114-AC97-F004-6229209CA4B4}"/>
              </a:ext>
            </a:extLst>
          </p:cNvPr>
          <p:cNvSpPr txBox="1"/>
          <p:nvPr/>
        </p:nvSpPr>
        <p:spPr>
          <a:xfrm>
            <a:off x="2916639" y="39108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2020 </a:t>
            </a:r>
          </a:p>
        </p:txBody>
      </p:sp>
      <p:sp>
        <p:nvSpPr>
          <p:cNvPr id="18" name="TextBox 17">
            <a:extLst>
              <a:ext uri="{FF2B5EF4-FFF2-40B4-BE49-F238E27FC236}">
                <a16:creationId xmlns:a16="http://schemas.microsoft.com/office/drawing/2014/main" id="{293BB190-E730-9F81-E145-8B81F7ED8848}"/>
              </a:ext>
            </a:extLst>
          </p:cNvPr>
          <p:cNvSpPr txBox="1"/>
          <p:nvPr/>
        </p:nvSpPr>
        <p:spPr>
          <a:xfrm>
            <a:off x="1759778" y="3912259"/>
            <a:ext cx="11046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2019</a:t>
            </a:r>
          </a:p>
        </p:txBody>
      </p:sp>
      <p:sp>
        <p:nvSpPr>
          <p:cNvPr id="19" name="TextBox 18">
            <a:extLst>
              <a:ext uri="{FF2B5EF4-FFF2-40B4-BE49-F238E27FC236}">
                <a16:creationId xmlns:a16="http://schemas.microsoft.com/office/drawing/2014/main" id="{7FDA6CAA-0500-6B30-B5AC-125C1A865CCE}"/>
              </a:ext>
            </a:extLst>
          </p:cNvPr>
          <p:cNvSpPr txBox="1"/>
          <p:nvPr/>
        </p:nvSpPr>
        <p:spPr>
          <a:xfrm>
            <a:off x="4336458" y="3912259"/>
            <a:ext cx="1229761"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2020</a:t>
            </a:r>
          </a:p>
        </p:txBody>
      </p:sp>
      <p:sp>
        <p:nvSpPr>
          <p:cNvPr id="20" name="TextBox 19">
            <a:extLst>
              <a:ext uri="{FF2B5EF4-FFF2-40B4-BE49-F238E27FC236}">
                <a16:creationId xmlns:a16="http://schemas.microsoft.com/office/drawing/2014/main" id="{B8A359A2-120E-33AA-70D4-E10E47EF716B}"/>
              </a:ext>
            </a:extLst>
          </p:cNvPr>
          <p:cNvSpPr txBox="1"/>
          <p:nvPr/>
        </p:nvSpPr>
        <p:spPr>
          <a:xfrm>
            <a:off x="5618465" y="3914411"/>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06/22 </a:t>
            </a:r>
          </a:p>
        </p:txBody>
      </p:sp>
      <p:sp>
        <p:nvSpPr>
          <p:cNvPr id="21" name="TextBox 20">
            <a:extLst>
              <a:ext uri="{FF2B5EF4-FFF2-40B4-BE49-F238E27FC236}">
                <a16:creationId xmlns:a16="http://schemas.microsoft.com/office/drawing/2014/main" id="{BD68215D-5D23-B26E-0C77-F65B4B6E5E15}"/>
              </a:ext>
            </a:extLst>
          </p:cNvPr>
          <p:cNvSpPr txBox="1"/>
          <p:nvPr/>
        </p:nvSpPr>
        <p:spPr>
          <a:xfrm>
            <a:off x="7038284" y="3910814"/>
            <a:ext cx="1229761"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a:ln>
                  <a:noFill/>
                </a:ln>
                <a:solidFill>
                  <a:srgbClr val="2853DC"/>
                </a:solidFill>
                <a:effectLst/>
                <a:uLnTx/>
                <a:uFillTx/>
                <a:latin typeface="Arial"/>
                <a:ea typeface="+mn-ea"/>
                <a:cs typeface="+mn-cs"/>
              </a:rPr>
              <a:t>06/23</a:t>
            </a:r>
            <a:endParaRPr kumimoji="0" lang="en-US" sz="2400" b="0" i="0" u="none" strike="noStrike" kern="1200" cap="none" spc="0" normalizeH="0" baseline="0" noProof="0">
              <a:ln>
                <a:noFill/>
              </a:ln>
              <a:solidFill>
                <a:srgbClr val="2853DC"/>
              </a:solidFill>
              <a:effectLst/>
              <a:uLnTx/>
              <a:uFillTx/>
              <a:latin typeface="Arial"/>
              <a:ea typeface="+mn-ea"/>
              <a:cs typeface="+mn-cs"/>
            </a:endParaRPr>
          </a:p>
        </p:txBody>
      </p:sp>
      <p:sp>
        <p:nvSpPr>
          <p:cNvPr id="22" name="TextBox 21">
            <a:extLst>
              <a:ext uri="{FF2B5EF4-FFF2-40B4-BE49-F238E27FC236}">
                <a16:creationId xmlns:a16="http://schemas.microsoft.com/office/drawing/2014/main" id="{C2641710-D5D8-EE14-5DB4-70F40AB75B7D}"/>
              </a:ext>
            </a:extLst>
          </p:cNvPr>
          <p:cNvSpPr txBox="1"/>
          <p:nvPr/>
        </p:nvSpPr>
        <p:spPr>
          <a:xfrm>
            <a:off x="10896972" y="3910814"/>
            <a:ext cx="11046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dirty="0">
                <a:solidFill>
                  <a:srgbClr val="2853DC"/>
                </a:solidFill>
                <a:latin typeface="Arial"/>
              </a:rPr>
              <a:t>12</a:t>
            </a:r>
            <a:r>
              <a:rPr kumimoji="0" lang="en-US" sz="2400" b="0" i="0" u="none" strike="noStrike" kern="1200" cap="none" spc="0" normalizeH="0" baseline="0" noProof="0" dirty="0">
                <a:ln>
                  <a:noFill/>
                </a:ln>
                <a:solidFill>
                  <a:srgbClr val="2853DC"/>
                </a:solidFill>
                <a:effectLst/>
                <a:uLnTx/>
                <a:uFillTx/>
                <a:latin typeface="Arial"/>
                <a:ea typeface="+mn-ea"/>
                <a:cs typeface="+mn-cs"/>
              </a:rPr>
              <a:t>/25</a:t>
            </a:r>
          </a:p>
        </p:txBody>
      </p:sp>
      <p:sp>
        <p:nvSpPr>
          <p:cNvPr id="23" name="TextBox 22">
            <a:extLst>
              <a:ext uri="{FF2B5EF4-FFF2-40B4-BE49-F238E27FC236}">
                <a16:creationId xmlns:a16="http://schemas.microsoft.com/office/drawing/2014/main" id="{7F37EAB0-1CB0-38B0-3389-FAFA934F49D1}"/>
              </a:ext>
            </a:extLst>
          </p:cNvPr>
          <p:cNvSpPr txBox="1"/>
          <p:nvPr/>
        </p:nvSpPr>
        <p:spPr>
          <a:xfrm>
            <a:off x="8320291" y="39108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53DC"/>
                </a:solidFill>
                <a:effectLst/>
                <a:uLnTx/>
                <a:uFillTx/>
                <a:latin typeface="Arial"/>
                <a:ea typeface="+mn-ea"/>
                <a:cs typeface="+mn-cs"/>
              </a:rPr>
              <a:t>12/23 </a:t>
            </a:r>
          </a:p>
        </p:txBody>
      </p:sp>
      <p:sp>
        <p:nvSpPr>
          <p:cNvPr id="4" name="TextBox 3">
            <a:extLst>
              <a:ext uri="{FF2B5EF4-FFF2-40B4-BE49-F238E27FC236}">
                <a16:creationId xmlns:a16="http://schemas.microsoft.com/office/drawing/2014/main" id="{34F650EF-E974-E481-F079-5ED03F49AB74}"/>
              </a:ext>
            </a:extLst>
          </p:cNvPr>
          <p:cNvSpPr txBox="1"/>
          <p:nvPr/>
        </p:nvSpPr>
        <p:spPr>
          <a:xfrm>
            <a:off x="10909726" y="1440635"/>
            <a:ext cx="1229761" cy="70788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53DC"/>
                </a:solidFill>
                <a:effectLst/>
                <a:uLnTx/>
                <a:uFillTx/>
                <a:latin typeface="Arial"/>
                <a:ea typeface="+mn-ea"/>
                <a:cs typeface="+mn-cs"/>
              </a:rPr>
              <a:t>ETSI</a:t>
            </a:r>
            <a:br>
              <a:rPr kumimoji="0" lang="en-US" sz="2000" b="0" i="0" u="none" strike="noStrike" kern="1200" cap="none" spc="0" normalizeH="0" baseline="0" noProof="0" dirty="0">
                <a:ln>
                  <a:noFill/>
                </a:ln>
                <a:solidFill>
                  <a:srgbClr val="2853DC"/>
                </a:solidFill>
                <a:effectLst/>
                <a:uLnTx/>
                <a:uFillTx/>
                <a:latin typeface="Arial"/>
                <a:ea typeface="+mn-ea"/>
                <a:cs typeface="+mn-cs"/>
              </a:rPr>
            </a:br>
            <a:r>
              <a:rPr kumimoji="0" lang="en-US" sz="2000" b="0" i="0" u="none" strike="noStrike" kern="1200" cap="none" spc="0" normalizeH="0" baseline="0" noProof="0" dirty="0">
                <a:ln>
                  <a:noFill/>
                </a:ln>
                <a:solidFill>
                  <a:srgbClr val="2853DC"/>
                </a:solidFill>
                <a:effectLst/>
                <a:uLnTx/>
                <a:uFillTx/>
                <a:latin typeface="Arial"/>
                <a:ea typeface="+mn-ea"/>
                <a:cs typeface="+mn-cs"/>
              </a:rPr>
              <a:t>5G-MAG</a:t>
            </a:r>
          </a:p>
        </p:txBody>
      </p:sp>
      <p:sp>
        <p:nvSpPr>
          <p:cNvPr id="15" name="TextBox 14">
            <a:extLst>
              <a:ext uri="{FF2B5EF4-FFF2-40B4-BE49-F238E27FC236}">
                <a16:creationId xmlns:a16="http://schemas.microsoft.com/office/drawing/2014/main" id="{72390B88-CC14-8C42-1F53-474244E890D1}"/>
              </a:ext>
            </a:extLst>
          </p:cNvPr>
          <p:cNvSpPr txBox="1"/>
          <p:nvPr/>
        </p:nvSpPr>
        <p:spPr>
          <a:xfrm>
            <a:off x="9423041" y="1634244"/>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53DC"/>
                </a:solidFill>
                <a:effectLst/>
                <a:uLnTx/>
                <a:uFillTx/>
                <a:latin typeface="Arial"/>
                <a:ea typeface="+mn-ea"/>
                <a:cs typeface="+mn-cs"/>
              </a:rPr>
              <a:t>3GPP </a:t>
            </a:r>
          </a:p>
        </p:txBody>
      </p:sp>
      <p:sp>
        <p:nvSpPr>
          <p:cNvPr id="25" name="TextBox 24">
            <a:extLst>
              <a:ext uri="{FF2B5EF4-FFF2-40B4-BE49-F238E27FC236}">
                <a16:creationId xmlns:a16="http://schemas.microsoft.com/office/drawing/2014/main" id="{3D9997D1-5D4C-8331-1DD4-0AC2F327C4E2}"/>
              </a:ext>
            </a:extLst>
          </p:cNvPr>
          <p:cNvSpPr txBox="1"/>
          <p:nvPr/>
        </p:nvSpPr>
        <p:spPr>
          <a:xfrm>
            <a:off x="9740110" y="3910814"/>
            <a:ext cx="11046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dirty="0">
                <a:solidFill>
                  <a:srgbClr val="2853DC"/>
                </a:solidFill>
                <a:latin typeface="Arial"/>
              </a:rPr>
              <a:t>06</a:t>
            </a:r>
            <a:r>
              <a:rPr kumimoji="0" lang="en-US" sz="2400" b="0" i="0" u="none" strike="noStrike" kern="1200" cap="none" spc="0" normalizeH="0" baseline="0" noProof="0" dirty="0">
                <a:ln>
                  <a:noFill/>
                </a:ln>
                <a:solidFill>
                  <a:srgbClr val="2853DC"/>
                </a:solidFill>
                <a:effectLst/>
                <a:uLnTx/>
                <a:uFillTx/>
                <a:latin typeface="Arial"/>
                <a:ea typeface="+mn-ea"/>
                <a:cs typeface="+mn-cs"/>
              </a:rPr>
              <a:t>/25</a:t>
            </a:r>
          </a:p>
        </p:txBody>
      </p:sp>
      <p:pic>
        <p:nvPicPr>
          <p:cNvPr id="26" name="Picture 2">
            <a:extLst>
              <a:ext uri="{FF2B5EF4-FFF2-40B4-BE49-F238E27FC236}">
                <a16:creationId xmlns:a16="http://schemas.microsoft.com/office/drawing/2014/main" id="{C8191289-535B-CCA9-EE26-1ED5173544D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7069" y="4686218"/>
            <a:ext cx="2748272" cy="1536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7" name="Picture 26">
            <a:extLst>
              <a:ext uri="{FF2B5EF4-FFF2-40B4-BE49-F238E27FC236}">
                <a16:creationId xmlns:a16="http://schemas.microsoft.com/office/drawing/2014/main" id="{48A036B8-0F77-717E-1A30-5B5003502F56}"/>
              </a:ext>
            </a:extLst>
          </p:cNvPr>
          <p:cNvPicPr>
            <a:picLocks noChangeAspect="1"/>
          </p:cNvPicPr>
          <p:nvPr/>
        </p:nvPicPr>
        <p:blipFill>
          <a:blip r:embed="rId8"/>
          <a:stretch>
            <a:fillRect/>
          </a:stretch>
        </p:blipFill>
        <p:spPr>
          <a:xfrm>
            <a:off x="3962410" y="4410456"/>
            <a:ext cx="2541963" cy="224528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pic>
        <p:nvPicPr>
          <p:cNvPr id="28" name="Content Placeholder 4">
            <a:extLst>
              <a:ext uri="{FF2B5EF4-FFF2-40B4-BE49-F238E27FC236}">
                <a16:creationId xmlns:a16="http://schemas.microsoft.com/office/drawing/2014/main" id="{077A5CFD-C598-66E8-68A9-E036C2F60B84}"/>
              </a:ext>
            </a:extLst>
          </p:cNvPr>
          <p:cNvPicPr>
            <a:picLocks noChangeAspect="1"/>
          </p:cNvPicPr>
          <p:nvPr/>
        </p:nvPicPr>
        <p:blipFill>
          <a:blip r:embed="rId9"/>
          <a:stretch>
            <a:fillRect/>
          </a:stretch>
        </p:blipFill>
        <p:spPr>
          <a:xfrm>
            <a:off x="9178832" y="4654691"/>
            <a:ext cx="2416505" cy="1938614"/>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29" name="Picture 28" descr="A blue and white cover with a globe and puzzle pieces&#10;&#10;Description automatically generated">
            <a:extLst>
              <a:ext uri="{FF2B5EF4-FFF2-40B4-BE49-F238E27FC236}">
                <a16:creationId xmlns:a16="http://schemas.microsoft.com/office/drawing/2014/main" id="{C6EAEDB8-4F3B-1E4D-DD89-106393F1E658}"/>
              </a:ext>
            </a:extLst>
          </p:cNvPr>
          <p:cNvPicPr>
            <a:picLocks noChangeAspect="1"/>
          </p:cNvPicPr>
          <p:nvPr/>
        </p:nvPicPr>
        <p:blipFill>
          <a:blip r:embed="rId10"/>
          <a:stretch>
            <a:fillRect/>
          </a:stretch>
        </p:blipFill>
        <p:spPr>
          <a:xfrm>
            <a:off x="7116243" y="4410456"/>
            <a:ext cx="1870142" cy="233019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1103468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par>
                          <p:cTn id="9" fill="hold">
                            <p:stCondLst>
                              <p:cond delay="500"/>
                            </p:stCondLst>
                            <p:childTnLst>
                              <p:par>
                                <p:cTn id="10" presetID="1" presetClass="entr" presetSubtype="0" fill="hold" grpId="0" nodeType="afterEffect">
                                  <p:stCondLst>
                                    <p:cond delay="0"/>
                                  </p:stCondLst>
                                  <p:childTnLst>
                                    <p:set>
                                      <p:cBhvr>
                                        <p:cTn id="11" dur="1" fill="hold">
                                          <p:stCondLst>
                                            <p:cond delay="499"/>
                                          </p:stCondLst>
                                        </p:cTn>
                                        <p:tgtEl>
                                          <p:spTgt spid="9"/>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childTnLst>
                                </p:cTn>
                              </p:par>
                            </p:childTnLst>
                          </p:cTn>
                        </p:par>
                        <p:par>
                          <p:cTn id="14" fill="hold">
                            <p:stCondLst>
                              <p:cond delay="1000"/>
                            </p:stCondLst>
                            <p:childTnLst>
                              <p:par>
                                <p:cTn id="15" presetID="1" presetClass="entr" presetSubtype="0" fill="hold" grpId="0" nodeType="after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0"/>
                                  </p:stCondLst>
                                  <p:childTnLst>
                                    <p:set>
                                      <p:cBhvr>
                                        <p:cTn id="21" dur="1" fill="hold">
                                          <p:stCondLst>
                                            <p:cond delay="499"/>
                                          </p:stCondLst>
                                        </p:cTn>
                                        <p:tgtEl>
                                          <p:spTgt spid="10"/>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par>
                          <p:cTn id="24" fill="hold">
                            <p:stCondLst>
                              <p:cond delay="2000"/>
                            </p:stCondLst>
                            <p:childTnLst>
                              <p:par>
                                <p:cTn id="25" presetID="1" presetClass="entr" presetSubtype="0" fill="hold" grpId="0" nodeType="afterEffect">
                                  <p:stCondLst>
                                    <p:cond delay="0"/>
                                  </p:stCondLst>
                                  <p:childTnLst>
                                    <p:set>
                                      <p:cBhvr>
                                        <p:cTn id="26" dur="1" fill="hold">
                                          <p:stCondLst>
                                            <p:cond delay="499"/>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par>
                          <p:cTn id="29" fill="hold">
                            <p:stCondLst>
                              <p:cond delay="2500"/>
                            </p:stCondLst>
                            <p:childTnLst>
                              <p:par>
                                <p:cTn id="30" presetID="1" presetClass="entr" presetSubtype="0" fill="hold" grpId="0" nodeType="afterEffect">
                                  <p:stCondLst>
                                    <p:cond delay="0"/>
                                  </p:stCondLst>
                                  <p:childTnLst>
                                    <p:set>
                                      <p:cBhvr>
                                        <p:cTn id="31" dur="1" fill="hold">
                                          <p:stCondLst>
                                            <p:cond delay="499"/>
                                          </p:stCondLst>
                                        </p:cTn>
                                        <p:tgtEl>
                                          <p:spTgt spid="12"/>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childTnLst>
                                </p:cTn>
                              </p:par>
                            </p:childTnLst>
                          </p:cTn>
                        </p:par>
                        <p:par>
                          <p:cTn id="34" fill="hold">
                            <p:stCondLst>
                              <p:cond delay="3000"/>
                            </p:stCondLst>
                            <p:childTnLst>
                              <p:par>
                                <p:cTn id="35" presetID="1" presetClass="entr" presetSubtype="0" fill="hold" grpId="0" nodeType="afterEffect">
                                  <p:stCondLst>
                                    <p:cond delay="0"/>
                                  </p:stCondLst>
                                  <p:childTnLst>
                                    <p:set>
                                      <p:cBhvr>
                                        <p:cTn id="36" dur="1" fill="hold">
                                          <p:stCondLst>
                                            <p:cond delay="499"/>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par>
                          <p:cTn id="41" fill="hold">
                            <p:stCondLst>
                              <p:cond delay="3500"/>
                            </p:stCondLst>
                            <p:childTnLst>
                              <p:par>
                                <p:cTn id="42" presetID="1" presetClass="entr" presetSubtype="0" fill="hold" grpId="0" nodeType="afterEffect">
                                  <p:stCondLst>
                                    <p:cond delay="0"/>
                                  </p:stCondLst>
                                  <p:childTnLst>
                                    <p:set>
                                      <p:cBhvr>
                                        <p:cTn id="43" dur="1" fill="hold">
                                          <p:stCondLst>
                                            <p:cond delay="499"/>
                                          </p:stCondLst>
                                        </p:cTn>
                                        <p:tgtEl>
                                          <p:spTgt spid="15"/>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childTnLst>
                                </p:cTn>
                              </p:par>
                            </p:childTnLst>
                          </p:cTn>
                        </p:par>
                        <p:par>
                          <p:cTn id="46" fill="hold">
                            <p:stCondLst>
                              <p:cond delay="4000"/>
                            </p:stCondLst>
                            <p:childTnLst>
                              <p:par>
                                <p:cTn id="47" presetID="1" presetClass="entr" presetSubtype="0" fill="hold" grpId="0" nodeType="afterEffect">
                                  <p:stCondLst>
                                    <p:cond delay="0"/>
                                  </p:stCondLst>
                                  <p:childTnLst>
                                    <p:set>
                                      <p:cBhvr>
                                        <p:cTn id="48"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4" grpId="0"/>
      <p:bldP spid="16" grpId="0"/>
      <p:bldP spid="17" grpId="0"/>
      <p:bldP spid="18" grpId="0"/>
      <p:bldP spid="19" grpId="0"/>
      <p:bldP spid="20" grpId="0"/>
      <p:bldP spid="21" grpId="0"/>
      <p:bldP spid="22" grpId="0"/>
      <p:bldP spid="23" grpId="0"/>
      <p:bldP spid="4" grpId="0"/>
      <p:bldP spid="15" grpId="0"/>
      <p:bldP spid="2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A6785-65C3-715F-B28B-3D5DE5F7B629}"/>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318C383D-DEC0-18DA-E967-E81A242F183C}"/>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5G Broadcast Conference</a:t>
            </a:r>
          </a:p>
        </p:txBody>
      </p:sp>
      <p:sp>
        <p:nvSpPr>
          <p:cNvPr id="3" name="Title 2">
            <a:extLst>
              <a:ext uri="{FF2B5EF4-FFF2-40B4-BE49-F238E27FC236}">
                <a16:creationId xmlns:a16="http://schemas.microsoft.com/office/drawing/2014/main" id="{B772A39D-09C3-71E3-F40A-49DA6327C109}"/>
              </a:ext>
            </a:extLst>
          </p:cNvPr>
          <p:cNvSpPr>
            <a:spLocks noGrp="1"/>
          </p:cNvSpPr>
          <p:nvPr>
            <p:ph type="title"/>
          </p:nvPr>
        </p:nvSpPr>
        <p:spPr>
          <a:xfrm>
            <a:off x="495300" y="565125"/>
            <a:ext cx="11187112" cy="439479"/>
          </a:xfrm>
        </p:spPr>
        <p:txBody>
          <a:bodyPr/>
          <a:lstStyle/>
          <a:p>
            <a:r>
              <a:rPr lang="de-DE"/>
              <a:t>RAN: MBMS </a:t>
            </a:r>
            <a:r>
              <a:rPr lang="de-DE">
                <a:sym typeface="Wingdings" panose="05000000000000000000" pitchFamily="2" charset="2"/>
              </a:rPr>
              <a:t> 5G Broadcast Evolution</a:t>
            </a:r>
            <a:endParaRPr lang="en-US"/>
          </a:p>
        </p:txBody>
      </p:sp>
      <p:sp>
        <p:nvSpPr>
          <p:cNvPr id="39" name="L-Shape 38">
            <a:extLst>
              <a:ext uri="{FF2B5EF4-FFF2-40B4-BE49-F238E27FC236}">
                <a16:creationId xmlns:a16="http://schemas.microsoft.com/office/drawing/2014/main" id="{9E2C5180-E437-FDC5-59DE-28EE8133F8DB}"/>
              </a:ext>
            </a:extLst>
          </p:cNvPr>
          <p:cNvSpPr/>
          <p:nvPr/>
        </p:nvSpPr>
        <p:spPr>
          <a:xfrm rot="5400000">
            <a:off x="914889" y="2503561"/>
            <a:ext cx="410655" cy="1441241"/>
          </a:xfrm>
          <a:prstGeom prst="corner">
            <a:avLst>
              <a:gd name="adj1" fmla="val 16120"/>
              <a:gd name="adj2" fmla="val 16110"/>
            </a:avLst>
          </a:prstGeom>
        </p:spPr>
        <p:style>
          <a:lnRef idx="1">
            <a:schemeClr val="accent2">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0" name="Freeform: Shape 39">
            <a:extLst>
              <a:ext uri="{FF2B5EF4-FFF2-40B4-BE49-F238E27FC236}">
                <a16:creationId xmlns:a16="http://schemas.microsoft.com/office/drawing/2014/main" id="{99B08975-9354-B58D-7A39-418BDC97C3C8}"/>
              </a:ext>
            </a:extLst>
          </p:cNvPr>
          <p:cNvSpPr/>
          <p:nvPr/>
        </p:nvSpPr>
        <p:spPr>
          <a:xfrm>
            <a:off x="482837" y="3141041"/>
            <a:ext cx="2083501" cy="540754"/>
          </a:xfrm>
          <a:custGeom>
            <a:avLst/>
            <a:gdLst>
              <a:gd name="connsiteX0" fmla="*/ 0 w 1814784"/>
              <a:gd name="connsiteY0" fmla="*/ 0 h 540754"/>
              <a:gd name="connsiteX1" fmla="*/ 1814784 w 1814784"/>
              <a:gd name="connsiteY1" fmla="*/ 0 h 540754"/>
              <a:gd name="connsiteX2" fmla="*/ 1814784 w 1814784"/>
              <a:gd name="connsiteY2" fmla="*/ 540754 h 540754"/>
              <a:gd name="connsiteX3" fmla="*/ 0 w 1814784"/>
              <a:gd name="connsiteY3" fmla="*/ 540754 h 540754"/>
              <a:gd name="connsiteX4" fmla="*/ 0 w 181478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784" h="540754">
                <a:moveTo>
                  <a:pt x="0" y="0"/>
                </a:moveTo>
                <a:lnTo>
                  <a:pt x="1814784" y="0"/>
                </a:lnTo>
                <a:lnTo>
                  <a:pt x="1814784"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853DC"/>
                </a:solidFill>
                <a:effectLst/>
                <a:uLnTx/>
                <a:uFillTx/>
                <a:latin typeface="Microsoft Sans Serif"/>
                <a:ea typeface="+mn-ea"/>
                <a:cs typeface="+mn-cs"/>
              </a:rPr>
              <a:t>Mixed unicast/MBMS carrier </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15 kHz numerology</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Extended CP of 16.7us</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Multi-cell transmission only (MBSFN)</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Up to 60% of subframes for MBSFN transmission</a:t>
            </a:r>
          </a:p>
          <a:p>
            <a:pPr marL="0" marR="0" lvl="0" indent="0" algn="l" defTabSz="622300" rtl="0" eaLnBrk="1" fontAlgn="auto" latinLnBrk="0" hangingPunct="1">
              <a:lnSpc>
                <a:spcPct val="90000"/>
              </a:lnSpc>
              <a:spcBef>
                <a:spcPct val="0"/>
              </a:spcBef>
              <a:spcAft>
                <a:spcPts val="300"/>
              </a:spcAft>
              <a:buClrTx/>
              <a:buSzTx/>
              <a:buFontTx/>
              <a:buNone/>
              <a:tabLst/>
              <a:defRPr/>
            </a:pPr>
            <a:endPar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endParaRPr>
          </a:p>
        </p:txBody>
      </p:sp>
      <p:sp>
        <p:nvSpPr>
          <p:cNvPr id="41" name="Isosceles Triangle 40">
            <a:extLst>
              <a:ext uri="{FF2B5EF4-FFF2-40B4-BE49-F238E27FC236}">
                <a16:creationId xmlns:a16="http://schemas.microsoft.com/office/drawing/2014/main" id="{A2ED842A-F882-0C33-5332-9BDB0EDE1F95}"/>
              </a:ext>
            </a:extLst>
          </p:cNvPr>
          <p:cNvSpPr/>
          <p:nvPr/>
        </p:nvSpPr>
        <p:spPr>
          <a:xfrm>
            <a:off x="1926885" y="2826370"/>
            <a:ext cx="250926" cy="192485"/>
          </a:xfrm>
          <a:prstGeom prst="triangle">
            <a:avLst>
              <a:gd name="adj" fmla="val 100000"/>
            </a:avLst>
          </a:prstGeom>
        </p:spPr>
        <p:style>
          <a:lnRef idx="1">
            <a:schemeClr val="accent3">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2" name="L-Shape 41">
            <a:extLst>
              <a:ext uri="{FF2B5EF4-FFF2-40B4-BE49-F238E27FC236}">
                <a16:creationId xmlns:a16="http://schemas.microsoft.com/office/drawing/2014/main" id="{7C2E58D7-A549-C853-0B1C-17DEE733E599}"/>
              </a:ext>
            </a:extLst>
          </p:cNvPr>
          <p:cNvSpPr/>
          <p:nvPr/>
        </p:nvSpPr>
        <p:spPr>
          <a:xfrm rot="5400000">
            <a:off x="2921980" y="2037218"/>
            <a:ext cx="410655" cy="1552622"/>
          </a:xfrm>
          <a:prstGeom prst="corner">
            <a:avLst>
              <a:gd name="adj1" fmla="val 16120"/>
              <a:gd name="adj2" fmla="val 16110"/>
            </a:avLst>
          </a:prstGeom>
        </p:spPr>
        <p:style>
          <a:lnRef idx="1">
            <a:schemeClr val="accent4">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3" name="Freeform: Shape 42">
            <a:extLst>
              <a:ext uri="{FF2B5EF4-FFF2-40B4-BE49-F238E27FC236}">
                <a16:creationId xmlns:a16="http://schemas.microsoft.com/office/drawing/2014/main" id="{893EA4E0-7364-973F-7CDD-FE3AF89FDEAA}"/>
              </a:ext>
            </a:extLst>
          </p:cNvPr>
          <p:cNvSpPr/>
          <p:nvPr/>
        </p:nvSpPr>
        <p:spPr>
          <a:xfrm>
            <a:off x="2470642" y="2706836"/>
            <a:ext cx="1883783" cy="540754"/>
          </a:xfrm>
          <a:custGeom>
            <a:avLst/>
            <a:gdLst>
              <a:gd name="connsiteX0" fmla="*/ 0 w 1769034"/>
              <a:gd name="connsiteY0" fmla="*/ 0 h 540754"/>
              <a:gd name="connsiteX1" fmla="*/ 1769034 w 1769034"/>
              <a:gd name="connsiteY1" fmla="*/ 0 h 540754"/>
              <a:gd name="connsiteX2" fmla="*/ 1769034 w 1769034"/>
              <a:gd name="connsiteY2" fmla="*/ 540754 h 540754"/>
              <a:gd name="connsiteX3" fmla="*/ 0 w 1769034"/>
              <a:gd name="connsiteY3" fmla="*/ 540754 h 540754"/>
              <a:gd name="connsiteX4" fmla="*/ 0 w 176903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034" h="540754">
                <a:moveTo>
                  <a:pt x="0" y="0"/>
                </a:moveTo>
                <a:lnTo>
                  <a:pt x="1769034" y="0"/>
                </a:lnTo>
                <a:lnTo>
                  <a:pt x="1769034"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Single-cell transmission  (SC-PTM)</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Transmission on PDSCH with new group identities</a:t>
            </a: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Non-synchronized transmitters</a:t>
            </a:r>
          </a:p>
        </p:txBody>
      </p:sp>
      <p:sp>
        <p:nvSpPr>
          <p:cNvPr id="44" name="Isosceles Triangle 43">
            <a:extLst>
              <a:ext uri="{FF2B5EF4-FFF2-40B4-BE49-F238E27FC236}">
                <a16:creationId xmlns:a16="http://schemas.microsoft.com/office/drawing/2014/main" id="{BA821244-7B91-C2DE-1BD7-C5E726419B44}"/>
              </a:ext>
            </a:extLst>
          </p:cNvPr>
          <p:cNvSpPr/>
          <p:nvPr/>
        </p:nvSpPr>
        <p:spPr>
          <a:xfrm>
            <a:off x="5970941" y="2084517"/>
            <a:ext cx="244100" cy="232225"/>
          </a:xfrm>
          <a:prstGeom prst="triangle">
            <a:avLst>
              <a:gd name="adj" fmla="val 100000"/>
            </a:avLst>
          </a:prstGeom>
          <a:solidFill>
            <a:srgbClr val="7030A0"/>
          </a:solidFill>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5" name="L-Shape 44">
            <a:extLst>
              <a:ext uri="{FF2B5EF4-FFF2-40B4-BE49-F238E27FC236}">
                <a16:creationId xmlns:a16="http://schemas.microsoft.com/office/drawing/2014/main" id="{FC75B88A-8417-2BE0-62D5-CC1472BD85FF}"/>
              </a:ext>
            </a:extLst>
          </p:cNvPr>
          <p:cNvSpPr/>
          <p:nvPr/>
        </p:nvSpPr>
        <p:spPr>
          <a:xfrm rot="5400000">
            <a:off x="4914661" y="1299735"/>
            <a:ext cx="410655" cy="1760628"/>
          </a:xfrm>
          <a:prstGeom prst="corner">
            <a:avLst>
              <a:gd name="adj1" fmla="val 16120"/>
              <a:gd name="adj2" fmla="val 16110"/>
            </a:avLst>
          </a:prstGeom>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6" name="Freeform: Shape 45">
            <a:extLst>
              <a:ext uri="{FF2B5EF4-FFF2-40B4-BE49-F238E27FC236}">
                <a16:creationId xmlns:a16="http://schemas.microsoft.com/office/drawing/2014/main" id="{56061558-B82F-F397-A319-1559B9363184}"/>
              </a:ext>
            </a:extLst>
          </p:cNvPr>
          <p:cNvSpPr/>
          <p:nvPr/>
        </p:nvSpPr>
        <p:spPr>
          <a:xfrm>
            <a:off x="4354427" y="2133385"/>
            <a:ext cx="1672222" cy="2630298"/>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Longer cyclic prefixes for support of </a:t>
            </a:r>
            <a:r>
              <a:rPr kumimoji="0" lang="en-US" sz="1400" b="1" i="0" u="none" strike="noStrike" kern="1200" cap="none" spc="0" normalizeH="0" baseline="0" noProof="0" dirty="0">
                <a:ln>
                  <a:noFill/>
                </a:ln>
                <a:solidFill>
                  <a:srgbClr val="E71324"/>
                </a:solidFill>
                <a:effectLst/>
                <a:uLnTx/>
                <a:uFillTx/>
                <a:latin typeface="Microsoft Sans Serif"/>
                <a:ea typeface="+mn-ea"/>
                <a:cs typeface="+mn-cs"/>
              </a:rPr>
              <a:t>larger ISD</a:t>
            </a:r>
          </a:p>
          <a:p>
            <a:pPr marL="85725" marR="0" lvl="0" indent="-85725"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Up to 100% of subframes for MBSFN transmission on a </a:t>
            </a:r>
            <a:r>
              <a:rPr kumimoji="0" lang="en-US" sz="1400" b="1" i="0" u="none" strike="noStrike" kern="1200" cap="none" spc="0" normalizeH="0" baseline="0" noProof="0" dirty="0">
                <a:ln>
                  <a:noFill/>
                </a:ln>
                <a:solidFill>
                  <a:srgbClr val="E71324"/>
                </a:solidFill>
                <a:effectLst/>
                <a:uLnTx/>
                <a:uFillTx/>
                <a:latin typeface="Microsoft Sans Serif"/>
                <a:ea typeface="+mn-ea"/>
                <a:cs typeface="+mn-cs"/>
              </a:rPr>
              <a:t>dedicated carrier</a:t>
            </a:r>
            <a:endPar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endParaRP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Subframes fully dedicated to MBSFN transmission </a:t>
            </a:r>
          </a:p>
          <a:p>
            <a:pPr marL="85725" marR="0" lvl="0" indent="-85725" algn="l" defTabSz="6223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Targeting </a:t>
            </a:r>
            <a:r>
              <a:rPr kumimoji="0" lang="en-US" sz="1400" b="1" i="0" u="none" strike="noStrike" kern="1200" cap="none" spc="0" normalizeH="0" baseline="0" noProof="0" dirty="0">
                <a:ln>
                  <a:noFill/>
                </a:ln>
                <a:solidFill>
                  <a:srgbClr val="E71324"/>
                </a:solidFill>
                <a:effectLst/>
                <a:uLnTx/>
                <a:uFillTx/>
                <a:latin typeface="Microsoft Sans Serif"/>
                <a:ea typeface="+mn-ea"/>
                <a:cs typeface="+mn-cs"/>
              </a:rPr>
              <a:t>rooftop and car-mounted</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 antennas, handheld receivers</a:t>
            </a:r>
          </a:p>
        </p:txBody>
      </p:sp>
      <p:sp>
        <p:nvSpPr>
          <p:cNvPr id="24" name="TextBox 23">
            <a:extLst>
              <a:ext uri="{FF2B5EF4-FFF2-40B4-BE49-F238E27FC236}">
                <a16:creationId xmlns:a16="http://schemas.microsoft.com/office/drawing/2014/main" id="{D7B2FB8F-6BBB-AAC5-DF66-B2F787225AB9}"/>
              </a:ext>
            </a:extLst>
          </p:cNvPr>
          <p:cNvSpPr txBox="1"/>
          <p:nvPr/>
        </p:nvSpPr>
        <p:spPr>
          <a:xfrm>
            <a:off x="401448" y="2634305"/>
            <a:ext cx="1399778"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0" i="0" u="none" strike="noStrike" kern="1200" cap="none" spc="0" normalizeH="0" baseline="0" noProof="0">
                <a:ln w="0"/>
                <a:solidFill>
                  <a:srgbClr val="2853DC"/>
                </a:solidFill>
                <a:effectLst>
                  <a:outerShdw blurRad="38100" dist="25400" dir="5400000" algn="ctr" rotWithShape="0">
                    <a:srgbClr val="6E747A">
                      <a:alpha val="43000"/>
                    </a:srgbClr>
                  </a:outerShdw>
                </a:effectLst>
                <a:uLnTx/>
                <a:uFillTx/>
                <a:latin typeface="Microsoft Sans Serif"/>
                <a:ea typeface="+mn-ea"/>
                <a:cs typeface="Microsoft Sans Serif" panose="020B0604020202020204" pitchFamily="34" charset="0"/>
              </a:rPr>
              <a:t>Release</a:t>
            </a:r>
            <a:r>
              <a:rPr kumimoji="0" lang="en-US" sz="2400" b="0" i="0" u="none" strike="noStrike" kern="1200" cap="none" spc="0" normalizeH="0" baseline="0" noProof="0">
                <a:ln w="22225">
                  <a:solidFill>
                    <a:srgbClr val="7BA0FF"/>
                  </a:solidFill>
                  <a:prstDash val="solid"/>
                </a:ln>
                <a:solidFill>
                  <a:srgbClr val="7BA0FF">
                    <a:lumMod val="40000"/>
                    <a:lumOff val="60000"/>
                  </a:srgbClr>
                </a:solidFill>
                <a:effectLst/>
                <a:uLnTx/>
                <a:uFillTx/>
                <a:latin typeface="Microsoft Sans Serif"/>
                <a:ea typeface="+mn-ea"/>
                <a:cs typeface="Microsoft Sans Serif" panose="020B0604020202020204" pitchFamily="34" charset="0"/>
              </a:rPr>
              <a:t> </a:t>
            </a:r>
            <a:r>
              <a:rPr kumimoji="0" lang="en-US" sz="2400" b="0" i="0" u="none" strike="noStrike" kern="1200" cap="none" spc="0" normalizeH="0" baseline="0" noProof="0">
                <a:ln w="0"/>
                <a:solidFill>
                  <a:srgbClr val="2853DC"/>
                </a:solidFill>
                <a:effectLst>
                  <a:outerShdw blurRad="38100" dist="25400" dir="5400000" algn="ctr" rotWithShape="0">
                    <a:srgbClr val="6E747A">
                      <a:alpha val="43000"/>
                    </a:srgbClr>
                  </a:outerShdw>
                </a:effectLst>
                <a:uLnTx/>
                <a:uFillTx/>
                <a:latin typeface="Microsoft Sans Serif"/>
                <a:ea typeface="+mn-ea"/>
                <a:cs typeface="Microsoft Sans Serif" panose="020B0604020202020204" pitchFamily="34" charset="0"/>
              </a:rPr>
              <a:t>9</a:t>
            </a:r>
            <a:endParaRPr kumimoji="0" lang="en-US" sz="2400" b="0" i="0" u="none" strike="noStrike" kern="1200" cap="none" spc="0" normalizeH="0" baseline="0" noProof="0">
              <a:ln w="22225">
                <a:solidFill>
                  <a:srgbClr val="7BA0FF"/>
                </a:solidFill>
                <a:prstDash val="solid"/>
              </a:ln>
              <a:solidFill>
                <a:srgbClr val="7BA0FF">
                  <a:lumMod val="40000"/>
                  <a:lumOff val="60000"/>
                </a:srgbClr>
              </a:solidFill>
              <a:effectLst/>
              <a:uLnTx/>
              <a:uFillTx/>
              <a:latin typeface="Microsoft Sans Serif"/>
              <a:ea typeface="+mn-ea"/>
              <a:cs typeface="Microsoft Sans Serif" panose="020B0604020202020204" pitchFamily="34" charset="0"/>
            </a:endParaRPr>
          </a:p>
        </p:txBody>
      </p:sp>
      <p:sp>
        <p:nvSpPr>
          <p:cNvPr id="25" name="TextBox 24">
            <a:extLst>
              <a:ext uri="{FF2B5EF4-FFF2-40B4-BE49-F238E27FC236}">
                <a16:creationId xmlns:a16="http://schemas.microsoft.com/office/drawing/2014/main" id="{11167390-CABF-A1FA-879E-608BEA3D5C30}"/>
              </a:ext>
            </a:extLst>
          </p:cNvPr>
          <p:cNvSpPr txBox="1"/>
          <p:nvPr/>
        </p:nvSpPr>
        <p:spPr>
          <a:xfrm>
            <a:off x="2360519" y="2166573"/>
            <a:ext cx="1552623" cy="354584"/>
          </a:xfrm>
          <a:prstGeom prst="rect">
            <a:avLst/>
          </a:prstGeom>
        </p:spPr>
        <p:txBody>
          <a:bodyPr wrap="square" lIns="0" tIns="0" rIns="0" bIns="0" rtlCol="0">
            <a:spAutoFit/>
            <a:scene3d>
              <a:camera prst="orthographicFront"/>
              <a:lightRig rig="soft" dir="t">
                <a:rot lat="0" lon="0" rev="15600000"/>
              </a:lightRig>
            </a:scene3d>
            <a:sp3d extrusionH="57150" prstMaterial="softEdge">
              <a:bevelT w="25400" h="38100"/>
            </a:sp3d>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1" i="0" u="none" strike="noStrike" kern="1200" cap="none" spc="0" normalizeH="0" baseline="0" noProof="0">
                <a:ln/>
                <a:solidFill>
                  <a:srgbClr val="82CBD7"/>
                </a:solidFill>
                <a:effectLst/>
                <a:uLnTx/>
                <a:uFillTx/>
                <a:latin typeface="Microsoft Sans Serif"/>
                <a:ea typeface="+mn-ea"/>
                <a:cs typeface="Microsoft Sans Serif" panose="020B0604020202020204" pitchFamily="34" charset="0"/>
              </a:rPr>
              <a:t>Release 13</a:t>
            </a:r>
          </a:p>
        </p:txBody>
      </p:sp>
      <p:sp>
        <p:nvSpPr>
          <p:cNvPr id="26" name="TextBox 25">
            <a:extLst>
              <a:ext uri="{FF2B5EF4-FFF2-40B4-BE49-F238E27FC236}">
                <a16:creationId xmlns:a16="http://schemas.microsoft.com/office/drawing/2014/main" id="{8F79C7F8-5F38-AFC2-A576-DA630AFE92FC}"/>
              </a:ext>
            </a:extLst>
          </p:cNvPr>
          <p:cNvSpPr txBox="1"/>
          <p:nvPr/>
        </p:nvSpPr>
        <p:spPr>
          <a:xfrm>
            <a:off x="4182400" y="1593945"/>
            <a:ext cx="1639902"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0" i="0" u="none" strike="noStrike" kern="1200" cap="none" spc="0" normalizeH="0" baseline="0" noProof="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4</a:t>
            </a:r>
          </a:p>
        </p:txBody>
      </p:sp>
      <p:grpSp>
        <p:nvGrpSpPr>
          <p:cNvPr id="37" name="Group 36">
            <a:extLst>
              <a:ext uri="{FF2B5EF4-FFF2-40B4-BE49-F238E27FC236}">
                <a16:creationId xmlns:a16="http://schemas.microsoft.com/office/drawing/2014/main" id="{DA7E3D99-537D-DDC6-2DFF-12698611E7A6}"/>
              </a:ext>
            </a:extLst>
          </p:cNvPr>
          <p:cNvGrpSpPr/>
          <p:nvPr/>
        </p:nvGrpSpPr>
        <p:grpSpPr>
          <a:xfrm>
            <a:off x="6370451" y="4626264"/>
            <a:ext cx="1743997" cy="1620321"/>
            <a:chOff x="7412273" y="1956898"/>
            <a:chExt cx="1820504" cy="3376006"/>
          </a:xfrm>
        </p:grpSpPr>
        <p:grpSp>
          <p:nvGrpSpPr>
            <p:cNvPr id="27" name="Group 26">
              <a:extLst>
                <a:ext uri="{FF2B5EF4-FFF2-40B4-BE49-F238E27FC236}">
                  <a16:creationId xmlns:a16="http://schemas.microsoft.com/office/drawing/2014/main" id="{68E27FFF-84C6-4A77-3F07-98E91EE21AD4}"/>
                </a:ext>
              </a:extLst>
            </p:cNvPr>
            <p:cNvGrpSpPr/>
            <p:nvPr/>
          </p:nvGrpSpPr>
          <p:grpSpPr>
            <a:xfrm>
              <a:off x="7440434" y="1956898"/>
              <a:ext cx="1327261" cy="973519"/>
              <a:chOff x="9179052" y="1732995"/>
              <a:chExt cx="1938065" cy="1357400"/>
            </a:xfrm>
          </p:grpSpPr>
          <p:pic>
            <p:nvPicPr>
              <p:cNvPr id="28" name="Picture 27">
                <a:extLst>
                  <a:ext uri="{FF2B5EF4-FFF2-40B4-BE49-F238E27FC236}">
                    <a16:creationId xmlns:a16="http://schemas.microsoft.com/office/drawing/2014/main" id="{5E95700C-7D09-3E23-51F8-C7BD895D360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79052" y="1732995"/>
                <a:ext cx="1938065" cy="1298916"/>
              </a:xfrm>
              <a:prstGeom prst="rect">
                <a:avLst/>
              </a:prstGeom>
            </p:spPr>
          </p:pic>
          <p:sp>
            <p:nvSpPr>
              <p:cNvPr id="29" name="TextBox 28">
                <a:extLst>
                  <a:ext uri="{FF2B5EF4-FFF2-40B4-BE49-F238E27FC236}">
                    <a16:creationId xmlns:a16="http://schemas.microsoft.com/office/drawing/2014/main" id="{60135E26-F72A-723C-9C06-5C13599594B4}"/>
                  </a:ext>
                </a:extLst>
              </p:cNvPr>
              <p:cNvSpPr txBox="1"/>
              <p:nvPr/>
            </p:nvSpPr>
            <p:spPr>
              <a:xfrm>
                <a:off x="9829086" y="2883544"/>
                <a:ext cx="637995" cy="206851"/>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C000"/>
                    </a:solidFill>
                    <a:effectLst/>
                    <a:uLnTx/>
                    <a:uFillTx/>
                    <a:latin typeface="Microsoft Sans Serif"/>
                    <a:ea typeface="+mn-ea"/>
                    <a:cs typeface="Microsoft Sans Serif" panose="020B0604020202020204" pitchFamily="34" charset="0"/>
                  </a:rPr>
                  <a:t>&gt; 15 km</a:t>
                </a:r>
                <a:endParaRPr kumimoji="0" lang="en-US" sz="1600" b="0" i="0" u="none" strike="noStrike" kern="1200" cap="none" spc="0" normalizeH="0" baseline="0" noProof="0">
                  <a:ln>
                    <a:noFill/>
                  </a:ln>
                  <a:solidFill>
                    <a:srgbClr val="FFC000"/>
                  </a:solidFill>
                  <a:effectLst/>
                  <a:uLnTx/>
                  <a:uFillTx/>
                  <a:latin typeface="Microsoft Sans Serif"/>
                  <a:ea typeface="+mn-ea"/>
                  <a:cs typeface="Microsoft Sans Serif" panose="020B0604020202020204" pitchFamily="34" charset="0"/>
                </a:endParaRPr>
              </a:p>
            </p:txBody>
          </p:sp>
        </p:grpSp>
        <p:pic>
          <p:nvPicPr>
            <p:cNvPr id="30" name="Picture 29">
              <a:extLst>
                <a:ext uri="{FF2B5EF4-FFF2-40B4-BE49-F238E27FC236}">
                  <a16:creationId xmlns:a16="http://schemas.microsoft.com/office/drawing/2014/main" id="{E76551AD-9CFB-CC13-60F7-F9C60BF144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2273" y="3914386"/>
              <a:ext cx="1820504" cy="1418518"/>
            </a:xfrm>
            <a:prstGeom prst="rect">
              <a:avLst/>
            </a:prstGeom>
          </p:spPr>
        </p:pic>
        <p:pic>
          <p:nvPicPr>
            <p:cNvPr id="31" name="Picture 30">
              <a:extLst>
                <a:ext uri="{FF2B5EF4-FFF2-40B4-BE49-F238E27FC236}">
                  <a16:creationId xmlns:a16="http://schemas.microsoft.com/office/drawing/2014/main" id="{EB827DF0-130C-AE67-4772-A88DA261F6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0434" y="3155528"/>
              <a:ext cx="1633177" cy="516483"/>
            </a:xfrm>
            <a:prstGeom prst="rect">
              <a:avLst/>
            </a:prstGeom>
          </p:spPr>
        </p:pic>
      </p:grpSp>
      <p:cxnSp>
        <p:nvCxnSpPr>
          <p:cNvPr id="32" name="Straight Arrow Connector 31">
            <a:extLst>
              <a:ext uri="{FF2B5EF4-FFF2-40B4-BE49-F238E27FC236}">
                <a16:creationId xmlns:a16="http://schemas.microsoft.com/office/drawing/2014/main" id="{78CB860B-DD88-5FAD-58FE-638F65638B83}"/>
              </a:ext>
            </a:extLst>
          </p:cNvPr>
          <p:cNvCxnSpPr>
            <a:cxnSpLocks/>
          </p:cNvCxnSpPr>
          <p:nvPr/>
        </p:nvCxnSpPr>
        <p:spPr>
          <a:xfrm>
            <a:off x="91512" y="6130780"/>
            <a:ext cx="4148162" cy="0"/>
          </a:xfrm>
          <a:prstGeom prst="straightConnector1">
            <a:avLst/>
          </a:prstGeom>
          <a:ln w="12700" cap="rnd">
            <a:solidFill>
              <a:schemeClr val="accent1"/>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38264D8-D866-B209-8228-7CEC9757384C}"/>
              </a:ext>
            </a:extLst>
          </p:cNvPr>
          <p:cNvCxnSpPr>
            <a:cxnSpLocks/>
          </p:cNvCxnSpPr>
          <p:nvPr/>
        </p:nvCxnSpPr>
        <p:spPr>
          <a:xfrm>
            <a:off x="4239674" y="6130780"/>
            <a:ext cx="7888809" cy="0"/>
          </a:xfrm>
          <a:prstGeom prst="straightConnector1">
            <a:avLst/>
          </a:prstGeom>
          <a:ln w="12700" cap="rnd">
            <a:solidFill>
              <a:schemeClr val="bg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726F818-D606-DB73-52F6-23A25B267E74}"/>
              </a:ext>
            </a:extLst>
          </p:cNvPr>
          <p:cNvSpPr txBox="1"/>
          <p:nvPr/>
        </p:nvSpPr>
        <p:spPr>
          <a:xfrm>
            <a:off x="1012827" y="6178929"/>
            <a:ext cx="2045358" cy="207972"/>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Operator controlled” MBMS</a:t>
            </a:r>
          </a:p>
        </p:txBody>
      </p:sp>
      <p:sp>
        <p:nvSpPr>
          <p:cNvPr id="35" name="TextBox 34">
            <a:extLst>
              <a:ext uri="{FF2B5EF4-FFF2-40B4-BE49-F238E27FC236}">
                <a16:creationId xmlns:a16="http://schemas.microsoft.com/office/drawing/2014/main" id="{139806FF-961A-77A3-CA86-3A8F1CF290BD}"/>
              </a:ext>
            </a:extLst>
          </p:cNvPr>
          <p:cNvSpPr txBox="1"/>
          <p:nvPr/>
        </p:nvSpPr>
        <p:spPr>
          <a:xfrm>
            <a:off x="6459507" y="6211571"/>
            <a:ext cx="4440318"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71324"/>
                </a:solidFill>
                <a:effectLst/>
                <a:uLnTx/>
                <a:uFillTx/>
                <a:latin typeface="Microsoft Sans Serif"/>
                <a:ea typeface="+mn-ea"/>
                <a:cs typeface="Microsoft Sans Serif" panose="020B0604020202020204" pitchFamily="34" charset="0"/>
              </a:rPr>
              <a:t>“Broadcaster controlled” MBMS </a:t>
            </a:r>
            <a:r>
              <a:rPr kumimoji="0" lang="en-US" sz="1600" b="0" i="0" u="none" strike="noStrike" kern="1200" cap="none" spc="0" normalizeH="0" baseline="0" noProof="0" dirty="0">
                <a:ln>
                  <a:noFill/>
                </a:ln>
                <a:solidFill>
                  <a:srgbClr val="E71324"/>
                </a:solidFill>
                <a:effectLst/>
                <a:uLnTx/>
                <a:uFillTx/>
                <a:latin typeface="Microsoft Sans Serif"/>
                <a:ea typeface="+mn-ea"/>
                <a:cs typeface="Microsoft Sans Serif" panose="020B0604020202020204" pitchFamily="34" charset="0"/>
                <a:sym typeface="Wingdings" panose="05000000000000000000" pitchFamily="2" charset="2"/>
              </a:rPr>
              <a:t> 5G Broadcast</a:t>
            </a:r>
            <a:endParaRPr kumimoji="0" lang="en-US" sz="1600" b="0" i="0" u="none" strike="noStrike" kern="1200" cap="none" spc="0" normalizeH="0" baseline="0" noProof="0" dirty="0">
              <a:ln>
                <a:noFill/>
              </a:ln>
              <a:solidFill>
                <a:srgbClr val="E71324"/>
              </a:solidFill>
              <a:effectLst/>
              <a:uLnTx/>
              <a:uFillTx/>
              <a:latin typeface="Microsoft Sans Serif"/>
              <a:ea typeface="+mn-ea"/>
              <a:cs typeface="Microsoft Sans Serif" panose="020B0604020202020204" pitchFamily="34" charset="0"/>
            </a:endParaRPr>
          </a:p>
        </p:txBody>
      </p:sp>
      <p:sp>
        <p:nvSpPr>
          <p:cNvPr id="48" name="L-Shape 47">
            <a:extLst>
              <a:ext uri="{FF2B5EF4-FFF2-40B4-BE49-F238E27FC236}">
                <a16:creationId xmlns:a16="http://schemas.microsoft.com/office/drawing/2014/main" id="{7E797E44-400A-9E70-5224-835227CA28ED}"/>
              </a:ext>
            </a:extLst>
          </p:cNvPr>
          <p:cNvSpPr/>
          <p:nvPr/>
        </p:nvSpPr>
        <p:spPr>
          <a:xfrm rot="5400000">
            <a:off x="6899255" y="818272"/>
            <a:ext cx="410655" cy="1858749"/>
          </a:xfrm>
          <a:prstGeom prst="corner">
            <a:avLst>
              <a:gd name="adj1" fmla="val 16120"/>
              <a:gd name="adj2" fmla="val 16110"/>
            </a:avLst>
          </a:prstGeom>
          <a:solidFill>
            <a:srgbClr val="7030A0"/>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49" name="Freeform: Shape 48">
            <a:extLst>
              <a:ext uri="{FF2B5EF4-FFF2-40B4-BE49-F238E27FC236}">
                <a16:creationId xmlns:a16="http://schemas.microsoft.com/office/drawing/2014/main" id="{6F62659B-93BC-083B-6335-E4968272D314}"/>
              </a:ext>
            </a:extLst>
          </p:cNvPr>
          <p:cNvSpPr/>
          <p:nvPr/>
        </p:nvSpPr>
        <p:spPr>
          <a:xfrm>
            <a:off x="6289960" y="1700981"/>
            <a:ext cx="1743997" cy="2470593"/>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New numerologies</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 to target </a:t>
            </a: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rooftop reception </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with up to </a:t>
            </a: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125 km ISD</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High mobility reception</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 fixed, portable and mobile receivers </a:t>
            </a: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up to 250 km/h</a:t>
            </a:r>
            <a:endPar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endParaRPr>
          </a:p>
          <a:p>
            <a:pPr marL="85725" marR="0" lvl="0" indent="-85725" algn="l" defTabSz="622300" rtl="0" eaLnBrk="1" fontAlgn="auto" latinLnBrk="0" hangingPunct="1">
              <a:lnSpc>
                <a:spcPct val="90000"/>
              </a:lnSpc>
              <a:spcBef>
                <a:spcPct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Enhancements to CAS</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increased PDCCH </a:t>
            </a:r>
            <a:r>
              <a:rPr kumimoji="0" lang="en-US" sz="1400" b="0" i="0" u="none" strike="noStrike" kern="1200" cap="none" spc="0" normalizeH="0" baseline="0" noProof="0" dirty="0" err="1">
                <a:ln>
                  <a:noFill/>
                </a:ln>
                <a:solidFill>
                  <a:srgbClr val="13161E">
                    <a:hueOff val="0"/>
                    <a:satOff val="0"/>
                    <a:lumOff val="0"/>
                    <a:alphaOff val="0"/>
                  </a:srgbClr>
                </a:solidFill>
                <a:effectLst/>
                <a:uLnTx/>
                <a:uFillTx/>
                <a:latin typeface="Microsoft Sans Serif"/>
                <a:ea typeface="+mn-ea"/>
                <a:cs typeface="+mn-cs"/>
              </a:rPr>
              <a:t>agg</a:t>
            </a:r>
            <a:r>
              <a:rPr kumimoji="0" lang="en-US" sz="1400" b="0" i="0" u="none" strike="noStrike" kern="1200" cap="none" spc="0" normalizeH="0" baseline="0" noProof="0" dirty="0">
                <a:ln>
                  <a:noFill/>
                </a:ln>
                <a:solidFill>
                  <a:srgbClr val="13161E">
                    <a:hueOff val="0"/>
                    <a:satOff val="0"/>
                    <a:lumOff val="0"/>
                    <a:alphaOff val="0"/>
                  </a:srgbClr>
                </a:solidFill>
                <a:effectLst/>
                <a:uLnTx/>
                <a:uFillTx/>
                <a:latin typeface="Microsoft Sans Serif"/>
                <a:ea typeface="+mn-ea"/>
                <a:cs typeface="+mn-cs"/>
              </a:rPr>
              <a:t>. Level, PBCH repetition, CFI in MIB</a:t>
            </a:r>
          </a:p>
        </p:txBody>
      </p:sp>
      <p:sp>
        <p:nvSpPr>
          <p:cNvPr id="50" name="TextBox 49">
            <a:extLst>
              <a:ext uri="{FF2B5EF4-FFF2-40B4-BE49-F238E27FC236}">
                <a16:creationId xmlns:a16="http://schemas.microsoft.com/office/drawing/2014/main" id="{8C10AB77-D088-F01B-75DD-3BDAD681EAD9}"/>
              </a:ext>
            </a:extLst>
          </p:cNvPr>
          <p:cNvSpPr txBox="1"/>
          <p:nvPr/>
        </p:nvSpPr>
        <p:spPr>
          <a:xfrm>
            <a:off x="6175207" y="1125857"/>
            <a:ext cx="1639902"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0" i="0" u="none" strike="noStrike" kern="1200" cap="none" spc="0" normalizeH="0" baseline="0" noProof="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6</a:t>
            </a:r>
          </a:p>
        </p:txBody>
      </p:sp>
      <p:sp>
        <p:nvSpPr>
          <p:cNvPr id="51" name="Isosceles Triangle 50">
            <a:extLst>
              <a:ext uri="{FF2B5EF4-FFF2-40B4-BE49-F238E27FC236}">
                <a16:creationId xmlns:a16="http://schemas.microsoft.com/office/drawing/2014/main" id="{70BBB1CD-099E-8C67-0E47-793B69DA3034}"/>
              </a:ext>
            </a:extLst>
          </p:cNvPr>
          <p:cNvSpPr/>
          <p:nvPr/>
        </p:nvSpPr>
        <p:spPr>
          <a:xfrm>
            <a:off x="3945186" y="2555419"/>
            <a:ext cx="244100" cy="232225"/>
          </a:xfrm>
          <a:prstGeom prst="triangle">
            <a:avLst>
              <a:gd name="adj" fmla="val 100000"/>
            </a:avLst>
          </a:prstGeom>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pic>
        <p:nvPicPr>
          <p:cNvPr id="52" name="Picture 51">
            <a:extLst>
              <a:ext uri="{FF2B5EF4-FFF2-40B4-BE49-F238E27FC236}">
                <a16:creationId xmlns:a16="http://schemas.microsoft.com/office/drawing/2014/main" id="{6BE61A46-BE0D-A0F3-CBCD-D7E2B2183426}"/>
              </a:ext>
            </a:extLst>
          </p:cNvPr>
          <p:cNvPicPr>
            <a:picLocks noChangeAspect="1"/>
          </p:cNvPicPr>
          <p:nvPr/>
        </p:nvPicPr>
        <p:blipFill>
          <a:blip r:embed="rId5"/>
          <a:stretch>
            <a:fillRect/>
          </a:stretch>
        </p:blipFill>
        <p:spPr>
          <a:xfrm>
            <a:off x="8201874" y="4115678"/>
            <a:ext cx="3956241" cy="2004996"/>
          </a:xfrm>
          <a:prstGeom prst="rect">
            <a:avLst/>
          </a:prstGeom>
        </p:spPr>
      </p:pic>
      <p:sp>
        <p:nvSpPr>
          <p:cNvPr id="12" name="Isosceles Triangle 11">
            <a:extLst>
              <a:ext uri="{FF2B5EF4-FFF2-40B4-BE49-F238E27FC236}">
                <a16:creationId xmlns:a16="http://schemas.microsoft.com/office/drawing/2014/main" id="{D4B94110-A3DC-83CC-4950-C7B73A83FB76}"/>
              </a:ext>
            </a:extLst>
          </p:cNvPr>
          <p:cNvSpPr/>
          <p:nvPr/>
        </p:nvSpPr>
        <p:spPr>
          <a:xfrm>
            <a:off x="8030211" y="1703658"/>
            <a:ext cx="244100" cy="232225"/>
          </a:xfrm>
          <a:prstGeom prst="triangle">
            <a:avLst>
              <a:gd name="adj" fmla="val 100000"/>
            </a:avLst>
          </a:prstGeom>
          <a:solidFill>
            <a:srgbClr val="FFC000"/>
          </a:solidFill>
          <a:ln>
            <a:solidFill>
              <a:srgbClr val="FFC000"/>
            </a:solidFill>
          </a:ln>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3" name="L-Shape 12">
            <a:extLst>
              <a:ext uri="{FF2B5EF4-FFF2-40B4-BE49-F238E27FC236}">
                <a16:creationId xmlns:a16="http://schemas.microsoft.com/office/drawing/2014/main" id="{ECFF3F03-2CA1-8BEB-D9BF-C47475C9D92E}"/>
              </a:ext>
            </a:extLst>
          </p:cNvPr>
          <p:cNvSpPr/>
          <p:nvPr/>
        </p:nvSpPr>
        <p:spPr>
          <a:xfrm rot="5400000">
            <a:off x="8849101" y="546837"/>
            <a:ext cx="410655" cy="1639902"/>
          </a:xfrm>
          <a:prstGeom prst="corner">
            <a:avLst>
              <a:gd name="adj1" fmla="val 16120"/>
              <a:gd name="adj2" fmla="val 16110"/>
            </a:avLst>
          </a:prstGeom>
          <a:solidFill>
            <a:srgbClr val="FFC000"/>
          </a:solidFill>
          <a:ln>
            <a:solidFill>
              <a:srgbClr val="FFC000"/>
            </a:solidFill>
          </a:ln>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4" name="Freeform: Shape 13">
            <a:extLst>
              <a:ext uri="{FF2B5EF4-FFF2-40B4-BE49-F238E27FC236}">
                <a16:creationId xmlns:a16="http://schemas.microsoft.com/office/drawing/2014/main" id="{2215B7AC-DAC3-1EBC-6C74-0DB1E08BFA5E}"/>
              </a:ext>
            </a:extLst>
          </p:cNvPr>
          <p:cNvSpPr/>
          <p:nvPr/>
        </p:nvSpPr>
        <p:spPr>
          <a:xfrm>
            <a:off x="8349230" y="1320122"/>
            <a:ext cx="1811767" cy="2470593"/>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6/7/8 MHz channel bandwidth </a:t>
            </a:r>
            <a:r>
              <a:rPr kumimoji="0" lang="en-US" sz="1400" b="0" i="0" u="none" strike="noStrike" kern="1200" cap="none" spc="0" normalizeH="0" baseline="0" noProof="0" dirty="0">
                <a:ln>
                  <a:noFill/>
                </a:ln>
                <a:solidFill>
                  <a:srgbClr val="13161E"/>
                </a:solidFill>
                <a:effectLst/>
                <a:uLnTx/>
                <a:uFillTx/>
                <a:latin typeface="Microsoft Sans Serif"/>
                <a:ea typeface="+mn-ea"/>
                <a:cs typeface="+mn-cs"/>
              </a:rPr>
              <a:t>to support common global channel bandwidth for broadcast systems</a:t>
            </a:r>
            <a:endParaRPr kumimoji="0" lang="en-US" sz="1400" b="0" i="0" u="none" strike="noStrike" kern="1200" cap="none" spc="0" normalizeH="0" baseline="0" noProof="0" dirty="0">
              <a:ln>
                <a:noFill/>
              </a:ln>
              <a:solidFill>
                <a:srgbClr val="E04F4F"/>
              </a:solidFill>
              <a:effectLst/>
              <a:uLnTx/>
              <a:uFillTx/>
              <a:latin typeface="Microsoft Sans Serif"/>
              <a:ea typeface="+mn-ea"/>
              <a:cs typeface="+mn-cs"/>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Introduction of UHF Band 108 </a:t>
            </a:r>
            <a:r>
              <a:rPr kumimoji="0" lang="en-US" sz="1400" b="0" i="0" u="none" strike="noStrike" kern="1200" cap="none" spc="0" normalizeH="0" baseline="0" noProof="0" dirty="0">
                <a:ln>
                  <a:noFill/>
                </a:ln>
                <a:solidFill>
                  <a:srgbClr val="13161E"/>
                </a:solidFill>
                <a:effectLst/>
                <a:uLnTx/>
                <a:uFillTx/>
                <a:latin typeface="Microsoft Sans Serif"/>
                <a:ea typeface="+mn-ea"/>
                <a:cs typeface="+mn-cs"/>
              </a:rPr>
              <a:t>to address RF transmitter and receiver requirements</a:t>
            </a: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E04F4F"/>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8708790C-58A7-4BF4-B3CF-440944A8E94D}"/>
              </a:ext>
            </a:extLst>
          </p:cNvPr>
          <p:cNvSpPr txBox="1"/>
          <p:nvPr/>
        </p:nvSpPr>
        <p:spPr>
          <a:xfrm>
            <a:off x="8234477" y="744998"/>
            <a:ext cx="2051858"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0" i="0" u="none" strike="noStrike" kern="1200" cap="none" spc="0" normalizeH="0" baseline="0" noProof="0" dirty="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8</a:t>
            </a:r>
          </a:p>
        </p:txBody>
      </p:sp>
      <p:pic>
        <p:nvPicPr>
          <p:cNvPr id="4" name="Picture 4" descr="Why 3GPP Just Works– Multiple Generations Of Global Cellular Standards And  Solid Execution">
            <a:extLst>
              <a:ext uri="{FF2B5EF4-FFF2-40B4-BE49-F238E27FC236}">
                <a16:creationId xmlns:a16="http://schemas.microsoft.com/office/drawing/2014/main" id="{AE3E3E3F-3643-1A8A-554E-89D72BF0AD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338" y="1246980"/>
            <a:ext cx="1556378" cy="908834"/>
          </a:xfrm>
          <a:prstGeom prst="rect">
            <a:avLst/>
          </a:prstGeom>
          <a:noFill/>
          <a:extLst>
            <a:ext uri="{909E8E84-426E-40DD-AFC4-6F175D3DCCD1}">
              <a14:hiddenFill xmlns:a14="http://schemas.microsoft.com/office/drawing/2010/main">
                <a:solidFill>
                  <a:srgbClr val="FFFFFF"/>
                </a:solidFill>
              </a14:hiddenFill>
            </a:ext>
          </a:extLst>
        </p:spPr>
      </p:pic>
      <p:sp>
        <p:nvSpPr>
          <p:cNvPr id="7" name="Isosceles Triangle 6">
            <a:extLst>
              <a:ext uri="{FF2B5EF4-FFF2-40B4-BE49-F238E27FC236}">
                <a16:creationId xmlns:a16="http://schemas.microsoft.com/office/drawing/2014/main" id="{D8117F58-B22F-3A96-35E5-570AE0FFFC80}"/>
              </a:ext>
            </a:extLst>
          </p:cNvPr>
          <p:cNvSpPr/>
          <p:nvPr/>
        </p:nvSpPr>
        <p:spPr>
          <a:xfrm>
            <a:off x="10008330" y="1193073"/>
            <a:ext cx="244100" cy="232225"/>
          </a:xfrm>
          <a:prstGeom prst="triangle">
            <a:avLst>
              <a:gd name="adj" fmla="val 100000"/>
            </a:avLst>
          </a:prstGeom>
          <a:solidFill>
            <a:schemeClr val="accent5"/>
          </a:solidFill>
          <a:ln>
            <a:solidFill>
              <a:schemeClr val="accent5"/>
            </a:solidFill>
          </a:ln>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8" name="L-Shape 7">
            <a:extLst>
              <a:ext uri="{FF2B5EF4-FFF2-40B4-BE49-F238E27FC236}">
                <a16:creationId xmlns:a16="http://schemas.microsoft.com/office/drawing/2014/main" id="{635AA1FC-A94C-2F8C-D5F8-3C6FE5C32F12}"/>
              </a:ext>
            </a:extLst>
          </p:cNvPr>
          <p:cNvSpPr/>
          <p:nvPr/>
        </p:nvSpPr>
        <p:spPr>
          <a:xfrm rot="5400000">
            <a:off x="10902520" y="-49680"/>
            <a:ext cx="410655" cy="1811768"/>
          </a:xfrm>
          <a:prstGeom prst="corner">
            <a:avLst>
              <a:gd name="adj1" fmla="val 16120"/>
              <a:gd name="adj2" fmla="val 16110"/>
            </a:avLst>
          </a:prstGeom>
          <a:solidFill>
            <a:schemeClr val="accent5"/>
          </a:solidFill>
          <a:ln>
            <a:solidFill>
              <a:schemeClr val="accent5"/>
            </a:solidFill>
          </a:ln>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9" name="Freeform: Shape 8">
            <a:extLst>
              <a:ext uri="{FF2B5EF4-FFF2-40B4-BE49-F238E27FC236}">
                <a16:creationId xmlns:a16="http://schemas.microsoft.com/office/drawing/2014/main" id="{E431034F-3EF4-AF71-BB91-F11E64843460}"/>
              </a:ext>
            </a:extLst>
          </p:cNvPr>
          <p:cNvSpPr/>
          <p:nvPr/>
        </p:nvSpPr>
        <p:spPr>
          <a:xfrm>
            <a:off x="10316716" y="809537"/>
            <a:ext cx="1811767" cy="2470593"/>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CAS Muting </a:t>
            </a:r>
            <a:r>
              <a:rPr kumimoji="0" lang="en-US" sz="1400" b="0" i="0" u="none" strike="noStrike" kern="1200" cap="none" spc="0" normalizeH="0" baseline="0" noProof="0" dirty="0">
                <a:ln>
                  <a:noFill/>
                </a:ln>
                <a:solidFill>
                  <a:srgbClr val="13161E"/>
                </a:solidFill>
                <a:effectLst/>
                <a:uLnTx/>
                <a:uFillTx/>
                <a:latin typeface="Microsoft Sans Serif"/>
                <a:ea typeface="+mn-ea"/>
                <a:cs typeface="+mn-cs"/>
              </a:rPr>
              <a:t>for co-existence with legacy broadcast</a:t>
            </a:r>
          </a:p>
          <a:p>
            <a:pPr marL="85725" indent="-85725">
              <a:spcAft>
                <a:spcPts val="300"/>
              </a:spcAft>
              <a:buFont typeface="Arial" panose="020B0604020202020204" pitchFamily="34" charset="0"/>
              <a:buChar char="•"/>
              <a:defRPr/>
            </a:pPr>
            <a:r>
              <a:rPr lang="en-US" sz="1400" b="1" dirty="0">
                <a:solidFill>
                  <a:srgbClr val="E04F4F"/>
                </a:solidFill>
              </a:rPr>
              <a:t>Time-Frequency Interleaving </a:t>
            </a:r>
            <a:r>
              <a:rPr lang="en-US" sz="1400" dirty="0">
                <a:solidFill>
                  <a:srgbClr val="13161E"/>
                </a:solidFill>
              </a:rPr>
              <a:t>coverage enhancements</a:t>
            </a:r>
            <a:endParaRPr kumimoji="0" lang="en-US" sz="1400" b="0" i="0" u="none" strike="noStrike" kern="1200" cap="none" spc="0" normalizeH="0" baseline="0" noProof="0" dirty="0">
              <a:ln>
                <a:noFill/>
              </a:ln>
              <a:solidFill>
                <a:srgbClr val="E04F4F"/>
              </a:solidFill>
              <a:effectLst/>
              <a:uLnTx/>
              <a:uFillTx/>
              <a:latin typeface="Microsoft Sans Serif"/>
              <a:ea typeface="+mn-ea"/>
              <a:cs typeface="+mn-cs"/>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Introduction of UHF Band 112 and 113 </a:t>
            </a:r>
            <a:r>
              <a:rPr kumimoji="0" lang="en-US" sz="1400" b="0" i="0" u="none" strike="noStrike" kern="1200" cap="none" spc="0" normalizeH="0" baseline="0" noProof="0" dirty="0">
                <a:ln>
                  <a:noFill/>
                </a:ln>
                <a:solidFill>
                  <a:srgbClr val="13161E"/>
                </a:solidFill>
                <a:effectLst/>
                <a:uLnTx/>
                <a:uFillTx/>
                <a:latin typeface="Microsoft Sans Serif"/>
                <a:ea typeface="+mn-ea"/>
                <a:cs typeface="+mn-cs"/>
              </a:rPr>
              <a:t>to support early deployments</a:t>
            </a:r>
            <a:r>
              <a:rPr kumimoji="0" lang="en-US" sz="1400" b="1" i="0" u="none" strike="noStrike" kern="1200" cap="none" spc="0" normalizeH="0" baseline="0" noProof="0" dirty="0">
                <a:ln>
                  <a:noFill/>
                </a:ln>
                <a:solidFill>
                  <a:srgbClr val="E04F4F"/>
                </a:solidFill>
                <a:effectLst/>
                <a:uLnTx/>
                <a:uFillTx/>
                <a:latin typeface="Microsoft Sans Serif"/>
                <a:ea typeface="+mn-ea"/>
                <a:cs typeface="+mn-cs"/>
              </a:rPr>
              <a:t>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E04F4F"/>
              </a:solidFill>
              <a:effectLst/>
              <a:uLnTx/>
              <a:uFillTx/>
              <a:latin typeface="Microsoft Sans Serif"/>
              <a:ea typeface="+mn-ea"/>
              <a:cs typeface="+mn-cs"/>
            </a:endParaRPr>
          </a:p>
        </p:txBody>
      </p:sp>
      <p:sp>
        <p:nvSpPr>
          <p:cNvPr id="10" name="TextBox 9">
            <a:extLst>
              <a:ext uri="{FF2B5EF4-FFF2-40B4-BE49-F238E27FC236}">
                <a16:creationId xmlns:a16="http://schemas.microsoft.com/office/drawing/2014/main" id="{1E533B3E-A38E-A3FF-6753-9B32FA2DE27D}"/>
              </a:ext>
            </a:extLst>
          </p:cNvPr>
          <p:cNvSpPr txBox="1"/>
          <p:nvPr/>
        </p:nvSpPr>
        <p:spPr>
          <a:xfrm>
            <a:off x="10201963" y="234413"/>
            <a:ext cx="2051858"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400" b="0" i="0" u="none" strike="noStrike" kern="1200" cap="none" spc="0" normalizeH="0" baseline="0" noProof="0" dirty="0">
                <a:ln w="0"/>
                <a:gradFill>
                  <a:gsLst>
                    <a:gs pos="21000">
                      <a:srgbClr val="53575C"/>
                    </a:gs>
                    <a:gs pos="88000">
                      <a:srgbClr val="C5C7CA"/>
                    </a:gs>
                  </a:gsLst>
                  <a:lin ang="5400000"/>
                </a:gradFill>
                <a:effectLst/>
                <a:uLnTx/>
                <a:uFillTx/>
                <a:latin typeface="Microsoft Sans Serif"/>
                <a:ea typeface="+mn-ea"/>
                <a:cs typeface="Microsoft Sans Serif" panose="020B0604020202020204" pitchFamily="34" charset="0"/>
              </a:rPr>
              <a:t>Release 19</a:t>
            </a:r>
          </a:p>
        </p:txBody>
      </p:sp>
    </p:spTree>
    <p:extLst>
      <p:ext uri="{BB962C8B-B14F-4D97-AF65-F5344CB8AC3E}">
        <p14:creationId xmlns:p14="http://schemas.microsoft.com/office/powerpoint/2010/main" val="3378409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7.xml.rels><?xml version="1.0" encoding="UTF-8" standalone="yes"?>
<Relationships xmlns="http://schemas.openxmlformats.org/package/2006/relationships"><Relationship Id="rId1" Type="http://schemas.openxmlformats.org/officeDocument/2006/relationships/image" Target="../media/image18.jpeg"/></Relationships>
</file>

<file path=ppt/theme/theme1.xml><?xml version="1.0" encoding="utf-8"?>
<a:theme xmlns:a="http://schemas.openxmlformats.org/drawingml/2006/main" name="Qualcomm Corporate Public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ualcomm_Corporate_Public_Template-Feb 2023_v06.pptx" id="{BF62DC1C-CEA5-4CAF-A35F-E71673FE086B}" vid="{9660E5A5-8CF2-431F-AF3D-78F55A10DAC7}"/>
    </a:ext>
  </a:extLst>
</a:theme>
</file>

<file path=ppt/theme/theme10.xml><?xml version="1.0" encoding="utf-8"?>
<a:theme xmlns:a="http://schemas.openxmlformats.org/drawingml/2006/main" name="Qualcomm Corporate Confidential Template - 2024">
  <a:themeElements>
    <a:clrScheme name="Qualcomm Masterbrand Template 1">
      <a:dk1>
        <a:srgbClr val="000000"/>
      </a:dk1>
      <a:lt1>
        <a:srgbClr val="FFFFFF"/>
      </a:lt1>
      <a:dk2>
        <a:srgbClr val="020B3F"/>
      </a:dk2>
      <a:lt2>
        <a:srgbClr val="EFF1F5"/>
      </a:lt2>
      <a:accent1>
        <a:srgbClr val="2A2AEA"/>
      </a:accent1>
      <a:accent2>
        <a:srgbClr val="000C3F"/>
      </a:accent2>
      <a:accent3>
        <a:srgbClr val="010101"/>
      </a:accent3>
      <a:accent4>
        <a:srgbClr val="833AFF"/>
      </a:accent4>
      <a:accent5>
        <a:srgbClr val="F5EF32"/>
      </a:accent5>
      <a:accent6>
        <a:srgbClr val="D3D7E3"/>
      </a:accent6>
      <a:hlink>
        <a:srgbClr val="3253DC"/>
      </a:hlink>
      <a:folHlink>
        <a:srgbClr val="7BA0F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2"/>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lnSpc>
            <a:spcPct val="96000"/>
          </a:lnSpc>
          <a:defRPr sz="1600" dirty="0" smtClean="0">
            <a:solidFill>
              <a:srgbClr val="000000"/>
            </a:solidFill>
            <a:latin typeface="Aptos" panose="020B0004020202020204" pitchFamily="34" charset="0"/>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7" id="{CAC659B8-96AC-EA44-A98D-3E998732ED35}" vid="{2340EF75-3B80-4A4F-96AD-26166B4C1719}"/>
    </a:ext>
  </a:extLst>
</a:theme>
</file>

<file path=ppt/theme/theme11.xml><?xml version="1.0" encoding="utf-8"?>
<a:theme xmlns:a="http://schemas.openxmlformats.org/drawingml/2006/main" name="Marco">
  <a:themeElements>
    <a:clrScheme name="5G-MAG">
      <a:dk1>
        <a:srgbClr val="262626"/>
      </a:dk1>
      <a:lt1>
        <a:srgbClr val="FFFFFF"/>
      </a:lt1>
      <a:dk2>
        <a:srgbClr val="262626"/>
      </a:dk2>
      <a:lt2>
        <a:srgbClr val="FFFFFF"/>
      </a:lt2>
      <a:accent1>
        <a:srgbClr val="00A0D2"/>
      </a:accent1>
      <a:accent2>
        <a:srgbClr val="FAB900"/>
      </a:accent2>
      <a:accent3>
        <a:srgbClr val="90BB23"/>
      </a:accent3>
      <a:accent4>
        <a:srgbClr val="EE7008"/>
      </a:accent4>
      <a:accent5>
        <a:srgbClr val="1AB39F"/>
      </a:accent5>
      <a:accent6>
        <a:srgbClr val="D5393D"/>
      </a:accent6>
      <a:hlink>
        <a:srgbClr val="00A0D2"/>
      </a:hlink>
      <a:folHlink>
        <a:srgbClr val="92D050"/>
      </a:folHlink>
    </a:clrScheme>
    <a:fontScheme name="5G-MAG">
      <a:majorFont>
        <a:latin typeface="Poppins SemiBold"/>
        <a:ea typeface=""/>
        <a:cs typeface=""/>
      </a:majorFont>
      <a:minorFont>
        <a:latin typeface="Poppins"/>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12.xml><?xml version="1.0" encoding="utf-8"?>
<a:theme xmlns:a="http://schemas.openxmlformats.org/drawingml/2006/main" name="Facette">
  <a:themeElements>
    <a:clrScheme name="Facette">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te">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te">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3.xml><?xml version="1.0" encoding="utf-8"?>
<a:theme xmlns:a="http://schemas.openxmlformats.org/drawingml/2006/main" name="1_Marco">
  <a:themeElements>
    <a:clrScheme name="5G-MAG">
      <a:dk1>
        <a:srgbClr val="262626"/>
      </a:dk1>
      <a:lt1>
        <a:srgbClr val="FFFFFF"/>
      </a:lt1>
      <a:dk2>
        <a:srgbClr val="262626"/>
      </a:dk2>
      <a:lt2>
        <a:srgbClr val="FFFFFF"/>
      </a:lt2>
      <a:accent1>
        <a:srgbClr val="00A0D2"/>
      </a:accent1>
      <a:accent2>
        <a:srgbClr val="FAB900"/>
      </a:accent2>
      <a:accent3>
        <a:srgbClr val="90BB23"/>
      </a:accent3>
      <a:accent4>
        <a:srgbClr val="EE7008"/>
      </a:accent4>
      <a:accent5>
        <a:srgbClr val="1AB39F"/>
      </a:accent5>
      <a:accent6>
        <a:srgbClr val="D5393D"/>
      </a:accent6>
      <a:hlink>
        <a:srgbClr val="00A0D2"/>
      </a:hlink>
      <a:folHlink>
        <a:srgbClr val="92D050"/>
      </a:folHlink>
    </a:clrScheme>
    <a:fontScheme name="5G-MAG">
      <a:majorFont>
        <a:latin typeface="Poppins SemiBold"/>
        <a:ea typeface=""/>
        <a:cs typeface=""/>
      </a:majorFont>
      <a:minorFont>
        <a:latin typeface="Poppins"/>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14.xml><?xml version="1.0" encoding="utf-8"?>
<a:theme xmlns:a="http://schemas.openxmlformats.org/drawingml/2006/main" name="Office Theme">
  <a:themeElements>
    <a:clrScheme name="Qualcomm 2019">
      <a:dk1>
        <a:srgbClr val="0E2C3A"/>
      </a:dk1>
      <a:lt1>
        <a:srgbClr val="F8F9FA"/>
      </a:lt1>
      <a:dk2>
        <a:srgbClr val="664C81"/>
      </a:dk2>
      <a:lt2>
        <a:srgbClr val="E04F4F"/>
      </a:lt2>
      <a:accent1>
        <a:srgbClr val="3253DC"/>
      </a:accent1>
      <a:accent2>
        <a:srgbClr val="7BA0FF"/>
      </a:accent2>
      <a:accent3>
        <a:srgbClr val="3BA9BB"/>
      </a:accent3>
      <a:accent4>
        <a:srgbClr val="86CDD9"/>
      </a:accent4>
      <a:accent5>
        <a:srgbClr val="4B5A75"/>
      </a:accent5>
      <a:accent6>
        <a:srgbClr val="B1BBCD"/>
      </a:accent6>
      <a:hlink>
        <a:srgbClr val="3253DC"/>
      </a:hlink>
      <a:folHlink>
        <a:srgbClr val="7BA0FF"/>
      </a:folHlink>
    </a:clrScheme>
    <a:fontScheme name="Qualcomm 2019">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Qualcomm 2019">
      <a:dk1>
        <a:srgbClr val="0E2C3A"/>
      </a:dk1>
      <a:lt1>
        <a:srgbClr val="F8F9FA"/>
      </a:lt1>
      <a:dk2>
        <a:srgbClr val="664C81"/>
      </a:dk2>
      <a:lt2>
        <a:srgbClr val="E04F4F"/>
      </a:lt2>
      <a:accent1>
        <a:srgbClr val="3253DC"/>
      </a:accent1>
      <a:accent2>
        <a:srgbClr val="7BA0FF"/>
      </a:accent2>
      <a:accent3>
        <a:srgbClr val="3BA9BB"/>
      </a:accent3>
      <a:accent4>
        <a:srgbClr val="86CDD9"/>
      </a:accent4>
      <a:accent5>
        <a:srgbClr val="4B5A75"/>
      </a:accent5>
      <a:accent6>
        <a:srgbClr val="B1BBCD"/>
      </a:accent6>
      <a:hlink>
        <a:srgbClr val="3253DC"/>
      </a:hlink>
      <a:folHlink>
        <a:srgbClr val="7BA0FF"/>
      </a:folHlink>
    </a:clrScheme>
    <a:fontScheme name="Qualcomm 2019">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3.xml><?xml version="1.0" encoding="utf-8"?>
<a:theme xmlns:a="http://schemas.openxmlformats.org/drawingml/2006/main" name="Qualcomm Executive External_March2021">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4" id="{20670063-6D46-F647-8A0C-4E9CEDCADF87}" vid="{85022A61-E813-134A-8EAF-2F1B9BEC2518}"/>
    </a:ext>
  </a:extLst>
</a:theme>
</file>

<file path=ppt/theme/theme4.xml><?xml version="1.0" encoding="utf-8"?>
<a:theme xmlns:a="http://schemas.openxmlformats.org/drawingml/2006/main" name="Qualcomm Corporat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3" id="{1B5A7F5E-1054-4FAF-9A1E-513063606D04}" vid="{B2AD1865-2F03-485F-8372-4FE4ABCE9C1E}"/>
    </a:ext>
  </a:extLst>
</a:theme>
</file>

<file path=ppt/theme/theme5.xml><?xml version="1.0" encoding="utf-8"?>
<a:theme xmlns:a="http://schemas.openxmlformats.org/drawingml/2006/main" name="1_Qualcomm Corporate Public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ualcomm_Corporate_Public_Template-Feb 2023_v06.pptx" id="{BF62DC1C-CEA5-4CAF-A35F-E71673FE086B}" vid="{9660E5A5-8CF2-431F-AF3D-78F55A10DAC7}"/>
    </a:ext>
  </a:extLst>
</a:theme>
</file>

<file path=ppt/theme/theme6.xml><?xml version="1.0" encoding="utf-8"?>
<a:theme xmlns:a="http://schemas.openxmlformats.org/drawingml/2006/main" name="1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Qualcomm Corporate Internal Template 16x9 " id="{26DF282B-194F-41C0-9132-9346FF064CA9}" vid="{2F3BFD83-FCFA-494A-BF28-EFB393C3DD21}"/>
    </a:ext>
  </a:extLst>
</a:theme>
</file>

<file path=ppt/theme/theme7.xml><?xml version="1.0" encoding="utf-8"?>
<a:theme xmlns:a="http://schemas.openxmlformats.org/drawingml/2006/main" name="Circuit">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8.xml><?xml version="1.0" encoding="utf-8"?>
<a:theme xmlns:a="http://schemas.openxmlformats.org/drawingml/2006/main" name="4_Qualcomm Corporate Public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ualcomm_Corporate_Public_Template-Feb 2023_v06.pptx" id="{BF62DC1C-CEA5-4CAF-A35F-E71673FE086B}" vid="{9660E5A5-8CF2-431F-AF3D-78F55A10DAC7}"/>
    </a:ext>
  </a:extLst>
</a:theme>
</file>

<file path=ppt/theme/theme9.xml><?xml version="1.0" encoding="utf-8"?>
<a:theme xmlns:a="http://schemas.openxmlformats.org/drawingml/2006/main" name="5_Qualcomm Corporate Public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SIMPLIFIED_Qualcomm_Corporate_Public_Template-Feb 2023_v07.pptx" id="{34E5AA02-C6E2-4309-B071-B3E713DF3E42}" vid="{077480CE-A1EC-4691-BF70-43411A8A8359}"/>
    </a:ext>
  </a:extLst>
</a:theme>
</file>

<file path=docMetadata/LabelInfo.xml><?xml version="1.0" encoding="utf-8"?>
<clbl:labelList xmlns:clbl="http://schemas.microsoft.com/office/2020/mipLabelMetadata">
  <clbl:label id="{08f6f869-1ed0-46b3-a227-1d3e52347e28}" enabled="1" method="Standard" siteId="{98e9ba89-e1a1-4e38-9007-8bdabc25de1d}" removed="0"/>
</clbl:labelList>
</file>

<file path=docProps/app.xml><?xml version="1.0" encoding="utf-8"?>
<Properties xmlns="http://schemas.openxmlformats.org/officeDocument/2006/extended-properties" xmlns:vt="http://schemas.openxmlformats.org/officeDocument/2006/docPropsVTypes">
  <Template>Qualcomm_Corporate_Public_Template-Feb 2023_v06</Template>
  <TotalTime>3748</TotalTime>
  <Words>5027</Words>
  <Application>Microsoft Office PowerPoint</Application>
  <PresentationFormat>Widescreen</PresentationFormat>
  <Paragraphs>777</Paragraphs>
  <Slides>43</Slides>
  <Notes>6</Notes>
  <HiddenSlides>0</HiddenSlides>
  <MMClips>2</MMClips>
  <ScaleCrop>false</ScaleCrop>
  <HeadingPairs>
    <vt:vector size="8" baseType="variant">
      <vt:variant>
        <vt:lpstr>Fonts Used</vt:lpstr>
      </vt:variant>
      <vt:variant>
        <vt:i4>21</vt:i4>
      </vt:variant>
      <vt:variant>
        <vt:lpstr>Theme</vt:lpstr>
      </vt:variant>
      <vt:variant>
        <vt:i4>13</vt:i4>
      </vt:variant>
      <vt:variant>
        <vt:lpstr>Embedded OLE Servers</vt:lpstr>
      </vt:variant>
      <vt:variant>
        <vt:i4>2</vt:i4>
      </vt:variant>
      <vt:variant>
        <vt:lpstr>Slide Titles</vt:lpstr>
      </vt:variant>
      <vt:variant>
        <vt:i4>43</vt:i4>
      </vt:variant>
    </vt:vector>
  </HeadingPairs>
  <TitlesOfParts>
    <vt:vector size="79" baseType="lpstr">
      <vt:lpstr>Alfabet</vt:lpstr>
      <vt:lpstr>Aparajita</vt:lpstr>
      <vt:lpstr>Aptos</vt:lpstr>
      <vt:lpstr>Aptos Display</vt:lpstr>
      <vt:lpstr>Arial</vt:lpstr>
      <vt:lpstr>Calibri</vt:lpstr>
      <vt:lpstr>Cambria Math</vt:lpstr>
      <vt:lpstr>Century Gothic</vt:lpstr>
      <vt:lpstr>Linotype Univers 420 Condensed</vt:lpstr>
      <vt:lpstr>Microsoft Sans Serif</vt:lpstr>
      <vt:lpstr>Poppins</vt:lpstr>
      <vt:lpstr>Poppins ExtraLight</vt:lpstr>
      <vt:lpstr>Poppins SemiBold</vt:lpstr>
      <vt:lpstr>Qualcomm Office Regular</vt:lpstr>
      <vt:lpstr>Qualcomm Regular</vt:lpstr>
      <vt:lpstr>Symbol</vt:lpstr>
      <vt:lpstr>Trebuchet MS</vt:lpstr>
      <vt:lpstr>Tw Cen MT</vt:lpstr>
      <vt:lpstr>Wingdings</vt:lpstr>
      <vt:lpstr>Wingdings 2</vt:lpstr>
      <vt:lpstr>Wingdings 3</vt:lpstr>
      <vt:lpstr>Qualcomm Corporate Public Template - May2022</vt:lpstr>
      <vt:lpstr>12_Qualcomm Executive External</vt:lpstr>
      <vt:lpstr>Qualcomm Executive External_March2021</vt:lpstr>
      <vt:lpstr>Qualcomm Corporate External</vt:lpstr>
      <vt:lpstr>1_Qualcomm Corporate Public Template - May2022</vt:lpstr>
      <vt:lpstr>1_Qualcomm</vt:lpstr>
      <vt:lpstr>Circuit</vt:lpstr>
      <vt:lpstr>4_Qualcomm Corporate Public Template - May2022</vt:lpstr>
      <vt:lpstr>5_Qualcomm Corporate Public Template - May2022</vt:lpstr>
      <vt:lpstr>Qualcomm Corporate Confidential Template - 2024</vt:lpstr>
      <vt:lpstr>Marco</vt:lpstr>
      <vt:lpstr>Facette</vt:lpstr>
      <vt:lpstr>1_Marco</vt:lpstr>
      <vt:lpstr>think-cell Folie</vt:lpstr>
      <vt:lpstr>Visio</vt:lpstr>
      <vt:lpstr>Enabling 5G Broadcast on Devices: Standards, Chipset and Global Adoption Path </vt:lpstr>
      <vt:lpstr>PowerPoint Presentation</vt:lpstr>
      <vt:lpstr>5G defines two modes of broadcast communication</vt:lpstr>
      <vt:lpstr>5G Broadcast – Core Features for multiple use cases</vt:lpstr>
      <vt:lpstr>PowerPoint Presentation</vt:lpstr>
      <vt:lpstr>Standardization and Technology updates</vt:lpstr>
      <vt:lpstr>PowerPoint Presentation</vt:lpstr>
      <vt:lpstr>5G Broadcast Standards Evolution</vt:lpstr>
      <vt:lpstr>RAN: MBMS  5G Broadcast Evolution</vt:lpstr>
      <vt:lpstr>3GPP RAN Defined new Features  For 5G Broadcast for Rel-19 in 2025</vt:lpstr>
      <vt:lpstr>Services: Re-use of existing apps and players</vt:lpstr>
      <vt:lpstr>Supporting Organizations for Profiles and Services</vt:lpstr>
      <vt:lpstr>Status of standards and multi-vendor interop</vt:lpstr>
      <vt:lpstr> Adoption Path</vt:lpstr>
      <vt:lpstr>PowerPoint Presentation</vt:lpstr>
      <vt:lpstr>PowerPoint Presentation</vt:lpstr>
      <vt:lpstr>PowerPoint Presentation</vt:lpstr>
      <vt:lpstr>POPULATION COVERAGE PLANNING  EU MARKETS COMBINED</vt:lpstr>
      <vt:lpstr>PowerPoint Presentation</vt:lpstr>
      <vt:lpstr>PowerPoint Presentation</vt:lpstr>
      <vt:lpstr>PowerPoint Presentation</vt:lpstr>
      <vt:lpstr>General technology introduction</vt:lpstr>
      <vt:lpstr>5G Broadcast and other radio technologies</vt:lpstr>
      <vt:lpstr>#1 Sharing UHF Resources with legacy broadcast systems</vt:lpstr>
      <vt:lpstr>#2: Unified Service Layer</vt:lpstr>
      <vt:lpstr>#3: 5G Broadcast combined with cellular unicast</vt:lpstr>
      <vt:lpstr>Trial Updates</vt:lpstr>
      <vt:lpstr>PowerPoint Presentation</vt:lpstr>
      <vt:lpstr>PowerPoint Presentation</vt:lpstr>
      <vt:lpstr>PowerPoint Presentation</vt:lpstr>
      <vt:lpstr>Selected use cases</vt:lpstr>
      <vt:lpstr>PowerPoint Presentation</vt:lpstr>
      <vt:lpstr>Re-use of existing apps and players &amp; frequency switching</vt:lpstr>
      <vt:lpstr>DVB-I via 5G Broadcast</vt:lpstr>
      <vt:lpstr>PowerPoint Presentation</vt:lpstr>
      <vt:lpstr>Unicast Broadcast Combinations</vt:lpstr>
      <vt:lpstr>CMCD Adaptation to Multicast/Broadcast</vt:lpstr>
      <vt:lpstr>In-session Repair Adaptation to Multicast/Broadcast</vt:lpstr>
      <vt:lpstr>Update for ETSI spec TS 103 720 v1.3.1 – Work Item in 5G-MAG and ETSI</vt:lpstr>
      <vt:lpstr>PowerPoint Presentation</vt:lpstr>
      <vt:lpstr>Recap IBC 2023: 5G Broadcast, 3GPP and cellular modems</vt:lpstr>
      <vt:lpstr>Summary and Conclusions of Pap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G Broadcast Receivers: Optimizing Performance under Implementation Constraints</dc:title>
  <dc:creator>Thomas Stockhammer</dc:creator>
  <cp:lastModifiedBy>Thomas Stockhammer (25/09/05)</cp:lastModifiedBy>
  <cp:revision>9</cp:revision>
  <dcterms:created xsi:type="dcterms:W3CDTF">2023-09-15T11:16:52Z</dcterms:created>
  <dcterms:modified xsi:type="dcterms:W3CDTF">2025-09-24T10: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1556172</vt:lpwstr>
  </property>
  <property fmtid="{D5CDD505-2E9C-101B-9397-08002B2CF9AE}" pid="3" name="NXPowerLiteSettings">
    <vt:lpwstr>C980073804F000</vt:lpwstr>
  </property>
  <property fmtid="{D5CDD505-2E9C-101B-9397-08002B2CF9AE}" pid="4" name="NXPowerLiteVersion">
    <vt:lpwstr>D8.0.4</vt:lpwstr>
  </property>
</Properties>
</file>